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13.xml" ContentType="application/vnd.openxmlformats-officedocument.presentationml.slide+xml"/>
  <Override PartName="/ppt/slides/slide8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3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3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notesSlides/notesSlide6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2.xml" ContentType="application/vnd.openxmlformats-officedocument.presentationml.notesSlid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72.xml" ContentType="application/vnd.openxmlformats-officedocument.presentationml.tags+xml"/>
  <Override PartName="/ppt/tags/tag71.xml" ContentType="application/vnd.openxmlformats-officedocument.presentationml.tags+xml"/>
  <Override PartName="/ppt/tags/tag1.xml" ContentType="application/vnd.openxmlformats-officedocument.presentationml.tags+xml"/>
  <Override PartName="/ppt/tags/tag80.xml" ContentType="application/vnd.openxmlformats-officedocument.presentationml.tags+xml"/>
  <Override PartName="/ppt/tags/tag75.xml" ContentType="application/vnd.openxmlformats-officedocument.presentationml.tags+xml"/>
  <Override PartName="/ppt/tags/tag73.xml" ContentType="application/vnd.openxmlformats-officedocument.presentationml.tags+xml"/>
  <Override PartName="/ppt/tags/tag78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77.xml" ContentType="application/vnd.openxmlformats-officedocument.presentationml.tags+xml"/>
  <Override PartName="/ppt/tags/tag76.xml" ContentType="application/vnd.openxmlformats-officedocument.presentationml.tags+xml"/>
  <Override PartName="/ppt/tags/tag79.xml" ContentType="application/vnd.openxmlformats-officedocument.presentationml.tags+xml"/>
  <Override PartName="/docProps/core.xml" ContentType="application/vnd.openxmlformats-package.core-properties+xml"/>
  <Override PartName="/ppt/tags/tag74.xml" ContentType="application/vnd.openxmlformats-officedocument.presentationml.tags+xml"/>
  <Override PartName="/docProps/app.xml" ContentType="application/vnd.openxmlformats-officedocument.extended-properties+xml"/>
  <Override PartName="/ppt/tags/tag57.xml" ContentType="application/vnd.openxmlformats-officedocument.presentationml.tags+xml"/>
  <Override PartName="/ppt/tags/tag69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60.xml" ContentType="application/vnd.openxmlformats-officedocument.presentationml.tags+xml"/>
  <Override PartName="/ppt/tags/tag59.xml" ContentType="application/vnd.openxmlformats-officedocument.presentationml.tags+xml"/>
  <Override PartName="/ppt/tags/tag58.xml" ContentType="application/vnd.openxmlformats-officedocument.presentationml.tags+xml"/>
  <Override PartName="/ppt/tags/tag56.xml" ContentType="application/vnd.openxmlformats-officedocument.presentationml.tags+xml"/>
  <Override PartName="/ppt/tags/tag55.xml" ContentType="application/vnd.openxmlformats-officedocument.presentationml.tags+xml"/>
  <Override PartName="/ppt/tags/tag54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8.xml" ContentType="application/vnd.openxmlformats-officedocument.presentationml.tags+xml"/>
  <Override PartName="/ppt/tags/tag67.xml" ContentType="application/vnd.openxmlformats-officedocument.presentationml.tags+xml"/>
  <Override PartName="/ppt/tags/tag66.xml" ContentType="application/vnd.openxmlformats-officedocument.presentationml.tags+xml"/>
  <Override PartName="/ppt/tags/tag65.xml" ContentType="application/vnd.openxmlformats-officedocument.presentationml.tags+xml"/>
  <Override PartName="/ppt/tags/tag64.xml" ContentType="application/vnd.openxmlformats-officedocument.presentationml.tags+xml"/>
  <Override PartName="/ppt/tags/tag53.xml" ContentType="application/vnd.openxmlformats-officedocument.presentationml.tags+xml"/>
  <Override PartName="/ppt/tags/tag52.xml" ContentType="application/vnd.openxmlformats-officedocument.presentationml.tags+xml"/>
  <Override PartName="/ppt/tags/tag51.xml" ContentType="application/vnd.openxmlformats-officedocument.presentationml.tags+xml"/>
  <Override PartName="/ppt/tags/tag42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50.xml" ContentType="application/vnd.openxmlformats-officedocument.presentationml.tags+xml"/>
  <Override PartName="/ppt/tags/tag49.xml" ContentType="application/vnd.openxmlformats-officedocument.presentationml.tags+xml"/>
  <Override PartName="/ppt/tags/tag48.xml" ContentType="application/vnd.openxmlformats-officedocument.presentationml.tags+xml"/>
  <Override PartName="/ppt/tags/tag47.xml" ContentType="application/vnd.openxmlformats-officedocument.presentationml.tags+xml"/>
  <Override PartName="/ppt/tags/tag46.xml" ContentType="application/vnd.openxmlformats-officedocument.presentationml.tags+xml"/>
  <Override PartName="/ppt/tags/tag70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 autoCompressPictures="0">
  <p:sldMasterIdLst>
    <p:sldMasterId id="2147483667" r:id="rId1"/>
  </p:sldMasterIdLst>
  <p:notesMasterIdLst>
    <p:notesMasterId r:id="rId15"/>
  </p:notesMasterIdLst>
  <p:handoutMasterIdLst>
    <p:handoutMasterId r:id="rId16"/>
  </p:handoutMasterIdLst>
  <p:sldIdLst>
    <p:sldId id="1220" r:id="rId2"/>
    <p:sldId id="1221" r:id="rId3"/>
    <p:sldId id="1060" r:id="rId4"/>
    <p:sldId id="1327" r:id="rId5"/>
    <p:sldId id="1122" r:id="rId6"/>
    <p:sldId id="1104" r:id="rId7"/>
    <p:sldId id="2358" r:id="rId8"/>
    <p:sldId id="2359" r:id="rId9"/>
    <p:sldId id="377" r:id="rId10"/>
    <p:sldId id="378" r:id="rId11"/>
    <p:sldId id="379" r:id="rId12"/>
    <p:sldId id="380" r:id="rId13"/>
    <p:sldId id="1420" r:id="rId14"/>
  </p:sldIdLst>
  <p:sldSz cx="12192000" cy="6858000"/>
  <p:notesSz cx="7315200" cy="9601200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1pPr>
    <a:lvl2pPr marL="555315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2pPr>
    <a:lvl3pPr marL="1110630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3pPr>
    <a:lvl4pPr marL="1665945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4pPr>
    <a:lvl5pPr marL="2221260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5pPr>
    <a:lvl6pPr marL="2776576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6pPr>
    <a:lvl7pPr marL="3331891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7pPr>
    <a:lvl8pPr marL="3887206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8pPr>
    <a:lvl9pPr marL="4442521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B1B5BE"/>
    <a:srgbClr val="F9CFC5"/>
    <a:srgbClr val="D0D0D0"/>
    <a:srgbClr val="054A5F"/>
    <a:srgbClr val="1E3376"/>
    <a:srgbClr val="7F7F7F"/>
    <a:srgbClr val="C3E19B"/>
    <a:srgbClr val="E8E8E8"/>
    <a:srgbClr val="054357"/>
    <a:srgbClr val="0B9D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51" autoAdjust="0"/>
    <p:restoredTop sz="94426" autoAdjust="0"/>
  </p:normalViewPr>
  <p:slideViewPr>
    <p:cSldViewPr snapToGrid="0">
      <p:cViewPr varScale="1">
        <p:scale>
          <a:sx n="113" d="100"/>
          <a:sy n="113" d="100"/>
        </p:scale>
        <p:origin x="763" y="96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-10920"/>
    </p:cViewPr>
  </p:sorterViewPr>
  <p:notesViewPr>
    <p:cSldViewPr snapToGrid="0">
      <p:cViewPr varScale="1">
        <p:scale>
          <a:sx n="84" d="100"/>
          <a:sy n="84" d="100"/>
        </p:scale>
        <p:origin x="4092" y="90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26" Type="http://schemas.openxmlformats.org/officeDocument/2006/relationships/customXml" Target="../customXml/item4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5" Type="http://schemas.openxmlformats.org/officeDocument/2006/relationships/customXml" Target="../customXml/item3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ustomXml" Target="../customXml/item2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openxmlformats.org/officeDocument/2006/relationships/customXml" Target="../customXml/item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09550" y="347663"/>
            <a:ext cx="6896100" cy="38798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11672" y="4336723"/>
            <a:ext cx="6893978" cy="126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5325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5585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42685" indent="-140758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64426" indent="-219812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518680" indent="-152327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659437" indent="-138829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776576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6pPr>
    <a:lvl7pPr marL="3331891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7pPr>
    <a:lvl8pPr marL="3887206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8pPr>
    <a:lvl9pPr marL="4442521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8" name="Notes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67575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8253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501650" y="579438"/>
            <a:ext cx="6000750" cy="3375025"/>
          </a:xfrm>
        </p:spPr>
      </p:sp>
      <p:sp>
        <p:nvSpPr>
          <p:cNvPr id="8" name="Notes Placeholder 7"/>
          <p:cNvSpPr>
            <a:spLocks noGrp="1"/>
          </p:cNvSpPr>
          <p:nvPr>
            <p:ph type="body" idx="1"/>
          </p:nvPr>
        </p:nvSpPr>
        <p:spPr>
          <a:xfrm>
            <a:off x="563198" y="4962911"/>
            <a:ext cx="5926674" cy="246094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04404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3976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8238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iamh -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20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BFAD2D-021B-4506-A97E-CE34C61B9BC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020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01103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4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7365"/>
              </p:ext>
            </p:extLst>
          </p:nvPr>
        </p:nvGraphicFramePr>
        <p:xfrm>
          <a:off x="2162" y="1625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6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5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D5581C-C062-4E66-A4C2-D2C0F8C2A6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1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48F1D67-453F-4076-BB8B-2BEA7064B59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803" y="5715000"/>
            <a:ext cx="2020828" cy="96105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9E4E879-4993-4990-9B13-18911E567E91}"/>
              </a:ext>
            </a:extLst>
          </p:cNvPr>
          <p:cNvSpPr/>
          <p:nvPr/>
        </p:nvSpPr>
        <p:spPr>
          <a:xfrm>
            <a:off x="228601" y="228600"/>
            <a:ext cx="11734800" cy="5486400"/>
          </a:xfrm>
          <a:prstGeom prst="rect">
            <a:avLst/>
          </a:prstGeom>
          <a:solidFill>
            <a:srgbClr val="FFB81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398" tIns="45699" rIns="91398" bIns="45699" rtlCol="0" anchor="ctr"/>
          <a:lstStyle/>
          <a:p>
            <a:pPr marL="0" marR="0" lvl="0" indent="0" algn="ctr" defTabSz="4569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9D69D67-24CD-494C-A505-9EE1CB9D8F9C}"/>
              </a:ext>
            </a:extLst>
          </p:cNvPr>
          <p:cNvCxnSpPr/>
          <p:nvPr/>
        </p:nvCxnSpPr>
        <p:spPr>
          <a:xfrm>
            <a:off x="717714" y="2496710"/>
            <a:ext cx="340084" cy="0"/>
          </a:xfrm>
          <a:prstGeom prst="line">
            <a:avLst/>
          </a:prstGeom>
          <a:noFill/>
          <a:ln w="28575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A1CA8B1-787F-436A-B6C8-008E185B9893}"/>
              </a:ext>
            </a:extLst>
          </p:cNvPr>
          <p:cNvCxnSpPr/>
          <p:nvPr/>
        </p:nvCxnSpPr>
        <p:spPr>
          <a:xfrm>
            <a:off x="11607307" y="6003780"/>
            <a:ext cx="340084" cy="0"/>
          </a:xfrm>
          <a:prstGeom prst="line">
            <a:avLst/>
          </a:prstGeom>
          <a:noFill/>
          <a:ln w="28575" cap="flat" cmpd="sng" algn="ctr">
            <a:solidFill>
              <a:srgbClr val="555555"/>
            </a:solidFill>
            <a:prstDash val="solid"/>
            <a:miter lim="800000"/>
          </a:ln>
          <a:effectLst/>
        </p:spPr>
      </p:cxn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717714" y="593213"/>
            <a:ext cx="10331842" cy="153888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defRPr sz="5000" b="1" baseline="0">
                <a:solidFill>
                  <a:schemeClr val="bg1"/>
                </a:solidFill>
                <a:latin typeface="Arial Black" panose="020B0A04020102020204" pitchFamily="34" charset="0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717714" y="2881410"/>
            <a:ext cx="10331842" cy="338554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>
              <a:defRPr sz="2200" b="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717714" y="3604663"/>
            <a:ext cx="1033184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="0" baseline="0" dirty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13" name="doc id"/>
          <p:cNvSpPr>
            <a:spLocks noChangeArrowheads="1"/>
          </p:cNvSpPr>
          <p:nvPr/>
        </p:nvSpPr>
        <p:spPr bwMode="auto">
          <a:xfrm>
            <a:off x="11064592" y="952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074"/>
            <a:endParaRPr lang="en-US" sz="816" baseline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7662861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726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565381-D421-44F7-B88D-C93C1208C1A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>
              <a:solidFill>
                <a:schemeClr val="accent4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oc id"/>
          <p:cNvSpPr>
            <a:spLocks noChangeArrowheads="1"/>
          </p:cNvSpPr>
          <p:nvPr/>
        </p:nvSpPr>
        <p:spPr bwMode="auto">
          <a:xfrm>
            <a:off x="11064592" y="952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074"/>
            <a:endParaRPr lang="en-US" sz="816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091" y="316749"/>
            <a:ext cx="10238380" cy="546305"/>
          </a:xfrm>
        </p:spPr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0A71C89-2D7F-4DE3-B686-B567B7CE4AF9}" type="slidenum">
              <a:rPr lang="en-US" b="1" smtClean="0"/>
              <a:pPr/>
              <a:t>‹#›</a:t>
            </a:fld>
            <a:endParaRPr lang="en-US" b="1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321735" y="859372"/>
            <a:ext cx="10236199" cy="613830"/>
          </a:xfrm>
        </p:spPr>
        <p:txBody>
          <a:bodyPr tIns="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419100" y="6466585"/>
            <a:ext cx="6662738" cy="27629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800"/>
            </a:lvl1pPr>
            <a:lvl2pPr marL="457158" indent="0">
              <a:buNone/>
              <a:defRPr/>
            </a:lvl2pPr>
            <a:lvl3pPr marL="914316" indent="0">
              <a:buNone/>
              <a:defRPr/>
            </a:lvl3pPr>
            <a:lvl4pPr marL="1371474" indent="0">
              <a:buNone/>
              <a:defRPr/>
            </a:lvl4pPr>
            <a:lvl5pPr marL="1828632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36331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9" Type="http://schemas.openxmlformats.org/officeDocument/2006/relationships/tags" Target="../tags/tag35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42" Type="http://schemas.openxmlformats.org/officeDocument/2006/relationships/tags" Target="../tags/tag38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37" Type="http://schemas.openxmlformats.org/officeDocument/2006/relationships/tags" Target="../tags/tag33.xml"/><Relationship Id="rId40" Type="http://schemas.openxmlformats.org/officeDocument/2006/relationships/tags" Target="../tags/tag36.xml"/><Relationship Id="rId45" Type="http://schemas.openxmlformats.org/officeDocument/2006/relationships/image" Target="../media/image2.png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tags" Target="../tags/tag32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4" Type="http://schemas.openxmlformats.org/officeDocument/2006/relationships/image" Target="../media/image1.emf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tags" Target="../tags/tag31.xml"/><Relationship Id="rId43" Type="http://schemas.openxmlformats.org/officeDocument/2006/relationships/oleObject" Target="../embeddings/oleObject1.bin"/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38" Type="http://schemas.openxmlformats.org/officeDocument/2006/relationships/tags" Target="../tags/tag34.xml"/><Relationship Id="rId20" Type="http://schemas.openxmlformats.org/officeDocument/2006/relationships/tags" Target="../tags/tag16.xml"/><Relationship Id="rId41" Type="http://schemas.openxmlformats.org/officeDocument/2006/relationships/tags" Target="../tags/tag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82628590"/>
              </p:ext>
            </p:extLst>
          </p:nvPr>
        </p:nvGraphicFramePr>
        <p:xfrm>
          <a:off x="2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11" name="think-cell Slide" r:id="rId43" imgW="270" imgH="270" progId="TCLayout.ActiveDocument.1">
                  <p:embed/>
                </p:oleObj>
              </mc:Choice>
              <mc:Fallback>
                <p:oleObj name="think-cell Slide" r:id="rId4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2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98A852B2-FD48-4C38-99B6-8DC5939D09E9}"/>
              </a:ext>
            </a:extLst>
          </p:cNvPr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64" y="360155"/>
            <a:ext cx="1468014" cy="698148"/>
          </a:xfrm>
          <a:prstGeom prst="rect">
            <a:avLst/>
          </a:prstGeom>
        </p:spPr>
      </p:pic>
      <p:sp>
        <p:nvSpPr>
          <p:cNvPr id="107" name="Slide Number"/>
          <p:cNvSpPr txBox="1">
            <a:spLocks/>
          </p:cNvSpPr>
          <p:nvPr/>
        </p:nvSpPr>
        <p:spPr bwMode="auto">
          <a:xfrm>
            <a:off x="11615815" y="662791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="0" baseline="0" smtClean="0">
                <a:solidFill>
                  <a:srgbClr val="7F7F7F"/>
                </a:solidFill>
                <a:latin typeface="+mn-lt"/>
              </a:rPr>
              <a:pPr algn="r"/>
              <a:t>‹#›</a:t>
            </a:fld>
            <a:endParaRPr lang="en-US" sz="1000" b="0" baseline="0" dirty="0">
              <a:solidFill>
                <a:srgbClr val="7F7F7F"/>
              </a:solidFill>
              <a:latin typeface="+mn-lt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7207A106-3D37-4C2B-B815-6059241F3597}"/>
              </a:ext>
            </a:extLst>
          </p:cNvPr>
          <p:cNvCxnSpPr/>
          <p:nvPr/>
        </p:nvCxnSpPr>
        <p:spPr>
          <a:xfrm flipH="1">
            <a:off x="419100" y="298280"/>
            <a:ext cx="11353802" cy="0"/>
          </a:xfrm>
          <a:prstGeom prst="line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1CF2F802-6A86-4F36-835E-E85D1F3D1929}"/>
              </a:ext>
            </a:extLst>
          </p:cNvPr>
          <p:cNvCxnSpPr>
            <a:cxnSpLocks/>
          </p:cNvCxnSpPr>
          <p:nvPr/>
        </p:nvCxnSpPr>
        <p:spPr>
          <a:xfrm flipH="1">
            <a:off x="419108" y="1443248"/>
            <a:ext cx="11353801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19108" y="513351"/>
            <a:ext cx="988642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935527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419108" y="0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 dirty="0">
                <a:solidFill>
                  <a:srgbClr val="7F7F7F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419108" y="1485064"/>
            <a:ext cx="988642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rgbClr val="7F7F7F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rgbClr val="7F7F7F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419101" y="6417390"/>
            <a:ext cx="1135380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806" indent="-104806">
              <a:defRPr/>
            </a:pPr>
            <a:r>
              <a:rPr lang="en-US" sz="1000" baseline="0" dirty="0">
                <a:solidFill>
                  <a:srgbClr val="7F7F7F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419100" y="6627912"/>
            <a:ext cx="1084405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19311" indent="-619311" defTabSz="914074">
              <a:tabLst>
                <a:tab pos="733645" algn="l"/>
              </a:tabLst>
            </a:pPr>
            <a:r>
              <a:rPr lang="en-US" sz="1000" baseline="0" dirty="0">
                <a:solidFill>
                  <a:srgbClr val="7F7F7F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2350212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rgbClr val="7F7F7F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2" name="Moon" hidden="1"/>
          <p:cNvGrpSpPr/>
          <p:nvPr>
            <p:custDataLst>
              <p:tags r:id="rId8"/>
            </p:custDataLst>
          </p:nvPr>
        </p:nvGrpSpPr>
        <p:grpSpPr bwMode="auto">
          <a:xfrm>
            <a:off x="8884205" y="1540371"/>
            <a:ext cx="254000" cy="254000"/>
            <a:chOff x="762000" y="1270000"/>
            <a:chExt cx="254000" cy="254000"/>
          </a:xfrm>
        </p:grpSpPr>
        <p:sp>
          <p:nvSpPr>
            <p:cNvPr id="106" name="Oval 105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45" dirty="0" err="1">
                <a:solidFill>
                  <a:schemeClr val="tx1"/>
                </a:solidFill>
              </a:endParaRPr>
            </a:p>
          </p:txBody>
        </p:sp>
        <p:sp>
          <p:nvSpPr>
            <p:cNvPr id="109" name="Arc 108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945"/>
            </a:p>
          </p:txBody>
        </p:sp>
      </p:grpSp>
      <p:grpSp>
        <p:nvGrpSpPr>
          <p:cNvPr id="104" name="LegendBoxes" hidden="1">
            <a:extLst>
              <a:ext uri="{FF2B5EF4-FFF2-40B4-BE49-F238E27FC236}">
                <a16:creationId xmlns:a16="http://schemas.microsoft.com/office/drawing/2014/main" id="{5F56CC7B-BC61-466B-8BD2-7033ADBDFC8C}"/>
              </a:ext>
            </a:extLst>
          </p:cNvPr>
          <p:cNvGrpSpPr>
            <a:grpSpLocks/>
          </p:cNvGrpSpPr>
          <p:nvPr/>
        </p:nvGrpSpPr>
        <p:grpSpPr bwMode="auto">
          <a:xfrm>
            <a:off x="11009321" y="1540371"/>
            <a:ext cx="763588" cy="996951"/>
            <a:chOff x="4936" y="176"/>
            <a:chExt cx="481" cy="628"/>
          </a:xfrm>
        </p:grpSpPr>
        <p:sp>
          <p:nvSpPr>
            <p:cNvPr id="105" name="Legend1">
              <a:extLst>
                <a:ext uri="{FF2B5EF4-FFF2-40B4-BE49-F238E27FC236}">
                  <a16:creationId xmlns:a16="http://schemas.microsoft.com/office/drawing/2014/main" id="{04EEB940-6089-4E02-8B5D-814B54FFE8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8" name="LegendRectangle1">
              <a:extLst>
                <a:ext uri="{FF2B5EF4-FFF2-40B4-BE49-F238E27FC236}">
                  <a16:creationId xmlns:a16="http://schemas.microsoft.com/office/drawing/2014/main" id="{7A110182-1053-4120-9712-3D22EA1AAC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10" name="Legend2">
              <a:extLst>
                <a:ext uri="{FF2B5EF4-FFF2-40B4-BE49-F238E27FC236}">
                  <a16:creationId xmlns:a16="http://schemas.microsoft.com/office/drawing/2014/main" id="{E36909C3-EE05-4BE7-9F87-0DE0682F95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2" name="LegendRectangle2">
              <a:extLst>
                <a:ext uri="{FF2B5EF4-FFF2-40B4-BE49-F238E27FC236}">
                  <a16:creationId xmlns:a16="http://schemas.microsoft.com/office/drawing/2014/main" id="{B2BE8AC7-DF3B-4D3F-98EB-E4A42F4C6D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13" name="Legend3">
              <a:extLst>
                <a:ext uri="{FF2B5EF4-FFF2-40B4-BE49-F238E27FC236}">
                  <a16:creationId xmlns:a16="http://schemas.microsoft.com/office/drawing/2014/main" id="{ADD4C5C1-22AE-4F8E-80B9-4701EC2431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4" name="LegendRectangle3">
              <a:extLst>
                <a:ext uri="{FF2B5EF4-FFF2-40B4-BE49-F238E27FC236}">
                  <a16:creationId xmlns:a16="http://schemas.microsoft.com/office/drawing/2014/main" id="{6418B999-E865-4C78-93BA-7F31A331CC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15" name="Legend4">
              <a:extLst>
                <a:ext uri="{FF2B5EF4-FFF2-40B4-BE49-F238E27FC236}">
                  <a16:creationId xmlns:a16="http://schemas.microsoft.com/office/drawing/2014/main" id="{D5FF2FD5-652C-41D6-A18B-1CC6189DEF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Rectangle4">
              <a:extLst>
                <a:ext uri="{FF2B5EF4-FFF2-40B4-BE49-F238E27FC236}">
                  <a16:creationId xmlns:a16="http://schemas.microsoft.com/office/drawing/2014/main" id="{25022A8C-55F2-4414-A6E0-F907DF32B0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117" name="LegendLines" hidden="1">
            <a:extLst>
              <a:ext uri="{FF2B5EF4-FFF2-40B4-BE49-F238E27FC236}">
                <a16:creationId xmlns:a16="http://schemas.microsoft.com/office/drawing/2014/main" id="{BD5820C5-8370-48C1-844B-5F3303D76569}"/>
              </a:ext>
            </a:extLst>
          </p:cNvPr>
          <p:cNvGrpSpPr>
            <a:grpSpLocks/>
          </p:cNvGrpSpPr>
          <p:nvPr/>
        </p:nvGrpSpPr>
        <p:grpSpPr bwMode="auto">
          <a:xfrm>
            <a:off x="10701346" y="1540371"/>
            <a:ext cx="1071563" cy="730251"/>
            <a:chOff x="4750" y="176"/>
            <a:chExt cx="675" cy="460"/>
          </a:xfrm>
        </p:grpSpPr>
        <p:sp>
          <p:nvSpPr>
            <p:cNvPr id="118" name="LineLegend1">
              <a:extLst>
                <a:ext uri="{FF2B5EF4-FFF2-40B4-BE49-F238E27FC236}">
                  <a16:creationId xmlns:a16="http://schemas.microsoft.com/office/drawing/2014/main" id="{550799B3-865F-4DD5-946E-B5A5D97FC0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19" name="LineLegend2">
              <a:extLst>
                <a:ext uri="{FF2B5EF4-FFF2-40B4-BE49-F238E27FC236}">
                  <a16:creationId xmlns:a16="http://schemas.microsoft.com/office/drawing/2014/main" id="{18886479-5324-4019-8EB0-F23C116587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20" name="LineLegend3">
              <a:extLst>
                <a:ext uri="{FF2B5EF4-FFF2-40B4-BE49-F238E27FC236}">
                  <a16:creationId xmlns:a16="http://schemas.microsoft.com/office/drawing/2014/main" id="{9298B9FF-0A09-4B66-B5EE-2E4FEF8902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21" name="Legend1">
              <a:extLst>
                <a:ext uri="{FF2B5EF4-FFF2-40B4-BE49-F238E27FC236}">
                  <a16:creationId xmlns:a16="http://schemas.microsoft.com/office/drawing/2014/main" id="{F484ECF6-C105-4EB0-9875-C8E66FB95D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22" name="Legend2">
              <a:extLst>
                <a:ext uri="{FF2B5EF4-FFF2-40B4-BE49-F238E27FC236}">
                  <a16:creationId xmlns:a16="http://schemas.microsoft.com/office/drawing/2014/main" id="{D5C137B4-A4E3-4A3F-A4F4-01FC95FD59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23" name="Legend3">
              <a:extLst>
                <a:ext uri="{FF2B5EF4-FFF2-40B4-BE49-F238E27FC236}">
                  <a16:creationId xmlns:a16="http://schemas.microsoft.com/office/drawing/2014/main" id="{F6153ED6-6C62-4B1B-961B-4D7AD92CD4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24" name="LegendMoons" hidden="1">
            <a:extLst>
              <a:ext uri="{FF2B5EF4-FFF2-40B4-BE49-F238E27FC236}">
                <a16:creationId xmlns:a16="http://schemas.microsoft.com/office/drawing/2014/main" id="{C98C7503-7457-431D-91DF-B9CBEDB26357}"/>
              </a:ext>
            </a:extLst>
          </p:cNvPr>
          <p:cNvGrpSpPr/>
          <p:nvPr/>
        </p:nvGrpSpPr>
        <p:grpSpPr>
          <a:xfrm>
            <a:off x="10942479" y="1540371"/>
            <a:ext cx="830430" cy="1306516"/>
            <a:chOff x="7875175" y="286625"/>
            <a:chExt cx="830430" cy="1306516"/>
          </a:xfrm>
        </p:grpSpPr>
        <p:grpSp>
          <p:nvGrpSpPr>
            <p:cNvPr id="125" name="MoonLegend2">
              <a:extLst>
                <a:ext uri="{FF2B5EF4-FFF2-40B4-BE49-F238E27FC236}">
                  <a16:creationId xmlns:a16="http://schemas.microsoft.com/office/drawing/2014/main" id="{E6F643F8-A2A6-4F66-999E-E242D41877B7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43" name="Oval 41">
                <a:extLst>
                  <a:ext uri="{FF2B5EF4-FFF2-40B4-BE49-F238E27FC236}">
                    <a16:creationId xmlns:a16="http://schemas.microsoft.com/office/drawing/2014/main" id="{3AC91890-8EA7-4350-9A7A-00E1F3D745F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44" name="Arc 42">
                <a:extLst>
                  <a:ext uri="{FF2B5EF4-FFF2-40B4-BE49-F238E27FC236}">
                    <a16:creationId xmlns:a16="http://schemas.microsoft.com/office/drawing/2014/main" id="{60AC8A78-0459-4C05-B4F9-799A91EC311B}"/>
                  </a:ext>
                </a:extLst>
              </p:cNvPr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126" name="MoonLegend4">
              <a:extLst>
                <a:ext uri="{FF2B5EF4-FFF2-40B4-BE49-F238E27FC236}">
                  <a16:creationId xmlns:a16="http://schemas.microsoft.com/office/drawing/2014/main" id="{D84FE912-40EC-4490-BAEB-37AF7CCE1220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41" name="Oval 47">
                <a:extLst>
                  <a:ext uri="{FF2B5EF4-FFF2-40B4-BE49-F238E27FC236}">
                    <a16:creationId xmlns:a16="http://schemas.microsoft.com/office/drawing/2014/main" id="{9DE7184B-1300-452E-9DF9-8F6A55A6F5E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42" name="Arc 48">
                <a:extLst>
                  <a:ext uri="{FF2B5EF4-FFF2-40B4-BE49-F238E27FC236}">
                    <a16:creationId xmlns:a16="http://schemas.microsoft.com/office/drawing/2014/main" id="{72CF51C1-C281-4666-BADA-2333F927F0AD}"/>
                  </a:ext>
                </a:extLst>
              </p:cNvPr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127" name="MoonLegend5">
              <a:extLst>
                <a:ext uri="{FF2B5EF4-FFF2-40B4-BE49-F238E27FC236}">
                  <a16:creationId xmlns:a16="http://schemas.microsoft.com/office/drawing/2014/main" id="{39A5EAFF-E14A-4A9D-BEC5-B5DBB33090F6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39" name="Oval 50">
                <a:extLst>
                  <a:ext uri="{FF2B5EF4-FFF2-40B4-BE49-F238E27FC236}">
                    <a16:creationId xmlns:a16="http://schemas.microsoft.com/office/drawing/2014/main" id="{8270C99A-C97C-472E-87ED-CB953614E82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40" name="Oval 51">
                <a:extLst>
                  <a:ext uri="{FF2B5EF4-FFF2-40B4-BE49-F238E27FC236}">
                    <a16:creationId xmlns:a16="http://schemas.microsoft.com/office/drawing/2014/main" id="{DD90D9A1-5CEF-4E9B-BB5D-EEB826FA8803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28" name="Legend1">
              <a:extLst>
                <a:ext uri="{FF2B5EF4-FFF2-40B4-BE49-F238E27FC236}">
                  <a16:creationId xmlns:a16="http://schemas.microsoft.com/office/drawing/2014/main" id="{3B3FE0A6-A43F-4445-83DD-61C1D3F365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9" name="Legend2">
              <a:extLst>
                <a:ext uri="{FF2B5EF4-FFF2-40B4-BE49-F238E27FC236}">
                  <a16:creationId xmlns:a16="http://schemas.microsoft.com/office/drawing/2014/main" id="{1B7F5E72-496E-4D7D-B786-F719389154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30" name="Legend3">
              <a:extLst>
                <a:ext uri="{FF2B5EF4-FFF2-40B4-BE49-F238E27FC236}">
                  <a16:creationId xmlns:a16="http://schemas.microsoft.com/office/drawing/2014/main" id="{6BED788B-8BCA-4C41-A136-FC1C4EA69C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31" name="Legend4">
              <a:extLst>
                <a:ext uri="{FF2B5EF4-FFF2-40B4-BE49-F238E27FC236}">
                  <a16:creationId xmlns:a16="http://schemas.microsoft.com/office/drawing/2014/main" id="{1F435492-F49A-4452-9DDF-F3F389C6B2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32" name="Legend5">
              <a:extLst>
                <a:ext uri="{FF2B5EF4-FFF2-40B4-BE49-F238E27FC236}">
                  <a16:creationId xmlns:a16="http://schemas.microsoft.com/office/drawing/2014/main" id="{0197AD73-8E7A-45CF-9B82-09781B9D95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133" name="MoonLegend3">
              <a:extLst>
                <a:ext uri="{FF2B5EF4-FFF2-40B4-BE49-F238E27FC236}">
                  <a16:creationId xmlns:a16="http://schemas.microsoft.com/office/drawing/2014/main" id="{F1793A71-763A-452B-ADFD-0DD24348043B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37" name="Oval 47">
                <a:extLst>
                  <a:ext uri="{FF2B5EF4-FFF2-40B4-BE49-F238E27FC236}">
                    <a16:creationId xmlns:a16="http://schemas.microsoft.com/office/drawing/2014/main" id="{23A52D72-0154-4DCA-AEE1-728AAE0848A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38" name="Arc 48">
                <a:extLst>
                  <a:ext uri="{FF2B5EF4-FFF2-40B4-BE49-F238E27FC236}">
                    <a16:creationId xmlns:a16="http://schemas.microsoft.com/office/drawing/2014/main" id="{F92F2FC3-5B75-4314-BDC9-55AA2E96DF1A}"/>
                  </a:ext>
                </a:extLst>
              </p:cNvPr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134" name="MoonLegend1">
              <a:extLst>
                <a:ext uri="{FF2B5EF4-FFF2-40B4-BE49-F238E27FC236}">
                  <a16:creationId xmlns:a16="http://schemas.microsoft.com/office/drawing/2014/main" id="{0BF7D195-32BD-4E73-8849-D49FD6E69E34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32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135" name="Oval 41">
                <a:extLst>
                  <a:ext uri="{FF2B5EF4-FFF2-40B4-BE49-F238E27FC236}">
                    <a16:creationId xmlns:a16="http://schemas.microsoft.com/office/drawing/2014/main" id="{E1F3D45D-EA9E-493A-977C-E636C233CBF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36" name="Arc 42" hidden="1">
                <a:extLst>
                  <a:ext uri="{FF2B5EF4-FFF2-40B4-BE49-F238E27FC236}">
                    <a16:creationId xmlns:a16="http://schemas.microsoft.com/office/drawing/2014/main" id="{AE3E6A33-1A84-4021-A61D-3EC708989732}"/>
                  </a:ext>
                </a:extLst>
              </p:cNvPr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45" name="Sticker" hidden="1">
            <a:extLst>
              <a:ext uri="{FF2B5EF4-FFF2-40B4-BE49-F238E27FC236}">
                <a16:creationId xmlns:a16="http://schemas.microsoft.com/office/drawing/2014/main" id="{9C024B52-C17F-4168-87B9-CE02B993FB17}"/>
              </a:ext>
            </a:extLst>
          </p:cNvPr>
          <p:cNvGrpSpPr/>
          <p:nvPr/>
        </p:nvGrpSpPr>
        <p:grpSpPr bwMode="auto">
          <a:xfrm>
            <a:off x="10706014" y="1540371"/>
            <a:ext cx="1066895" cy="212366"/>
            <a:chOff x="7673880" y="285750"/>
            <a:chExt cx="1066895" cy="212366"/>
          </a:xfrm>
        </p:grpSpPr>
        <p:sp>
          <p:nvSpPr>
            <p:cNvPr id="146" name="StickerRectangle">
              <a:extLst>
                <a:ext uri="{FF2B5EF4-FFF2-40B4-BE49-F238E27FC236}">
                  <a16:creationId xmlns:a16="http://schemas.microsoft.com/office/drawing/2014/main" id="{B7537C0A-1B15-4B0E-9EF4-A35E77A88E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47" name="AutoShape 31">
              <a:extLst>
                <a:ext uri="{FF2B5EF4-FFF2-40B4-BE49-F238E27FC236}">
                  <a16:creationId xmlns:a16="http://schemas.microsoft.com/office/drawing/2014/main" id="{673C8C22-0BA5-4463-9173-5A674AF13030}"/>
                </a:ext>
              </a:extLst>
            </p:cNvPr>
            <p:cNvCxnSpPr>
              <a:cxnSpLocks noChangeShapeType="1"/>
              <a:stCxn id="146" idx="2"/>
              <a:endCxn id="146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8" name="AutoShape 32">
              <a:extLst>
                <a:ext uri="{FF2B5EF4-FFF2-40B4-BE49-F238E27FC236}">
                  <a16:creationId xmlns:a16="http://schemas.microsoft.com/office/drawing/2014/main" id="{C24B97FC-D58E-4E90-AF0E-5485454577A4}"/>
                </a:ext>
              </a:extLst>
            </p:cNvPr>
            <p:cNvCxnSpPr>
              <a:cxnSpLocks noChangeShapeType="1"/>
              <a:stCxn id="146" idx="4"/>
              <a:endCxn id="146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5" name="Oval" hidden="1">
            <a:extLst>
              <a:ext uri="{FF2B5EF4-FFF2-40B4-BE49-F238E27FC236}">
                <a16:creationId xmlns:a16="http://schemas.microsoft.com/office/drawing/2014/main" id="{DED8CC2C-699C-4834-B356-C859528F20D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521375" y="1457384"/>
            <a:ext cx="1524000" cy="1524000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GB" sz="16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66" name="Rectangle" hidden="1">
            <a:extLst>
              <a:ext uri="{FF2B5EF4-FFF2-40B4-BE49-F238E27FC236}">
                <a16:creationId xmlns:a16="http://schemas.microsoft.com/office/drawing/2014/main" id="{47A57643-7B5F-42E7-BBDF-3FFA9307BEF7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521375" y="3108384"/>
            <a:ext cx="1524000" cy="1524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6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67" name="RoundedRectangle" hidden="1">
            <a:extLst>
              <a:ext uri="{FF2B5EF4-FFF2-40B4-BE49-F238E27FC236}">
                <a16:creationId xmlns:a16="http://schemas.microsoft.com/office/drawing/2014/main" id="{480E966B-458C-4869-BC2C-6F69E2F5E10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521375" y="4759384"/>
            <a:ext cx="1524000" cy="1524000"/>
          </a:xfrm>
          <a:prstGeom prst="round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6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68" name="Arrow" hidden="1">
            <a:extLst>
              <a:ext uri="{FF2B5EF4-FFF2-40B4-BE49-F238E27FC236}">
                <a16:creationId xmlns:a16="http://schemas.microsoft.com/office/drawing/2014/main" id="{FEAD16E3-17A4-43D6-9716-9ED19906E7B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477175" y="1457384"/>
            <a:ext cx="1828800" cy="914400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6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69" name="DirArrow" hidden="1">
            <a:extLst>
              <a:ext uri="{FF2B5EF4-FFF2-40B4-BE49-F238E27FC236}">
                <a16:creationId xmlns:a16="http://schemas.microsoft.com/office/drawing/2014/main" id="{65A6ADA3-1654-43AF-9A85-D9706A20ACF1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>
          <a:xfrm rot="5400000">
            <a:off x="7341025" y="4251384"/>
            <a:ext cx="3086100" cy="342900"/>
          </a:xfrm>
          <a:prstGeom prst="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 dirty="0" err="1">
              <a:solidFill>
                <a:schemeClr val="tx1"/>
              </a:solidFill>
            </a:endParaRPr>
          </a:p>
        </p:txBody>
      </p:sp>
      <p:sp>
        <p:nvSpPr>
          <p:cNvPr id="70" name="Bracket" hidden="1">
            <a:extLst>
              <a:ext uri="{FF2B5EF4-FFF2-40B4-BE49-F238E27FC236}">
                <a16:creationId xmlns:a16="http://schemas.microsoft.com/office/drawing/2014/main" id="{653DD1EC-0C5D-4C59-BF81-1DCC17B87A67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9165630" y="2498784"/>
            <a:ext cx="190501" cy="1651001"/>
          </a:xfrm>
          <a:custGeom>
            <a:avLst/>
            <a:gdLst/>
            <a:ahLst/>
            <a:cxnLst/>
            <a:rect l="0" t="0" r="0" b="0"/>
            <a:pathLst>
              <a:path w="190501" h="16510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noFill/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600" b="1">
              <a:solidFill>
                <a:schemeClr val="tx1"/>
              </a:solidFill>
            </a:endParaRPr>
          </a:p>
        </p:txBody>
      </p:sp>
      <p:grpSp>
        <p:nvGrpSpPr>
          <p:cNvPr id="71" name="Flow" hidden="1">
            <a:extLst>
              <a:ext uri="{FF2B5EF4-FFF2-40B4-BE49-F238E27FC236}">
                <a16:creationId xmlns:a16="http://schemas.microsoft.com/office/drawing/2014/main" id="{80E90DDA-8F1D-43F2-9A17-5A0E3770973D}"/>
              </a:ext>
            </a:extLst>
          </p:cNvPr>
          <p:cNvGrpSpPr/>
          <p:nvPr>
            <p:custDataLst>
              <p:tags r:id="rId15"/>
            </p:custDataLst>
          </p:nvPr>
        </p:nvGrpSpPr>
        <p:grpSpPr>
          <a:xfrm>
            <a:off x="4477175" y="4276785"/>
            <a:ext cx="1828800" cy="91440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4" name="Freeform 217">
              <a:extLst>
                <a:ext uri="{FF2B5EF4-FFF2-40B4-BE49-F238E27FC236}">
                  <a16:creationId xmlns:a16="http://schemas.microsoft.com/office/drawing/2014/main" id="{C3422A31-BB50-4163-983F-341CBF101FE9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15237602-9EB2-4F20-BE13-3603314479C5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600" b="1">
                  <a:solidFill>
                    <a:schemeClr val="tx1"/>
                  </a:solidFill>
                </a:rPr>
                <a:t>Text</a:t>
              </a:r>
            </a:p>
          </p:txBody>
        </p:sp>
      </p:grpSp>
      <p:grpSp>
        <p:nvGrpSpPr>
          <p:cNvPr id="72" name="SplitFlow" hidden="1">
            <a:extLst>
              <a:ext uri="{FF2B5EF4-FFF2-40B4-BE49-F238E27FC236}">
                <a16:creationId xmlns:a16="http://schemas.microsoft.com/office/drawing/2014/main" id="{714C3499-8C48-49B0-A70F-00CC09C96AFA}"/>
              </a:ext>
            </a:extLst>
          </p:cNvPr>
          <p:cNvGrpSpPr/>
          <p:nvPr>
            <p:custDataLst>
              <p:tags r:id="rId16"/>
            </p:custDataLst>
          </p:nvPr>
        </p:nvGrpSpPr>
        <p:grpSpPr>
          <a:xfrm>
            <a:off x="4477175" y="5318185"/>
            <a:ext cx="1828800" cy="91440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80" name="Freeform 213">
              <a:extLst>
                <a:ext uri="{FF2B5EF4-FFF2-40B4-BE49-F238E27FC236}">
                  <a16:creationId xmlns:a16="http://schemas.microsoft.com/office/drawing/2014/main" id="{00F59143-838F-4344-B879-BDAD5ECA1559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D8276C6E-C5E0-4A96-9B2E-AFD003D1D093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177800" y="1327150"/>
              <a:ext cx="1524000" cy="3429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600" b="1" dirty="0">
                  <a:solidFill>
                    <a:schemeClr val="tx1"/>
                  </a:solidFill>
                </a:rPr>
                <a:t>Text</a:t>
              </a:r>
            </a:p>
          </p:txBody>
        </p:sp>
        <p:sp>
          <p:nvSpPr>
            <p:cNvPr id="82" name="Freeform 215">
              <a:extLst>
                <a:ext uri="{FF2B5EF4-FFF2-40B4-BE49-F238E27FC236}">
                  <a16:creationId xmlns:a16="http://schemas.microsoft.com/office/drawing/2014/main" id="{9EE0B1A3-4A3F-40BB-9BB5-6074BDD82BB5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5B68CF97-DF78-4124-B3C5-67E53B711173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>
            <a:xfrm>
              <a:off x="177800" y="1784350"/>
              <a:ext cx="1524000" cy="3429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600" b="1" dirty="0">
                  <a:solidFill>
                    <a:schemeClr val="tx1"/>
                  </a:solidFill>
                </a:rPr>
                <a:t>Text</a:t>
              </a:r>
            </a:p>
          </p:txBody>
        </p:sp>
      </p:grpSp>
      <p:sp>
        <p:nvSpPr>
          <p:cNvPr id="73" name="SingleChevron" hidden="1">
            <a:extLst>
              <a:ext uri="{FF2B5EF4-FFF2-40B4-BE49-F238E27FC236}">
                <a16:creationId xmlns:a16="http://schemas.microsoft.com/office/drawing/2014/main" id="{E130F9F6-A5F5-43E1-BECA-605B14AD1EE6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6864775" y="1457384"/>
            <a:ext cx="666750" cy="1524000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 dirty="0" err="1">
              <a:solidFill>
                <a:schemeClr val="tx1"/>
              </a:solidFill>
            </a:endParaRPr>
          </a:p>
        </p:txBody>
      </p:sp>
      <p:grpSp>
        <p:nvGrpSpPr>
          <p:cNvPr id="74" name="DoubleChevron" hidden="1">
            <a:extLst>
              <a:ext uri="{FF2B5EF4-FFF2-40B4-BE49-F238E27FC236}">
                <a16:creationId xmlns:a16="http://schemas.microsoft.com/office/drawing/2014/main" id="{E4D46B1D-DBE6-4280-8ABE-B888001D853B}"/>
              </a:ext>
            </a:extLst>
          </p:cNvPr>
          <p:cNvGrpSpPr>
            <a:grpSpLocks noChangeAspect="1"/>
          </p:cNvGrpSpPr>
          <p:nvPr>
            <p:custDataLst>
              <p:tags r:id="rId18"/>
            </p:custDataLst>
          </p:nvPr>
        </p:nvGrpSpPr>
        <p:grpSpPr>
          <a:xfrm>
            <a:off x="6864775" y="3108384"/>
            <a:ext cx="1014329" cy="1524000"/>
            <a:chOff x="1270000" y="1270000"/>
            <a:chExt cx="2409032" cy="3619500"/>
          </a:xfrm>
          <a:solidFill>
            <a:schemeClr val="accent1"/>
          </a:solidFill>
        </p:grpSpPr>
        <p:sp>
          <p:nvSpPr>
            <p:cNvPr id="78" name="Chevron1">
              <a:extLst>
                <a:ext uri="{FF2B5EF4-FFF2-40B4-BE49-F238E27FC236}">
                  <a16:creationId xmlns:a16="http://schemas.microsoft.com/office/drawing/2014/main" id="{829B369B-4BFD-46C1-A6DC-092E49801EF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9" name="Chevron2">
              <a:extLst>
                <a:ext uri="{FF2B5EF4-FFF2-40B4-BE49-F238E27FC236}">
                  <a16:creationId xmlns:a16="http://schemas.microsoft.com/office/drawing/2014/main" id="{0FF69B3B-D195-4077-8289-5ACC6CCAA48C}"/>
                </a:ext>
              </a:extLst>
            </p:cNvPr>
            <p:cNvSpPr>
              <a:spLocks noChangeAspect="1"/>
            </p:cNvSpPr>
            <p:nvPr>
              <p:custDataLst>
                <p:tags r:id="rId21"/>
              </p:custDataLst>
            </p:nvPr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75" name="DoubleChevron2" hidden="1">
            <a:extLst>
              <a:ext uri="{FF2B5EF4-FFF2-40B4-BE49-F238E27FC236}">
                <a16:creationId xmlns:a16="http://schemas.microsoft.com/office/drawing/2014/main" id="{9D6BEFCD-0F6B-4898-B058-7EF774C6E8B1}"/>
              </a:ext>
            </a:extLst>
          </p:cNvPr>
          <p:cNvGrpSpPr>
            <a:grpSpLocks noChangeAspect="1"/>
          </p:cNvGrpSpPr>
          <p:nvPr>
            <p:custDataLst>
              <p:tags r:id="rId19"/>
            </p:custDataLst>
          </p:nvPr>
        </p:nvGrpSpPr>
        <p:grpSpPr>
          <a:xfrm>
            <a:off x="6864775" y="4759384"/>
            <a:ext cx="1242929" cy="1524000"/>
            <a:chOff x="1270000" y="1270000"/>
            <a:chExt cx="2951957" cy="3619500"/>
          </a:xfrm>
          <a:solidFill>
            <a:schemeClr val="accent1"/>
          </a:solidFill>
        </p:grpSpPr>
        <p:sp>
          <p:nvSpPr>
            <p:cNvPr id="76" name="Chevron1">
              <a:extLst>
                <a:ext uri="{FF2B5EF4-FFF2-40B4-BE49-F238E27FC236}">
                  <a16:creationId xmlns:a16="http://schemas.microsoft.com/office/drawing/2014/main" id="{044061E5-BFB7-41DC-88AA-79C8D52FCC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7" name="Chevron2">
              <a:extLst>
                <a:ext uri="{FF2B5EF4-FFF2-40B4-BE49-F238E27FC236}">
                  <a16:creationId xmlns:a16="http://schemas.microsoft.com/office/drawing/2014/main" id="{FC873800-81BE-4F96-A196-249B6078C89C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914074" rtl="0" eaLnBrk="1" fontAlgn="base" hangingPunct="1">
        <a:spcBef>
          <a:spcPct val="0"/>
        </a:spcBef>
        <a:spcAft>
          <a:spcPct val="0"/>
        </a:spcAft>
        <a:tabLst>
          <a:tab pos="275519" algn="l"/>
        </a:tabLst>
        <a:defRPr sz="2800" b="1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2pPr>
      <a:lvl3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3pPr>
      <a:lvl4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4pPr>
      <a:lvl5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5pPr>
      <a:lvl6pPr marL="466761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6pPr>
      <a:lvl7pPr marL="933522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7pPr>
      <a:lvl8pPr marL="1400283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8pPr>
      <a:lvl9pPr marL="1867045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140" indent="-196105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474" indent="-267415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3016" indent="-158829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0258" indent="-128092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1pPr>
      <a:lvl2pPr marL="466761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2pPr>
      <a:lvl3pPr marL="933522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3pPr>
      <a:lvl4pPr marL="1400283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4pPr>
      <a:lvl5pPr marL="1867045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5pPr>
      <a:lvl6pPr marL="2333806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6pPr>
      <a:lvl7pPr marL="2800567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7pPr>
      <a:lvl8pPr marL="3267328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8pPr>
      <a:lvl9pPr marL="3734089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18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5.emf"/><Relationship Id="rId2" Type="http://schemas.openxmlformats.org/officeDocument/2006/relationships/tags" Target="../tags/tag4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48.xml"/><Relationship Id="rId7" Type="http://schemas.openxmlformats.org/officeDocument/2006/relationships/oleObject" Target="../embeddings/oleObject6.bin"/><Relationship Id="rId2" Type="http://schemas.openxmlformats.org/officeDocument/2006/relationships/tags" Target="../tags/tag47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8.svg"/><Relationship Id="rId4" Type="http://schemas.openxmlformats.org/officeDocument/2006/relationships/tags" Target="../tags/tag49.xml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51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3.xml"/><Relationship Id="rId10" Type="http://schemas.openxmlformats.org/officeDocument/2006/relationships/image" Target="../media/image9.jpeg"/><Relationship Id="rId4" Type="http://schemas.openxmlformats.org/officeDocument/2006/relationships/tags" Target="../tags/tag52.xml"/><Relationship Id="rId9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55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image" Target="../media/image6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notesSlide" Target="../notesSlides/notesSlide5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9.v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image" Target="../media/image6.emf"/><Relationship Id="rId10" Type="http://schemas.openxmlformats.org/officeDocument/2006/relationships/tags" Target="../tags/tag66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69.xml"/><Relationship Id="rId7" Type="http://schemas.openxmlformats.org/officeDocument/2006/relationships/oleObject" Target="../embeddings/oleObject10.bin"/><Relationship Id="rId2" Type="http://schemas.openxmlformats.org/officeDocument/2006/relationships/tags" Target="../tags/tag68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70.xml"/><Relationship Id="rId9" Type="http://schemas.openxmlformats.org/officeDocument/2006/relationships/image" Target="../media/image11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8749842"/>
              </p:ext>
            </p:extLst>
          </p:nvPr>
        </p:nvGraphicFramePr>
        <p:xfrm>
          <a:off x="-1584" y="-1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999" name="think-cell Slide" r:id="rId6" imgW="347" imgH="346" progId="TCLayout.ActiveDocument.1">
                  <p:embed/>
                </p:oleObj>
              </mc:Choice>
              <mc:Fallback>
                <p:oleObj name="think-cell Slide" r:id="rId6" imgW="347" imgH="34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-1584" y="-1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DABE58C-2E77-45F2-BAEF-552DA29812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5000" b="1" dirty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Subtitle 4">
            <a:extLst>
              <a:ext uri="{FF2B5EF4-FFF2-40B4-BE49-F238E27FC236}">
                <a16:creationId xmlns:a16="http://schemas.microsoft.com/office/drawing/2014/main" id="{FB544F34-786D-4BB5-80AF-126AD2F4AD0C}"/>
              </a:ext>
            </a:extLst>
          </p:cNvPr>
          <p:cNvSpPr txBox="1">
            <a:spLocks/>
          </p:cNvSpPr>
          <p:nvPr/>
        </p:nvSpPr>
        <p:spPr bwMode="auto">
          <a:xfrm>
            <a:off x="717714" y="2914783"/>
            <a:ext cx="10331842" cy="33855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2200" b="0" cap="none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2140" indent="-196105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474" indent="-267415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016" indent="-158829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0258" indent="-128092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kern="0" dirty="0"/>
              <a:t>T+IL Playbook</a:t>
            </a:r>
          </a:p>
        </p:txBody>
      </p:sp>
      <p:sp>
        <p:nvSpPr>
          <p:cNvPr id="9" name="Subtitle 4">
            <a:extLst>
              <a:ext uri="{FF2B5EF4-FFF2-40B4-BE49-F238E27FC236}">
                <a16:creationId xmlns:a16="http://schemas.microsoft.com/office/drawing/2014/main" id="{55BE55CD-61E1-453B-AF2F-BD1237DB1A87}"/>
              </a:ext>
            </a:extLst>
          </p:cNvPr>
          <p:cNvSpPr txBox="1">
            <a:spLocks/>
          </p:cNvSpPr>
          <p:nvPr/>
        </p:nvSpPr>
        <p:spPr bwMode="auto">
          <a:xfrm>
            <a:off x="717714" y="5399595"/>
            <a:ext cx="10331842" cy="33855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2200" b="0" cap="none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2140" indent="-196105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474" indent="-267415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016" indent="-158829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0258" indent="-128092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i="1" kern="0" dirty="0"/>
              <a:t>See file name for date and time of last update (e.g., </a:t>
            </a:r>
            <a:r>
              <a:rPr lang="en-US" sz="1200" kern="0" dirty="0">
                <a:solidFill>
                  <a:srgbClr val="FF0000"/>
                </a:solidFill>
              </a:rPr>
              <a:t>20190611 </a:t>
            </a:r>
            <a:r>
              <a:rPr lang="en-US" sz="1200" kern="0" dirty="0"/>
              <a:t>T+IL in a nutshell – T+IL playbook – v</a:t>
            </a:r>
            <a:r>
              <a:rPr lang="en-US" sz="1200" kern="0" dirty="0">
                <a:solidFill>
                  <a:srgbClr val="FF0000"/>
                </a:solidFill>
              </a:rPr>
              <a:t>1025</a:t>
            </a:r>
            <a:r>
              <a:rPr lang="en-US" sz="1200" i="1" kern="0" dirty="0"/>
              <a:t>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56F5052-13D9-48E1-A8EA-6E5C4A7CF3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+IL in </a:t>
            </a:r>
            <a:r>
              <a:rPr lang="en-US"/>
              <a:t>a nutshell</a:t>
            </a:r>
          </a:p>
        </p:txBody>
      </p:sp>
    </p:spTree>
    <p:extLst>
      <p:ext uri="{BB962C8B-B14F-4D97-AF65-F5344CB8AC3E}">
        <p14:creationId xmlns:p14="http://schemas.microsoft.com/office/powerpoint/2010/main" val="40447139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1FB72D-96C3-4FF1-84DC-4368E7EE47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8182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684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FE51B9C-42F6-4ECE-8799-4056DC2BC0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Terms and Definitions (2/5)</a:t>
            </a:r>
          </a:p>
        </p:txBody>
      </p:sp>
      <p:graphicFrame>
        <p:nvGraphicFramePr>
          <p:cNvPr id="8" name="Content Placeholder 6">
            <a:extLst>
              <a:ext uri="{FF2B5EF4-FFF2-40B4-BE49-F238E27FC236}">
                <a16:creationId xmlns:a16="http://schemas.microsoft.com/office/drawing/2014/main" id="{48117145-E13A-4CD8-910C-E998C2AE7E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42331159"/>
              </p:ext>
            </p:extLst>
          </p:nvPr>
        </p:nvGraphicFramePr>
        <p:xfrm>
          <a:off x="419108" y="1501924"/>
          <a:ext cx="11366492" cy="43730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93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488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082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24730">
                <a:tc>
                  <a:txBody>
                    <a:bodyPr/>
                    <a:lstStyle/>
                    <a:p>
                      <a:endParaRPr lang="en-US" sz="1200" dirty="0">
                        <a:latin typeface="+mn-lt"/>
                      </a:endParaRPr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+mn-lt"/>
                        </a:rPr>
                        <a:t>Te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+mn-lt"/>
                        </a:rPr>
                        <a:t>Description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denc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liable and dependable working rhythm established for the team, demonstrating practicable practic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n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 list of criteria that must be met or various tasks that need to happen before a story is considered potentially releasable, explicitly defined and agreed upon by the entire team so that each team member means exactly the same thing when they determine a story is complete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ily stand-up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ily 15-minute “inspect and adapt cycle” meeting for the team to understand its progress, with team members sharing answers to 3 questions: What did I do yesterday? What do I plan to do today? Are there any impediments in my way?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timation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ough calculation of the size of stories; only done by the team responsible for delivering the work, typically in story points or t-shirt siz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pic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large user story that can span an entire release or multiple releases (delivered over a series of sprints) and is eventually broken down into smaller stories; useful as placeholders for large requirements, progressively refined into set of smaller user stories at the appropriate tim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4730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gineering practic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ecific techniques that enable development teams to perform the work required to deliver features that have manageable levels of technical depth and meet definition of don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pedimen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ything that slows the team down and delays the completion of project work; impact classified as either local (affecting single user story or individual team member) or global (affecting multiple team members and/or multiple user stories); should be brought up in daily stand-up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87777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67BC1D1-36E1-45C5-A85A-C7403AC009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1444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786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9CE9AE9-DDD9-4257-BD74-61573C2B34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Terms and Definitions (3/5)</a:t>
            </a:r>
          </a:p>
        </p:txBody>
      </p:sp>
      <p:graphicFrame>
        <p:nvGraphicFramePr>
          <p:cNvPr id="8" name="Content Placeholder 6">
            <a:extLst>
              <a:ext uri="{FF2B5EF4-FFF2-40B4-BE49-F238E27FC236}">
                <a16:creationId xmlns:a16="http://schemas.microsoft.com/office/drawing/2014/main" id="{4ABFFA4F-DC29-4A52-A82C-E7C0F84B40C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9128487"/>
              </p:ext>
            </p:extLst>
          </p:nvPr>
        </p:nvGraphicFramePr>
        <p:xfrm>
          <a:off x="419108" y="1501924"/>
          <a:ext cx="11366492" cy="47802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93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488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082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24730">
                <a:tc>
                  <a:txBody>
                    <a:bodyPr/>
                    <a:lstStyle/>
                    <a:p>
                      <a:endParaRPr lang="en-US" sz="1200" dirty="0">
                        <a:latin typeface="+mn-lt"/>
                      </a:endParaRPr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+mn-lt"/>
                        </a:rPr>
                        <a:t>Te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+mn-lt"/>
                        </a:rPr>
                        <a:t>Description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nimum viable product (MVP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 product with the highest return on investment, filtering out users who aren’t part of the target audience; capitalizes on refining / enhancing existing functionality and takes into account that not every user is appropriate for every type of functionality. Also known as a vertical slic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duct backlog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oritized list of all known features or outstanding work necessary to bring the product to life; may include customer / user needs, technological, functional and non-functional requirements; a living document maintained and managed by the product owner team; exists as product roadmap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duct owner (PO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rson who owns the overall product vision, roadmap, release goals, and priorities; responsible for managing the product backlog and ensuring the team performs valuable work; works day-to-day with the team and is empowered  to make product decision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duct incremen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oroughly tested code built in an executable and useable condition that represents the sum of all product backlog items completed during a sprint and all previous sprints; consists of features or components of features that can add valu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leas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ployable product (e.g., software package) or combination of features that make for a coherent deliverable to users; is the culmination of several iterations and the version of an application meant for widespread use; may be public or privat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4730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ik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“Research” stories (usually technical in nature) intended to provide just enough information so the team can estimate the size of the story or determine next steps; should be time-boxed and have a clearly defined deliverabl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cru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terative and incremental Agile framework for managing product development; works well in delivering units of work in changing environments while productively and creatively delivering the highest business valu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rin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fixed, repeatable time box, usually ranging between 1 – 4 weeks, at the end of which the Scrum team produces a potentially shippable increment of working product (e.g., software package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87063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6BC683E-2823-4C77-B6D3-4BABDBD5B8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9123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889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7F5BDC3-9F18-46DC-B67C-97634549205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Terms and Definitions (4/5)</a:t>
            </a:r>
          </a:p>
        </p:txBody>
      </p:sp>
      <p:graphicFrame>
        <p:nvGraphicFramePr>
          <p:cNvPr id="8" name="Content Placeholder 6">
            <a:extLst>
              <a:ext uri="{FF2B5EF4-FFF2-40B4-BE49-F238E27FC236}">
                <a16:creationId xmlns:a16="http://schemas.microsoft.com/office/drawing/2014/main" id="{2435E8BF-3A09-465B-A005-73554FB9B58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47806283"/>
              </p:ext>
            </p:extLst>
          </p:nvPr>
        </p:nvGraphicFramePr>
        <p:xfrm>
          <a:off x="419108" y="1501924"/>
          <a:ext cx="11366492" cy="50710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93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488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082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24730">
                <a:tc>
                  <a:txBody>
                    <a:bodyPr/>
                    <a:lstStyle/>
                    <a:p>
                      <a:endParaRPr lang="en-US" sz="1200" dirty="0">
                        <a:latin typeface="+mn-lt"/>
                      </a:endParaRPr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+mn-lt"/>
                        </a:rPr>
                        <a:t>Te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+mn-lt"/>
                        </a:rPr>
                        <a:t>Description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rint backlog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bset of the product backlog that the team commits to doing during sprint planning for the upcoming sprint; team then breaks backlog items down into tasks needed to deliver each on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rint planning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eting where the team plans and commits to what can be accomplished during the next sprin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rint review (demo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view following each sprint during which the product (e.g., software package) developed in the just-completed sprint is reviewed and, if necessary, new backlog items are adde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rint zero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foundational sprint for the team to get started before development begins; used to create basic skeleton and plumbing for the project, with a few critical stories picked up and develope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ory poin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unit of relative estimation that measures complexity, difficulty, and size of a user story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4730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crum master (SM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acilitator of the Scrum process who coaches the team in implementing Agile practices and processes; works with the team to remove impediments and accelerate velocity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olution architec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river of the technical direction of the project, including coaching of the team; works closely with the PO and SM to enable the team to achieve their sprint and release goal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crum tea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am that delivers potentially shippable product (e.g., software package) at every sprint; staffed with cross functional team members that are self-organizing and empowere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akeholders / sponsor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dividuals who have a vested interest in the outcome of the project; typically engage with the team on sprint review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9041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56936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48B2ED-4E07-46C9-B2A8-0CB683DFBA5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844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991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777B95-A75B-4A07-A1EA-5B3096F3CB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Terms and Definitions (5/5)</a:t>
            </a:r>
          </a:p>
        </p:txBody>
      </p:sp>
      <p:graphicFrame>
        <p:nvGraphicFramePr>
          <p:cNvPr id="8" name="Content Placeholder 6">
            <a:extLst>
              <a:ext uri="{FF2B5EF4-FFF2-40B4-BE49-F238E27FC236}">
                <a16:creationId xmlns:a16="http://schemas.microsoft.com/office/drawing/2014/main" id="{24F85294-32B0-4E21-958F-C45303AEFB1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1467779"/>
              </p:ext>
            </p:extLst>
          </p:nvPr>
        </p:nvGraphicFramePr>
        <p:xfrm>
          <a:off x="419108" y="1501924"/>
          <a:ext cx="11366492" cy="40237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93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488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082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24730">
                <a:tc>
                  <a:txBody>
                    <a:bodyPr/>
                    <a:lstStyle/>
                    <a:p>
                      <a:endParaRPr lang="en-US" sz="1200" dirty="0">
                        <a:latin typeface="+mn-lt"/>
                      </a:endParaRPr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+mn-lt"/>
                        </a:rPr>
                        <a:t>Te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+mn-lt"/>
                        </a:rPr>
                        <a:t>Description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eering committe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usiness and IT leadership invested in supporting the success of the project and removing impedimen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ask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ponents of a user story that depict the pieces of work required to complete a product backlog item; typically estimated in hour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a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t of cross-functional individuals who are responsible for delivering the potentially shippable increment of working product (e.g., software package) each sprin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m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core feature that identifies the product; a collection of epics and user stories (e.g., a “rubber band” around a group of stories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er story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omething that the user wants and has business value; a short and simple description written from the user perspective (“as a [user role], I want [goal] so that [reason]”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4730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9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er persona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scriptions of the typical users of a given product (e.g., software); description should include skills and background (e.g., new or existing user) and goals (e.g., user’s expectation from the product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algn="r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elocity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lative number which describes how much work the team can get done per sprin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29030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B889B56-BB86-4E41-A1B2-C84C3EE1E8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2922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023" name="think-cell Slide" r:id="rId5" imgW="631" imgH="631" progId="TCLayout.ActiveDocument.1">
                  <p:embed/>
                </p:oleObj>
              </mc:Choice>
              <mc:Fallback>
                <p:oleObj name="think-cell Slide" r:id="rId5" imgW="631" imgH="6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B889B56-BB86-4E41-A1B2-C84C3EE1E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FDF7C68-2F9F-470A-BC3A-E2D695FF0C9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FBEA0F5-A2DB-4B6F-9A89-7B743DC8BEA8}"/>
              </a:ext>
            </a:extLst>
          </p:cNvPr>
          <p:cNvSpPr txBox="1"/>
          <p:nvPr/>
        </p:nvSpPr>
        <p:spPr>
          <a:xfrm>
            <a:off x="237301" y="2006233"/>
            <a:ext cx="11717398" cy="763208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 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D823F2-3D7A-4672-8B05-E6949509B8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ybook context – T+IL in a nutshel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DAFC9C-0D08-448C-A730-C06D7D74A83B}"/>
              </a:ext>
            </a:extLst>
          </p:cNvPr>
          <p:cNvSpPr txBox="1"/>
          <p:nvPr/>
        </p:nvSpPr>
        <p:spPr>
          <a:xfrm>
            <a:off x="419109" y="1700245"/>
            <a:ext cx="188382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Chapt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F80E2A-4C3F-401B-A75E-2422E88D1943}"/>
              </a:ext>
            </a:extLst>
          </p:cNvPr>
          <p:cNvSpPr txBox="1"/>
          <p:nvPr/>
        </p:nvSpPr>
        <p:spPr>
          <a:xfrm>
            <a:off x="2553547" y="1700245"/>
            <a:ext cx="560832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Descrip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25AF8C5-D67C-4D4E-8D40-2CC655962E15}"/>
              </a:ext>
            </a:extLst>
          </p:cNvPr>
          <p:cNvSpPr txBox="1"/>
          <p:nvPr/>
        </p:nvSpPr>
        <p:spPr>
          <a:xfrm>
            <a:off x="8561492" y="1700245"/>
            <a:ext cx="319023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File na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BD2E54-861D-428C-9F19-F3910E4573E6}"/>
              </a:ext>
            </a:extLst>
          </p:cNvPr>
          <p:cNvSpPr txBox="1"/>
          <p:nvPr/>
        </p:nvSpPr>
        <p:spPr>
          <a:xfrm>
            <a:off x="419109" y="2120194"/>
            <a:ext cx="188382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T+IL in a nutshel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B8CA80-EBF3-48E7-9B97-0400BB35438A}"/>
              </a:ext>
            </a:extLst>
          </p:cNvPr>
          <p:cNvSpPr txBox="1"/>
          <p:nvPr/>
        </p:nvSpPr>
        <p:spPr>
          <a:xfrm>
            <a:off x="2553547" y="2120194"/>
            <a:ext cx="560832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An overview of the Lab’s scope, guiding principles, and purpos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55A85AD-FAC7-4079-B0E7-62DA6E0DCE40}"/>
              </a:ext>
            </a:extLst>
          </p:cNvPr>
          <p:cNvSpPr txBox="1"/>
          <p:nvPr/>
        </p:nvSpPr>
        <p:spPr>
          <a:xfrm>
            <a:off x="8561492" y="2120194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[Date] T+IL nutshell - T+IL playbook - v[Time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19B1F27-427B-4F2C-90A1-E76A219CD38B}"/>
              </a:ext>
            </a:extLst>
          </p:cNvPr>
          <p:cNvSpPr txBox="1"/>
          <p:nvPr/>
        </p:nvSpPr>
        <p:spPr>
          <a:xfrm>
            <a:off x="419109" y="2926244"/>
            <a:ext cx="188382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Lab operation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AFA3F7A-E4C2-4A2B-B825-F3B6E861AC38}"/>
              </a:ext>
            </a:extLst>
          </p:cNvPr>
          <p:cNvSpPr txBox="1"/>
          <p:nvPr/>
        </p:nvSpPr>
        <p:spPr>
          <a:xfrm>
            <a:off x="2553547" y="2926244"/>
            <a:ext cx="560832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A high-level view of the Lab’s structure, governance, and operating mod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01FFA1-0047-4330-9896-4B1868B94A49}"/>
              </a:ext>
            </a:extLst>
          </p:cNvPr>
          <p:cNvSpPr txBox="1"/>
          <p:nvPr/>
        </p:nvSpPr>
        <p:spPr>
          <a:xfrm>
            <a:off x="8561492" y="2926244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[Date] Lab operations - T+IL playbook - v[Time]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5BE062-0F0C-4688-955B-F79C0363915C}"/>
              </a:ext>
            </a:extLst>
          </p:cNvPr>
          <p:cNvSpPr txBox="1"/>
          <p:nvPr/>
        </p:nvSpPr>
        <p:spPr>
          <a:xfrm>
            <a:off x="419109" y="4538344"/>
            <a:ext cx="188382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Product team operating mod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D3A7137-9548-4A29-B62F-8DD9F1B5D268}"/>
              </a:ext>
            </a:extLst>
          </p:cNvPr>
          <p:cNvSpPr txBox="1"/>
          <p:nvPr/>
        </p:nvSpPr>
        <p:spPr>
          <a:xfrm>
            <a:off x="2553547" y="4538344"/>
            <a:ext cx="560832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Overview of how product teams operate, including structure and ceremoni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2EC0EE6-A4AF-4C67-9EBD-DEEAA26DEA05}"/>
              </a:ext>
            </a:extLst>
          </p:cNvPr>
          <p:cNvSpPr txBox="1"/>
          <p:nvPr/>
        </p:nvSpPr>
        <p:spPr>
          <a:xfrm>
            <a:off x="8561492" y="4538344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[Date] Product team operating model - T+IL playbook - v[Time]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E547CE3-3DD6-44C0-9C6A-E699938F7F3A}"/>
              </a:ext>
            </a:extLst>
          </p:cNvPr>
          <p:cNvSpPr txBox="1"/>
          <p:nvPr/>
        </p:nvSpPr>
        <p:spPr>
          <a:xfrm>
            <a:off x="419109" y="5344394"/>
            <a:ext cx="188382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T+IL talent guid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99B23FA-1CEE-4178-AD7F-E78C2751CDDD}"/>
              </a:ext>
            </a:extLst>
          </p:cNvPr>
          <p:cNvSpPr txBox="1"/>
          <p:nvPr/>
        </p:nvSpPr>
        <p:spPr>
          <a:xfrm>
            <a:off x="2553547" y="5344394"/>
            <a:ext cx="560832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An overview of all things talent for the Lab, including recruiting, capability-building, and performance manageme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26DC713-2297-4C0C-839B-F407A5267A8E}"/>
              </a:ext>
            </a:extLst>
          </p:cNvPr>
          <p:cNvSpPr txBox="1"/>
          <p:nvPr/>
        </p:nvSpPr>
        <p:spPr>
          <a:xfrm>
            <a:off x="8561492" y="5344394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[Date] T+IL talent guide - T+IL playbook - v[Time]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B2F5594-BF3C-4F00-BEAD-9FE21D2EE297}"/>
              </a:ext>
            </a:extLst>
          </p:cNvPr>
          <p:cNvSpPr txBox="1"/>
          <p:nvPr/>
        </p:nvSpPr>
        <p:spPr>
          <a:xfrm>
            <a:off x="419109" y="6150442"/>
            <a:ext cx="188382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Onboarding playbook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98D65AA-53BC-4A06-8468-F1DDA1DE43FA}"/>
              </a:ext>
            </a:extLst>
          </p:cNvPr>
          <p:cNvSpPr txBox="1"/>
          <p:nvPr/>
        </p:nvSpPr>
        <p:spPr>
          <a:xfrm>
            <a:off x="2553547" y="6150442"/>
            <a:ext cx="560832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A guide for people joining the Lab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636B5EC-77BA-491C-89BD-452D62B1075F}"/>
              </a:ext>
            </a:extLst>
          </p:cNvPr>
          <p:cNvSpPr txBox="1"/>
          <p:nvPr/>
        </p:nvSpPr>
        <p:spPr>
          <a:xfrm>
            <a:off x="8561492" y="6150442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[Date] Onboarding playbook - T+IL playbook - v[Time]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0FBD00A-AEAA-4258-87EC-FCFB91287CBF}"/>
              </a:ext>
            </a:extLst>
          </p:cNvPr>
          <p:cNvSpPr txBox="1"/>
          <p:nvPr/>
        </p:nvSpPr>
        <p:spPr>
          <a:xfrm>
            <a:off x="419109" y="3732294"/>
            <a:ext cx="188382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Product Lifecycle guid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FCD9EBE-42DE-4B23-9EAB-609192B026B0}"/>
              </a:ext>
            </a:extLst>
          </p:cNvPr>
          <p:cNvSpPr txBox="1"/>
          <p:nvPr/>
        </p:nvSpPr>
        <p:spPr>
          <a:xfrm>
            <a:off x="2553547" y="3732294"/>
            <a:ext cx="560832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Walkthrough of the Lab’s Product Lifecycle (PLC) governance, with detailed guidance for each review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AD5F043-58FA-4931-9EE4-1D4A1E485571}"/>
              </a:ext>
            </a:extLst>
          </p:cNvPr>
          <p:cNvSpPr txBox="1"/>
          <p:nvPr/>
        </p:nvSpPr>
        <p:spPr>
          <a:xfrm>
            <a:off x="8561492" y="3732294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[Date] PLC guidebook - T+IL playbook – v[Time]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E1A324B-7B81-463F-A3E3-17178C37247B}"/>
              </a:ext>
            </a:extLst>
          </p:cNvPr>
          <p:cNvSpPr txBox="1"/>
          <p:nvPr/>
        </p:nvSpPr>
        <p:spPr>
          <a:xfrm>
            <a:off x="10682838" y="1190233"/>
            <a:ext cx="132855" cy="137269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 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78798A8-3C2A-4672-8CE7-0A4385A8A3C0}"/>
              </a:ext>
            </a:extLst>
          </p:cNvPr>
          <p:cNvSpPr txBox="1"/>
          <p:nvPr/>
        </p:nvSpPr>
        <p:spPr>
          <a:xfrm>
            <a:off x="10913763" y="1166534"/>
            <a:ext cx="9240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This chapter</a:t>
            </a:r>
          </a:p>
        </p:txBody>
      </p:sp>
    </p:spTree>
    <p:extLst>
      <p:ext uri="{BB962C8B-B14F-4D97-AF65-F5344CB8AC3E}">
        <p14:creationId xmlns:p14="http://schemas.microsoft.com/office/powerpoint/2010/main" val="41232184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126011-B2AD-4769-9DDD-4E54CAD115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761257"/>
              </p:ext>
            </p:ext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934" name="think-cell Slide" r:id="rId7" imgW="631" imgH="631" progId="TCLayout.ActiveDocument.1">
                  <p:embed/>
                </p:oleObj>
              </mc:Choice>
              <mc:Fallback>
                <p:oleObj name="think-cell Slide" r:id="rId7" imgW="631" imgH="6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2126011-B2AD-4769-9DDD-4E54CAD115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1A1F41F-9036-41AE-B172-AC06660BBC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0E977-0FEA-4197-907F-98EA4B88A7A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19108" y="513351"/>
            <a:ext cx="10204442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The Technology + Innovation Lab set out to drive </a:t>
            </a:r>
            <a:br>
              <a:rPr lang="en-US" dirty="0"/>
            </a:br>
            <a:r>
              <a:rPr lang="en-US" dirty="0"/>
              <a:t>innovative impact in an agile and engaging environmen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6B5B991-6D40-48FD-94ED-D88893B6D411}"/>
              </a:ext>
            </a:extLst>
          </p:cNvPr>
          <p:cNvSpPr>
            <a:spLocks/>
          </p:cNvSpPr>
          <p:nvPr/>
        </p:nvSpPr>
        <p:spPr>
          <a:xfrm>
            <a:off x="651408" y="3045750"/>
            <a:ext cx="4964201" cy="2582746"/>
          </a:xfrm>
          <a:prstGeom prst="rect">
            <a:avLst/>
          </a:prstGeom>
          <a:solidFill>
            <a:schemeClr val="bg1">
              <a:alpha val="69804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B881B69-6B92-4944-B84A-187AD609EF9B}"/>
              </a:ext>
            </a:extLst>
          </p:cNvPr>
          <p:cNvSpPr>
            <a:spLocks/>
          </p:cNvSpPr>
          <p:nvPr/>
        </p:nvSpPr>
        <p:spPr>
          <a:xfrm>
            <a:off x="5740328" y="3045750"/>
            <a:ext cx="5788668" cy="2582746"/>
          </a:xfrm>
          <a:prstGeom prst="rect">
            <a:avLst/>
          </a:prstGeom>
          <a:solidFill>
            <a:schemeClr val="bg1">
              <a:alpha val="69804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CEA3AB-B01E-4432-B5B6-CCC5F3254F45}"/>
              </a:ext>
            </a:extLst>
          </p:cNvPr>
          <p:cNvSpPr/>
          <p:nvPr/>
        </p:nvSpPr>
        <p:spPr>
          <a:xfrm>
            <a:off x="647544" y="1881088"/>
            <a:ext cx="10896912" cy="952885"/>
          </a:xfrm>
          <a:prstGeom prst="rect">
            <a:avLst/>
          </a:prstGeom>
          <a:solidFill>
            <a:schemeClr val="bg1">
              <a:alpha val="69804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Rectangle 17">
            <a:extLst>
              <a:ext uri="{FF2B5EF4-FFF2-40B4-BE49-F238E27FC236}">
                <a16:creationId xmlns:a16="http://schemas.microsoft.com/office/drawing/2014/main" id="{649A92C5-9410-41DC-96A0-6C6B7A8D2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6187" y="2942878"/>
            <a:ext cx="704804" cy="21544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algn="l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Char char="§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73063" indent="-177800" algn="l" defTabSz="895350"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552450" indent="-177800" algn="l" defTabSz="895350">
              <a:buChar char="§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31838" indent="-177800" algn="l" defTabSz="895350">
              <a:buChar char="§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189038" indent="-177800" defTabSz="895350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46238" indent="-177800" defTabSz="895350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03438" indent="-177800" defTabSz="895350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60638" indent="-177800" defTabSz="895350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FontTx/>
              <a:buNone/>
            </a:pPr>
            <a:r>
              <a:rPr lang="de-DE" sz="1400" b="1" dirty="0" err="1">
                <a:solidFill>
                  <a:schemeClr val="tx2"/>
                </a:solidFill>
                <a:latin typeface="+mn-lt"/>
              </a:rPr>
              <a:t>WHAT</a:t>
            </a:r>
            <a:endParaRPr lang="de-DE" sz="1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2" name="Rectangle 17">
            <a:extLst>
              <a:ext uri="{FF2B5EF4-FFF2-40B4-BE49-F238E27FC236}">
                <a16:creationId xmlns:a16="http://schemas.microsoft.com/office/drawing/2014/main" id="{135025F9-17A0-45EB-9688-83F13485AE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423" y="2103425"/>
            <a:ext cx="1058951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Char char="§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73063" indent="-177800" algn="l" defTabSz="895350"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552450" indent="-177800" algn="l" defTabSz="895350">
              <a:buChar char="§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31838" indent="-177800" algn="l" defTabSz="895350">
              <a:buChar char="§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189038" indent="-177800" defTabSz="895350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46238" indent="-177800" defTabSz="895350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03438" indent="-177800" defTabSz="895350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60638" indent="-177800" defTabSz="895350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0">
              <a:buClr>
                <a:srgbClr val="000000"/>
              </a:buClr>
              <a:defRPr/>
            </a:pPr>
            <a:r>
              <a:rPr lang="en-US" sz="1400" dirty="0">
                <a:solidFill>
                  <a:srgbClr val="000000"/>
                </a:solidFill>
              </a:rPr>
              <a:t>Enbridge’s Technology + Innovation Lab is responding to the need to drive </a:t>
            </a:r>
            <a:r>
              <a:rPr lang="en-US" sz="1400" b="1" dirty="0">
                <a:solidFill>
                  <a:srgbClr val="017DBB"/>
                </a:solidFill>
              </a:rPr>
              <a:t>innovation and business impact</a:t>
            </a:r>
            <a:r>
              <a:rPr lang="en-US" sz="1400" dirty="0">
                <a:solidFill>
                  <a:srgbClr val="000000"/>
                </a:solidFill>
              </a:rPr>
              <a:t>, while improving employee experience. The Digital Lab will support Enbridge’s aspirations </a:t>
            </a:r>
            <a:r>
              <a:rPr lang="en-US" sz="1400" b="1" dirty="0">
                <a:solidFill>
                  <a:srgbClr val="017DBB"/>
                </a:solidFill>
              </a:rPr>
              <a:t>to improve asset utilization and performance, improve asset health monitoring</a:t>
            </a:r>
            <a:r>
              <a:rPr lang="en-US" sz="1400" dirty="0">
                <a:solidFill>
                  <a:srgbClr val="000000"/>
                </a:solidFill>
              </a:rPr>
              <a:t>, and </a:t>
            </a:r>
            <a:r>
              <a:rPr lang="en-US" sz="1400" b="1" dirty="0">
                <a:solidFill>
                  <a:srgbClr val="017DBB"/>
                </a:solidFill>
              </a:rPr>
              <a:t>enable our workforce</a:t>
            </a:r>
            <a:endParaRPr lang="en-US" sz="1400" b="1" dirty="0">
              <a:solidFill>
                <a:srgbClr val="017DBB"/>
              </a:solidFill>
              <a:latin typeface="Arial"/>
            </a:endParaRPr>
          </a:p>
        </p:txBody>
      </p:sp>
      <p:sp>
        <p:nvSpPr>
          <p:cNvPr id="13" name="Rectangle 17">
            <a:extLst>
              <a:ext uri="{FF2B5EF4-FFF2-40B4-BE49-F238E27FC236}">
                <a16:creationId xmlns:a16="http://schemas.microsoft.com/office/drawing/2014/main" id="{02161666-6898-43A7-A474-7D43B80BF3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50576" y="2942878"/>
            <a:ext cx="1882067" cy="21544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algn="l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Char char="§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73063" indent="-177800" algn="l" defTabSz="895350"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552450" indent="-177800" algn="l" defTabSz="895350">
              <a:buChar char="§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31838" indent="-177800" algn="l" defTabSz="895350">
              <a:buChar char="§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189038" indent="-177800" defTabSz="895350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46238" indent="-177800" defTabSz="895350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03438" indent="-177800" defTabSz="895350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60638" indent="-177800" defTabSz="895350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FontTx/>
              <a:buNone/>
            </a:pPr>
            <a:r>
              <a:rPr lang="de-DE" sz="1400" b="1" dirty="0">
                <a:solidFill>
                  <a:schemeClr val="tx2"/>
                </a:solidFill>
                <a:latin typeface="+mn-lt"/>
              </a:rPr>
              <a:t>HOW IT WILL WORK</a:t>
            </a: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4A12C066-30DC-4FF6-A6E9-2DE7E8E01B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2199" y="1775674"/>
            <a:ext cx="619218" cy="21544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algn="l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Char char="§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73063" indent="-177800" algn="l" defTabSz="895350"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552450" indent="-177800" algn="l" defTabSz="895350">
              <a:buChar char="§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31838" indent="-177800" algn="l" defTabSz="895350">
              <a:buChar char="§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189038" indent="-177800" defTabSz="895350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46238" indent="-177800" defTabSz="895350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03438" indent="-177800" defTabSz="895350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60638" indent="-177800" defTabSz="895350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FontTx/>
              <a:buNone/>
            </a:pPr>
            <a:r>
              <a:rPr lang="de-DE" sz="1400" b="1" dirty="0" err="1">
                <a:solidFill>
                  <a:schemeClr val="tx2"/>
                </a:solidFill>
                <a:latin typeface="+mn-lt"/>
              </a:rPr>
              <a:t>WHY</a:t>
            </a:r>
            <a:endParaRPr lang="de-DE" sz="1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DFE8E01-9DD9-4BF0-B5AA-B3A94B0C6A43}"/>
              </a:ext>
            </a:extLst>
          </p:cNvPr>
          <p:cNvSpPr txBox="1"/>
          <p:nvPr/>
        </p:nvSpPr>
        <p:spPr>
          <a:xfrm>
            <a:off x="5860515" y="3303476"/>
            <a:ext cx="5516081" cy="21005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>
              <a:spcBef>
                <a:spcPct val="50000"/>
              </a:spcBef>
              <a:buClr>
                <a:srgbClr val="000000"/>
              </a:buClr>
              <a:defRPr/>
            </a:pPr>
            <a:r>
              <a:rPr lang="en-US" sz="1400" b="1" dirty="0">
                <a:solidFill>
                  <a:srgbClr val="017DBB"/>
                </a:solidFill>
              </a:rPr>
              <a:t>User-centric approach and quick iterations (Agile)</a:t>
            </a:r>
          </a:p>
          <a:p>
            <a:pPr lvl="1">
              <a:spcBef>
                <a:spcPct val="25000"/>
              </a:spcBef>
              <a:buClr>
                <a:srgbClr val="000000"/>
              </a:buClr>
              <a:defRPr/>
            </a:pPr>
            <a:r>
              <a:rPr lang="en-CA" sz="1400" dirty="0">
                <a:solidFill>
                  <a:srgbClr val="000000"/>
                </a:solidFill>
                <a:ea typeface="Gulim" panose="020B0600000101010101" pitchFamily="34" charset="-127"/>
              </a:rPr>
              <a:t>Start small, scale fast, and build for sustainability – quickly scale what works while developing systems, policies, and standards to be successful over the expected life cycle</a:t>
            </a:r>
          </a:p>
          <a:p>
            <a:pPr lvl="1">
              <a:spcBef>
                <a:spcPct val="25000"/>
              </a:spcBef>
              <a:buClr>
                <a:srgbClr val="000000"/>
              </a:buClr>
              <a:defRPr/>
            </a:pPr>
            <a:r>
              <a:rPr lang="en-CA" sz="1400" dirty="0">
                <a:solidFill>
                  <a:srgbClr val="000000"/>
                </a:solidFill>
                <a:ea typeface="Gulim" panose="020B0600000101010101" pitchFamily="34" charset="-127"/>
              </a:rPr>
              <a:t>Build digital capabilities in every Enbridge employee through active coaching and mentorship</a:t>
            </a:r>
          </a:p>
          <a:p>
            <a:pPr lvl="1">
              <a:spcBef>
                <a:spcPct val="25000"/>
              </a:spcBef>
              <a:buClr>
                <a:srgbClr val="000000"/>
              </a:buClr>
              <a:defRPr/>
            </a:pPr>
            <a:r>
              <a:rPr lang="en-CA" sz="1400" dirty="0">
                <a:solidFill>
                  <a:srgbClr val="000000"/>
                </a:solidFill>
                <a:ea typeface="Gulim" panose="020B0600000101010101" pitchFamily="34" charset="-127"/>
              </a:rPr>
              <a:t>Prioritizing the high impact projects to keep a high bar on ROI payback by developing a robust prioritization framework for the future to ensure tight alignment with business lead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9664522-079F-42B5-8E31-1C9E145BB4F3}"/>
              </a:ext>
            </a:extLst>
          </p:cNvPr>
          <p:cNvSpPr>
            <a:spLocks/>
          </p:cNvSpPr>
          <p:nvPr/>
        </p:nvSpPr>
        <p:spPr>
          <a:xfrm>
            <a:off x="651408" y="5758189"/>
            <a:ext cx="10893048" cy="756112"/>
          </a:xfrm>
          <a:prstGeom prst="rect">
            <a:avLst/>
          </a:prstGeom>
          <a:solidFill>
            <a:schemeClr val="accent4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rIns="182880" rtlCol="0" anchor="ctr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The scope, governance, and organization of the Technology + Innovation Lab are to be used as our guiding framework, but they are subject to change and adaptations as the Lab evolves</a:t>
            </a:r>
          </a:p>
        </p:txBody>
      </p:sp>
      <p:pic>
        <p:nvPicPr>
          <p:cNvPr id="18" name="Graphic 17" descr="Warning">
            <a:extLst>
              <a:ext uri="{FF2B5EF4-FFF2-40B4-BE49-F238E27FC236}">
                <a16:creationId xmlns:a16="http://schemas.microsoft.com/office/drawing/2014/main" id="{774AE468-5E79-4E44-AAAF-989C87E9F4C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60362" y="5900580"/>
            <a:ext cx="448452" cy="44845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75E6002-BB68-41CC-9145-D85EE5692D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9841" y="3288015"/>
            <a:ext cx="4646497" cy="226215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0" defTabSz="913526">
              <a:spcBef>
                <a:spcPct val="50000"/>
              </a:spcBef>
              <a:buClr>
                <a:srgbClr val="000000"/>
              </a:buClr>
              <a:buSzTx/>
              <a:defRPr/>
            </a:pPr>
            <a:r>
              <a:rPr lang="en-US" sz="1400" b="1" dirty="0">
                <a:solidFill>
                  <a:srgbClr val="017DBB"/>
                </a:solidFill>
                <a:latin typeface="Arial" charset="0"/>
              </a:rPr>
              <a:t>Delivering business impact through new ways of working</a:t>
            </a:r>
          </a:p>
          <a:p>
            <a:pPr marL="197607" lvl="1" indent="-195987" defTabSz="913526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000000"/>
                </a:solidFill>
                <a:ea typeface="Gulim" panose="020B0600000101010101" pitchFamily="34" charset="-127"/>
              </a:rPr>
              <a:t>The Technology + Innovation Lab will act as the delivery engine for agile teams to design, build, and deploy products with the biggest impact for our business</a:t>
            </a:r>
            <a:r>
              <a:rPr lang="en-CA" sz="1400" dirty="0">
                <a:solidFill>
                  <a:srgbClr val="000000"/>
                </a:solidFill>
                <a:ea typeface="Gulim" panose="020B0600000101010101" pitchFamily="34" charset="-127"/>
              </a:rPr>
              <a:t> (for example LP terminal optimization, </a:t>
            </a:r>
            <a:r>
              <a:rPr lang="en-CA" sz="1400" dirty="0" err="1">
                <a:solidFill>
                  <a:srgbClr val="000000"/>
                </a:solidFill>
                <a:ea typeface="Gulim" panose="020B0600000101010101" pitchFamily="34" charset="-127"/>
              </a:rPr>
              <a:t>GTM</a:t>
            </a:r>
            <a:r>
              <a:rPr lang="en-CA" sz="1400" dirty="0">
                <a:solidFill>
                  <a:srgbClr val="000000"/>
                </a:solidFill>
                <a:ea typeface="Gulim" panose="020B0600000101010101" pitchFamily="34" charset="-127"/>
              </a:rPr>
              <a:t> integrity, LP </a:t>
            </a:r>
            <a:r>
              <a:rPr lang="en-CA" sz="1400" dirty="0" err="1">
                <a:solidFill>
                  <a:srgbClr val="000000"/>
                </a:solidFill>
                <a:ea typeface="Gulim" panose="020B0600000101010101" pitchFamily="34" charset="-127"/>
              </a:rPr>
              <a:t>PCV</a:t>
            </a:r>
            <a:r>
              <a:rPr lang="en-CA" sz="1400" dirty="0">
                <a:solidFill>
                  <a:srgbClr val="000000"/>
                </a:solidFill>
                <a:ea typeface="Gulim" panose="020B0600000101010101" pitchFamily="34" charset="-127"/>
              </a:rPr>
              <a:t>…)</a:t>
            </a:r>
            <a:r>
              <a:rPr lang="en-US" sz="1400" dirty="0">
                <a:solidFill>
                  <a:srgbClr val="000000"/>
                </a:solidFill>
                <a:ea typeface="Gulim" panose="020B0600000101010101" pitchFamily="34" charset="-127"/>
              </a:rPr>
              <a:t> </a:t>
            </a:r>
          </a:p>
          <a:p>
            <a:pPr marL="197607" lvl="1" indent="-195987" defTabSz="913526">
              <a:spcBef>
                <a:spcPct val="25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000000"/>
                </a:solidFill>
                <a:ea typeface="Gulim" panose="020B0600000101010101" pitchFamily="34" charset="-127"/>
              </a:rPr>
              <a:t>By designing products using design thinking principles, the Lab will prioritize user focused projects that will deliver impact within 3-6 months </a:t>
            </a:r>
          </a:p>
        </p:txBody>
      </p:sp>
      <p:grpSp>
        <p:nvGrpSpPr>
          <p:cNvPr id="6" name="sticker">
            <a:extLst>
              <a:ext uri="{FF2B5EF4-FFF2-40B4-BE49-F238E27FC236}">
                <a16:creationId xmlns:a16="http://schemas.microsoft.com/office/drawing/2014/main" id="{32BC184D-46BB-4F07-893B-780EE779F243}"/>
              </a:ext>
            </a:extLst>
          </p:cNvPr>
          <p:cNvGrpSpPr/>
          <p:nvPr/>
        </p:nvGrpSpPr>
        <p:grpSpPr>
          <a:xfrm>
            <a:off x="9600519" y="1540371"/>
            <a:ext cx="2172390" cy="212366"/>
            <a:chOff x="9600519" y="1540371"/>
            <a:chExt cx="2172390" cy="212366"/>
          </a:xfrm>
        </p:grpSpPr>
        <p:sp>
          <p:nvSpPr>
            <p:cNvPr id="20" name="StickerRectangle">
              <a:extLst>
                <a:ext uri="{FF2B5EF4-FFF2-40B4-BE49-F238E27FC236}">
                  <a16:creationId xmlns:a16="http://schemas.microsoft.com/office/drawing/2014/main" id="{70D337E1-D28D-476C-9941-956ED80653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00519" y="1540371"/>
              <a:ext cx="2172390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>
                  <a:solidFill>
                    <a:srgbClr val="808080"/>
                  </a:solidFill>
                  <a:latin typeface="+mn-lt"/>
                </a:rPr>
                <a:t>FOUNDATIONAL ASPIRATION</a:t>
              </a:r>
              <a:endParaRPr lang="en-US" sz="12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21" name="AutoShape 31">
              <a:extLst>
                <a:ext uri="{FF2B5EF4-FFF2-40B4-BE49-F238E27FC236}">
                  <a16:creationId xmlns:a16="http://schemas.microsoft.com/office/drawing/2014/main" id="{61B25BC2-8F7F-456B-A9A2-C03AC7FFA0A4}"/>
                </a:ext>
              </a:extLst>
            </p:cNvPr>
            <p:cNvCxnSpPr>
              <a:cxnSpLocks noChangeShapeType="1"/>
              <a:stCxn id="20" idx="2"/>
              <a:endCxn id="20" idx="4"/>
            </p:cNvCxnSpPr>
            <p:nvPr/>
          </p:nvCxnSpPr>
          <p:spPr bwMode="auto">
            <a:xfrm>
              <a:off x="9600519" y="1540371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>
              <a:extLst>
                <a:ext uri="{FF2B5EF4-FFF2-40B4-BE49-F238E27FC236}">
                  <a16:creationId xmlns:a16="http://schemas.microsoft.com/office/drawing/2014/main" id="{3E821F3F-661E-4372-9FBC-72176FA7FA0B}"/>
                </a:ext>
              </a:extLst>
            </p:cNvPr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9600519" y="1752737"/>
              <a:ext cx="217239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513487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1F31D56-1705-4B57-B4BD-EB58A88FDE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3484073"/>
              </p:ext>
            </p:ext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7958" name="think-cell Slide" r:id="rId8" imgW="526" imgH="526" progId="TCLayout.ActiveDocument.1">
                  <p:embed/>
                </p:oleObj>
              </mc:Choice>
              <mc:Fallback>
                <p:oleObj name="think-cell Slide" r:id="rId8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1F31D56-1705-4B57-B4BD-EB58A88FDE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9A95257-D78D-4220-8B58-7182B4DB1CF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95" name="Rectangle 30">
            <a:extLst>
              <a:ext uri="{FF2B5EF4-FFF2-40B4-BE49-F238E27FC236}">
                <a16:creationId xmlns:a16="http://schemas.microsoft.com/office/drawing/2014/main" id="{D6AEC559-7A1F-4E25-8377-FE19BCFC8A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454221"/>
            <a:ext cx="12191999" cy="5409649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C6AD7348-6484-4EFE-AB53-5E4D19B8A0E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43302" y="458351"/>
            <a:ext cx="10162234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This aspiration led to a set of guiding principles that enable the Lab to achieve its impact and culture goals</a:t>
            </a:r>
          </a:p>
        </p:txBody>
      </p:sp>
      <p:sp>
        <p:nvSpPr>
          <p:cNvPr id="1293" name="Rectangle 31">
            <a:extLst>
              <a:ext uri="{FF2B5EF4-FFF2-40B4-BE49-F238E27FC236}">
                <a16:creationId xmlns:a16="http://schemas.microsoft.com/office/drawing/2014/main" id="{D402FBC3-C5EC-4590-AE15-E9669085FE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454221"/>
            <a:ext cx="12191999" cy="4356521"/>
          </a:xfrm>
          <a:prstGeom prst="rect">
            <a:avLst/>
          </a:prstGeom>
          <a:solidFill>
            <a:srgbClr val="80CA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294" name="Freeform 32">
            <a:extLst>
              <a:ext uri="{FF2B5EF4-FFF2-40B4-BE49-F238E27FC236}">
                <a16:creationId xmlns:a16="http://schemas.microsoft.com/office/drawing/2014/main" id="{567DEC04-DCC6-4E5F-9267-6B7039012FA9}"/>
              </a:ext>
            </a:extLst>
          </p:cNvPr>
          <p:cNvSpPr>
            <a:spLocks/>
          </p:cNvSpPr>
          <p:nvPr/>
        </p:nvSpPr>
        <p:spPr bwMode="auto">
          <a:xfrm>
            <a:off x="7407215" y="2918082"/>
            <a:ext cx="3555092" cy="1982286"/>
          </a:xfrm>
          <a:custGeom>
            <a:avLst/>
            <a:gdLst>
              <a:gd name="T0" fmla="*/ 2 w 2839"/>
              <a:gd name="T1" fmla="*/ 1583 h 1583"/>
              <a:gd name="T2" fmla="*/ 0 w 2839"/>
              <a:gd name="T3" fmla="*/ 1583 h 1583"/>
              <a:gd name="T4" fmla="*/ 0 w 2839"/>
              <a:gd name="T5" fmla="*/ 325 h 1583"/>
              <a:gd name="T6" fmla="*/ 2837 w 2839"/>
              <a:gd name="T7" fmla="*/ 325 h 1583"/>
              <a:gd name="T8" fmla="*/ 2837 w 2839"/>
              <a:gd name="T9" fmla="*/ 0 h 1583"/>
              <a:gd name="T10" fmla="*/ 2839 w 2839"/>
              <a:gd name="T11" fmla="*/ 0 h 1583"/>
              <a:gd name="T12" fmla="*/ 2839 w 2839"/>
              <a:gd name="T13" fmla="*/ 326 h 1583"/>
              <a:gd name="T14" fmla="*/ 2 w 2839"/>
              <a:gd name="T15" fmla="*/ 326 h 1583"/>
              <a:gd name="T16" fmla="*/ 2 w 2839"/>
              <a:gd name="T17" fmla="*/ 1583 h 1583"/>
              <a:gd name="T18" fmla="*/ 2 w 2839"/>
              <a:gd name="T19" fmla="*/ 1583 h 15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39" h="1583">
                <a:moveTo>
                  <a:pt x="2" y="1583"/>
                </a:moveTo>
                <a:lnTo>
                  <a:pt x="0" y="1583"/>
                </a:lnTo>
                <a:lnTo>
                  <a:pt x="0" y="325"/>
                </a:lnTo>
                <a:lnTo>
                  <a:pt x="2837" y="325"/>
                </a:lnTo>
                <a:lnTo>
                  <a:pt x="2837" y="0"/>
                </a:lnTo>
                <a:lnTo>
                  <a:pt x="2839" y="0"/>
                </a:lnTo>
                <a:lnTo>
                  <a:pt x="2839" y="326"/>
                </a:lnTo>
                <a:lnTo>
                  <a:pt x="2" y="326"/>
                </a:lnTo>
                <a:lnTo>
                  <a:pt x="2" y="1583"/>
                </a:lnTo>
                <a:lnTo>
                  <a:pt x="2" y="158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5" name="Freeform 33">
            <a:extLst>
              <a:ext uri="{FF2B5EF4-FFF2-40B4-BE49-F238E27FC236}">
                <a16:creationId xmlns:a16="http://schemas.microsoft.com/office/drawing/2014/main" id="{7725CE59-B32E-4D11-92F9-10218CE10B94}"/>
              </a:ext>
            </a:extLst>
          </p:cNvPr>
          <p:cNvSpPr>
            <a:spLocks/>
          </p:cNvSpPr>
          <p:nvPr/>
        </p:nvSpPr>
        <p:spPr bwMode="auto">
          <a:xfrm>
            <a:off x="10961054" y="3109674"/>
            <a:ext cx="1230946" cy="2504"/>
          </a:xfrm>
          <a:custGeom>
            <a:avLst/>
            <a:gdLst>
              <a:gd name="T0" fmla="*/ 983 w 983"/>
              <a:gd name="T1" fmla="*/ 2 h 2"/>
              <a:gd name="T2" fmla="*/ 0 w 983"/>
              <a:gd name="T3" fmla="*/ 2 h 2"/>
              <a:gd name="T4" fmla="*/ 0 w 983"/>
              <a:gd name="T5" fmla="*/ 0 h 2"/>
              <a:gd name="T6" fmla="*/ 983 w 983"/>
              <a:gd name="T7" fmla="*/ 0 h 2"/>
              <a:gd name="T8" fmla="*/ 983 w 983"/>
              <a:gd name="T9" fmla="*/ 2 h 2"/>
              <a:gd name="T10" fmla="*/ 983 w 983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83" h="2">
                <a:moveTo>
                  <a:pt x="983" y="2"/>
                </a:moveTo>
                <a:lnTo>
                  <a:pt x="0" y="2"/>
                </a:lnTo>
                <a:lnTo>
                  <a:pt x="0" y="0"/>
                </a:lnTo>
                <a:lnTo>
                  <a:pt x="983" y="0"/>
                </a:lnTo>
                <a:lnTo>
                  <a:pt x="983" y="2"/>
                </a:lnTo>
                <a:lnTo>
                  <a:pt x="983" y="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6" name="Freeform 34">
            <a:extLst>
              <a:ext uri="{FF2B5EF4-FFF2-40B4-BE49-F238E27FC236}">
                <a16:creationId xmlns:a16="http://schemas.microsoft.com/office/drawing/2014/main" id="{B16CBB8B-6946-4920-8D25-173B809DC627}"/>
              </a:ext>
            </a:extLst>
          </p:cNvPr>
          <p:cNvSpPr>
            <a:spLocks/>
          </p:cNvSpPr>
          <p:nvPr/>
        </p:nvSpPr>
        <p:spPr bwMode="auto">
          <a:xfrm>
            <a:off x="10605420" y="1454221"/>
            <a:ext cx="356887" cy="894095"/>
          </a:xfrm>
          <a:custGeom>
            <a:avLst/>
            <a:gdLst>
              <a:gd name="T0" fmla="*/ 285 w 285"/>
              <a:gd name="T1" fmla="*/ 714 h 714"/>
              <a:gd name="T2" fmla="*/ 283 w 285"/>
              <a:gd name="T3" fmla="*/ 714 h 714"/>
              <a:gd name="T4" fmla="*/ 283 w 285"/>
              <a:gd name="T5" fmla="*/ 544 h 714"/>
              <a:gd name="T6" fmla="*/ 0 w 285"/>
              <a:gd name="T7" fmla="*/ 544 h 714"/>
              <a:gd name="T8" fmla="*/ 0 w 285"/>
              <a:gd name="T9" fmla="*/ 0 h 714"/>
              <a:gd name="T10" fmla="*/ 2 w 285"/>
              <a:gd name="T11" fmla="*/ 0 h 714"/>
              <a:gd name="T12" fmla="*/ 2 w 285"/>
              <a:gd name="T13" fmla="*/ 542 h 714"/>
              <a:gd name="T14" fmla="*/ 285 w 285"/>
              <a:gd name="T15" fmla="*/ 542 h 714"/>
              <a:gd name="T16" fmla="*/ 285 w 285"/>
              <a:gd name="T17" fmla="*/ 714 h 714"/>
              <a:gd name="T18" fmla="*/ 285 w 285"/>
              <a:gd name="T19" fmla="*/ 714 h 7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5" h="714">
                <a:moveTo>
                  <a:pt x="285" y="714"/>
                </a:moveTo>
                <a:lnTo>
                  <a:pt x="283" y="714"/>
                </a:lnTo>
                <a:lnTo>
                  <a:pt x="283" y="544"/>
                </a:lnTo>
                <a:lnTo>
                  <a:pt x="0" y="544"/>
                </a:lnTo>
                <a:lnTo>
                  <a:pt x="0" y="0"/>
                </a:lnTo>
                <a:lnTo>
                  <a:pt x="2" y="0"/>
                </a:lnTo>
                <a:lnTo>
                  <a:pt x="2" y="542"/>
                </a:lnTo>
                <a:lnTo>
                  <a:pt x="285" y="542"/>
                </a:lnTo>
                <a:lnTo>
                  <a:pt x="285" y="714"/>
                </a:lnTo>
                <a:lnTo>
                  <a:pt x="285" y="71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7" name="Freeform 35">
            <a:extLst>
              <a:ext uri="{FF2B5EF4-FFF2-40B4-BE49-F238E27FC236}">
                <a16:creationId xmlns:a16="http://schemas.microsoft.com/office/drawing/2014/main" id="{F5C55F56-0A05-4343-A765-D1D2C024FB59}"/>
              </a:ext>
            </a:extLst>
          </p:cNvPr>
          <p:cNvSpPr>
            <a:spLocks/>
          </p:cNvSpPr>
          <p:nvPr/>
        </p:nvSpPr>
        <p:spPr bwMode="auto">
          <a:xfrm>
            <a:off x="7693976" y="2918082"/>
            <a:ext cx="2504" cy="406976"/>
          </a:xfrm>
          <a:custGeom>
            <a:avLst/>
            <a:gdLst>
              <a:gd name="T0" fmla="*/ 2 w 2"/>
              <a:gd name="T1" fmla="*/ 325 h 325"/>
              <a:gd name="T2" fmla="*/ 0 w 2"/>
              <a:gd name="T3" fmla="*/ 325 h 325"/>
              <a:gd name="T4" fmla="*/ 0 w 2"/>
              <a:gd name="T5" fmla="*/ 0 h 325"/>
              <a:gd name="T6" fmla="*/ 2 w 2"/>
              <a:gd name="T7" fmla="*/ 0 h 325"/>
              <a:gd name="T8" fmla="*/ 2 w 2"/>
              <a:gd name="T9" fmla="*/ 325 h 325"/>
              <a:gd name="T10" fmla="*/ 2 w 2"/>
              <a:gd name="T11" fmla="*/ 325 h 3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325">
                <a:moveTo>
                  <a:pt x="2" y="325"/>
                </a:moveTo>
                <a:lnTo>
                  <a:pt x="0" y="325"/>
                </a:lnTo>
                <a:lnTo>
                  <a:pt x="0" y="0"/>
                </a:lnTo>
                <a:lnTo>
                  <a:pt x="2" y="0"/>
                </a:lnTo>
                <a:lnTo>
                  <a:pt x="2" y="325"/>
                </a:lnTo>
                <a:lnTo>
                  <a:pt x="2" y="3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8" name="Freeform 36">
            <a:extLst>
              <a:ext uri="{FF2B5EF4-FFF2-40B4-BE49-F238E27FC236}">
                <a16:creationId xmlns:a16="http://schemas.microsoft.com/office/drawing/2014/main" id="{455427F3-23F8-4AF0-80AC-42FFC57234BD}"/>
              </a:ext>
            </a:extLst>
          </p:cNvPr>
          <p:cNvSpPr>
            <a:spLocks/>
          </p:cNvSpPr>
          <p:nvPr/>
        </p:nvSpPr>
        <p:spPr bwMode="auto">
          <a:xfrm>
            <a:off x="7693976" y="1454221"/>
            <a:ext cx="2504" cy="894095"/>
          </a:xfrm>
          <a:custGeom>
            <a:avLst/>
            <a:gdLst>
              <a:gd name="T0" fmla="*/ 2 w 2"/>
              <a:gd name="T1" fmla="*/ 714 h 714"/>
              <a:gd name="T2" fmla="*/ 0 w 2"/>
              <a:gd name="T3" fmla="*/ 714 h 714"/>
              <a:gd name="T4" fmla="*/ 0 w 2"/>
              <a:gd name="T5" fmla="*/ 0 h 714"/>
              <a:gd name="T6" fmla="*/ 2 w 2"/>
              <a:gd name="T7" fmla="*/ 0 h 714"/>
              <a:gd name="T8" fmla="*/ 2 w 2"/>
              <a:gd name="T9" fmla="*/ 714 h 714"/>
              <a:gd name="T10" fmla="*/ 2 w 2"/>
              <a:gd name="T11" fmla="*/ 714 h 7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714">
                <a:moveTo>
                  <a:pt x="2" y="714"/>
                </a:moveTo>
                <a:lnTo>
                  <a:pt x="0" y="714"/>
                </a:lnTo>
                <a:lnTo>
                  <a:pt x="0" y="0"/>
                </a:lnTo>
                <a:lnTo>
                  <a:pt x="2" y="0"/>
                </a:lnTo>
                <a:lnTo>
                  <a:pt x="2" y="714"/>
                </a:lnTo>
                <a:lnTo>
                  <a:pt x="2" y="71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9" name="Freeform 37">
            <a:extLst>
              <a:ext uri="{FF2B5EF4-FFF2-40B4-BE49-F238E27FC236}">
                <a16:creationId xmlns:a16="http://schemas.microsoft.com/office/drawing/2014/main" id="{3D65E38A-FAE9-4A03-8887-179690491E50}"/>
              </a:ext>
            </a:extLst>
          </p:cNvPr>
          <p:cNvSpPr>
            <a:spLocks/>
          </p:cNvSpPr>
          <p:nvPr/>
        </p:nvSpPr>
        <p:spPr bwMode="auto">
          <a:xfrm>
            <a:off x="10959801" y="3325058"/>
            <a:ext cx="2504" cy="1575310"/>
          </a:xfrm>
          <a:custGeom>
            <a:avLst/>
            <a:gdLst>
              <a:gd name="T0" fmla="*/ 2 w 2"/>
              <a:gd name="T1" fmla="*/ 1258 h 1258"/>
              <a:gd name="T2" fmla="*/ 0 w 2"/>
              <a:gd name="T3" fmla="*/ 1258 h 1258"/>
              <a:gd name="T4" fmla="*/ 0 w 2"/>
              <a:gd name="T5" fmla="*/ 0 h 1258"/>
              <a:gd name="T6" fmla="*/ 2 w 2"/>
              <a:gd name="T7" fmla="*/ 0 h 1258"/>
              <a:gd name="T8" fmla="*/ 2 w 2"/>
              <a:gd name="T9" fmla="*/ 1258 h 1258"/>
              <a:gd name="T10" fmla="*/ 2 w 2"/>
              <a:gd name="T11" fmla="*/ 1258 h 1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258">
                <a:moveTo>
                  <a:pt x="2" y="1258"/>
                </a:moveTo>
                <a:lnTo>
                  <a:pt x="0" y="1258"/>
                </a:lnTo>
                <a:lnTo>
                  <a:pt x="0" y="0"/>
                </a:lnTo>
                <a:lnTo>
                  <a:pt x="2" y="0"/>
                </a:lnTo>
                <a:lnTo>
                  <a:pt x="2" y="1258"/>
                </a:lnTo>
                <a:lnTo>
                  <a:pt x="2" y="125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0" name="Freeform 38">
            <a:extLst>
              <a:ext uri="{FF2B5EF4-FFF2-40B4-BE49-F238E27FC236}">
                <a16:creationId xmlns:a16="http://schemas.microsoft.com/office/drawing/2014/main" id="{70C772FD-7A6F-4E39-A8E5-C64F8BC36A21}"/>
              </a:ext>
            </a:extLst>
          </p:cNvPr>
          <p:cNvSpPr>
            <a:spLocks/>
          </p:cNvSpPr>
          <p:nvPr/>
        </p:nvSpPr>
        <p:spPr bwMode="auto">
          <a:xfrm>
            <a:off x="11860158" y="2648852"/>
            <a:ext cx="331842" cy="1253"/>
          </a:xfrm>
          <a:custGeom>
            <a:avLst/>
            <a:gdLst>
              <a:gd name="T0" fmla="*/ 265 w 265"/>
              <a:gd name="T1" fmla="*/ 1 h 1"/>
              <a:gd name="T2" fmla="*/ 0 w 265"/>
              <a:gd name="T3" fmla="*/ 1 h 1"/>
              <a:gd name="T4" fmla="*/ 0 w 265"/>
              <a:gd name="T5" fmla="*/ 0 h 1"/>
              <a:gd name="T6" fmla="*/ 265 w 265"/>
              <a:gd name="T7" fmla="*/ 0 h 1"/>
              <a:gd name="T8" fmla="*/ 265 w 265"/>
              <a:gd name="T9" fmla="*/ 1 h 1"/>
              <a:gd name="T10" fmla="*/ 265 w 265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5" h="1">
                <a:moveTo>
                  <a:pt x="265" y="1"/>
                </a:moveTo>
                <a:lnTo>
                  <a:pt x="0" y="1"/>
                </a:lnTo>
                <a:lnTo>
                  <a:pt x="0" y="0"/>
                </a:lnTo>
                <a:lnTo>
                  <a:pt x="265" y="0"/>
                </a:lnTo>
                <a:lnTo>
                  <a:pt x="265" y="1"/>
                </a:lnTo>
                <a:lnTo>
                  <a:pt x="265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1" name="Freeform 39">
            <a:extLst>
              <a:ext uri="{FF2B5EF4-FFF2-40B4-BE49-F238E27FC236}">
                <a16:creationId xmlns:a16="http://schemas.microsoft.com/office/drawing/2014/main" id="{E97D7B74-E3A2-4F71-8DD0-11D57E1F844D}"/>
              </a:ext>
            </a:extLst>
          </p:cNvPr>
          <p:cNvSpPr>
            <a:spLocks/>
          </p:cNvSpPr>
          <p:nvPr/>
        </p:nvSpPr>
        <p:spPr bwMode="auto">
          <a:xfrm>
            <a:off x="0" y="6077468"/>
            <a:ext cx="12191999" cy="3757"/>
          </a:xfrm>
          <a:custGeom>
            <a:avLst/>
            <a:gdLst>
              <a:gd name="T0" fmla="*/ 4648 w 4648"/>
              <a:gd name="T1" fmla="*/ 3 h 3"/>
              <a:gd name="T2" fmla="*/ 0 w 4648"/>
              <a:gd name="T3" fmla="*/ 3 h 3"/>
              <a:gd name="T4" fmla="*/ 0 w 4648"/>
              <a:gd name="T5" fmla="*/ 0 h 3"/>
              <a:gd name="T6" fmla="*/ 4648 w 4648"/>
              <a:gd name="T7" fmla="*/ 0 h 3"/>
              <a:gd name="T8" fmla="*/ 4648 w 4648"/>
              <a:gd name="T9" fmla="*/ 3 h 3"/>
              <a:gd name="T10" fmla="*/ 4648 w 4648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648" h="3">
                <a:moveTo>
                  <a:pt x="4648" y="3"/>
                </a:moveTo>
                <a:lnTo>
                  <a:pt x="0" y="3"/>
                </a:lnTo>
                <a:lnTo>
                  <a:pt x="0" y="0"/>
                </a:lnTo>
                <a:lnTo>
                  <a:pt x="4648" y="0"/>
                </a:lnTo>
                <a:lnTo>
                  <a:pt x="4648" y="3"/>
                </a:lnTo>
                <a:lnTo>
                  <a:pt x="4648" y="3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2" name="Freeform 40">
            <a:extLst>
              <a:ext uri="{FF2B5EF4-FFF2-40B4-BE49-F238E27FC236}">
                <a16:creationId xmlns:a16="http://schemas.microsoft.com/office/drawing/2014/main" id="{B464B793-3234-406B-AAE9-5E712A69C43C}"/>
              </a:ext>
            </a:extLst>
          </p:cNvPr>
          <p:cNvSpPr>
            <a:spLocks/>
          </p:cNvSpPr>
          <p:nvPr/>
        </p:nvSpPr>
        <p:spPr bwMode="auto">
          <a:xfrm>
            <a:off x="0" y="6332923"/>
            <a:ext cx="12191999" cy="5009"/>
          </a:xfrm>
          <a:custGeom>
            <a:avLst/>
            <a:gdLst>
              <a:gd name="T0" fmla="*/ 4648 w 4648"/>
              <a:gd name="T1" fmla="*/ 4 h 4"/>
              <a:gd name="T2" fmla="*/ 0 w 4648"/>
              <a:gd name="T3" fmla="*/ 4 h 4"/>
              <a:gd name="T4" fmla="*/ 0 w 4648"/>
              <a:gd name="T5" fmla="*/ 0 h 4"/>
              <a:gd name="T6" fmla="*/ 4648 w 4648"/>
              <a:gd name="T7" fmla="*/ 0 h 4"/>
              <a:gd name="T8" fmla="*/ 4648 w 4648"/>
              <a:gd name="T9" fmla="*/ 4 h 4"/>
              <a:gd name="T10" fmla="*/ 4648 w 4648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648" h="4">
                <a:moveTo>
                  <a:pt x="4648" y="4"/>
                </a:moveTo>
                <a:lnTo>
                  <a:pt x="0" y="4"/>
                </a:lnTo>
                <a:lnTo>
                  <a:pt x="0" y="0"/>
                </a:lnTo>
                <a:lnTo>
                  <a:pt x="4648" y="0"/>
                </a:lnTo>
                <a:lnTo>
                  <a:pt x="4648" y="4"/>
                </a:lnTo>
                <a:lnTo>
                  <a:pt x="4648" y="4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3" name="Freeform 41">
            <a:extLst>
              <a:ext uri="{FF2B5EF4-FFF2-40B4-BE49-F238E27FC236}">
                <a16:creationId xmlns:a16="http://schemas.microsoft.com/office/drawing/2014/main" id="{8D595270-868B-4952-8D65-8D753DE814F7}"/>
              </a:ext>
            </a:extLst>
          </p:cNvPr>
          <p:cNvSpPr>
            <a:spLocks/>
          </p:cNvSpPr>
          <p:nvPr/>
        </p:nvSpPr>
        <p:spPr bwMode="auto">
          <a:xfrm>
            <a:off x="0" y="6589631"/>
            <a:ext cx="12191999" cy="3757"/>
          </a:xfrm>
          <a:custGeom>
            <a:avLst/>
            <a:gdLst>
              <a:gd name="T0" fmla="*/ 4648 w 4648"/>
              <a:gd name="T1" fmla="*/ 3 h 3"/>
              <a:gd name="T2" fmla="*/ 0 w 4648"/>
              <a:gd name="T3" fmla="*/ 3 h 3"/>
              <a:gd name="T4" fmla="*/ 0 w 4648"/>
              <a:gd name="T5" fmla="*/ 0 h 3"/>
              <a:gd name="T6" fmla="*/ 4648 w 4648"/>
              <a:gd name="T7" fmla="*/ 0 h 3"/>
              <a:gd name="T8" fmla="*/ 4648 w 4648"/>
              <a:gd name="T9" fmla="*/ 3 h 3"/>
              <a:gd name="T10" fmla="*/ 4648 w 4648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648" h="3">
                <a:moveTo>
                  <a:pt x="4648" y="3"/>
                </a:moveTo>
                <a:lnTo>
                  <a:pt x="0" y="3"/>
                </a:lnTo>
                <a:lnTo>
                  <a:pt x="0" y="0"/>
                </a:lnTo>
                <a:lnTo>
                  <a:pt x="4648" y="0"/>
                </a:lnTo>
                <a:lnTo>
                  <a:pt x="4648" y="3"/>
                </a:lnTo>
                <a:lnTo>
                  <a:pt x="4648" y="3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8" name="Freeform 56">
            <a:extLst>
              <a:ext uri="{FF2B5EF4-FFF2-40B4-BE49-F238E27FC236}">
                <a16:creationId xmlns:a16="http://schemas.microsoft.com/office/drawing/2014/main" id="{6DE4FBB3-F219-4F1F-845C-0912F942CAD4}"/>
              </a:ext>
            </a:extLst>
          </p:cNvPr>
          <p:cNvSpPr>
            <a:spLocks/>
          </p:cNvSpPr>
          <p:nvPr/>
        </p:nvSpPr>
        <p:spPr bwMode="auto">
          <a:xfrm>
            <a:off x="10361234" y="5813247"/>
            <a:ext cx="3757" cy="1050624"/>
          </a:xfrm>
          <a:custGeom>
            <a:avLst/>
            <a:gdLst>
              <a:gd name="T0" fmla="*/ 3 w 3"/>
              <a:gd name="T1" fmla="*/ 839 h 839"/>
              <a:gd name="T2" fmla="*/ 0 w 3"/>
              <a:gd name="T3" fmla="*/ 839 h 839"/>
              <a:gd name="T4" fmla="*/ 0 w 3"/>
              <a:gd name="T5" fmla="*/ 0 h 839"/>
              <a:gd name="T6" fmla="*/ 3 w 3"/>
              <a:gd name="T7" fmla="*/ 0 h 839"/>
              <a:gd name="T8" fmla="*/ 3 w 3"/>
              <a:gd name="T9" fmla="*/ 839 h 839"/>
              <a:gd name="T10" fmla="*/ 3 w 3"/>
              <a:gd name="T11" fmla="*/ 839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839">
                <a:moveTo>
                  <a:pt x="3" y="839"/>
                </a:moveTo>
                <a:lnTo>
                  <a:pt x="0" y="839"/>
                </a:lnTo>
                <a:lnTo>
                  <a:pt x="0" y="0"/>
                </a:lnTo>
                <a:lnTo>
                  <a:pt x="3" y="0"/>
                </a:lnTo>
                <a:lnTo>
                  <a:pt x="3" y="839"/>
                </a:lnTo>
                <a:lnTo>
                  <a:pt x="3" y="839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4" name="Freeform 42">
            <a:extLst>
              <a:ext uri="{FF2B5EF4-FFF2-40B4-BE49-F238E27FC236}">
                <a16:creationId xmlns:a16="http://schemas.microsoft.com/office/drawing/2014/main" id="{038BED87-B0FA-424F-BD1E-C3D355B63B13}"/>
              </a:ext>
            </a:extLst>
          </p:cNvPr>
          <p:cNvSpPr>
            <a:spLocks/>
          </p:cNvSpPr>
          <p:nvPr/>
        </p:nvSpPr>
        <p:spPr bwMode="auto">
          <a:xfrm>
            <a:off x="419109" y="5813247"/>
            <a:ext cx="10711" cy="1050624"/>
          </a:xfrm>
          <a:custGeom>
            <a:avLst/>
            <a:gdLst>
              <a:gd name="T0" fmla="*/ 4 w 4"/>
              <a:gd name="T1" fmla="*/ 839 h 839"/>
              <a:gd name="T2" fmla="*/ 0 w 4"/>
              <a:gd name="T3" fmla="*/ 839 h 839"/>
              <a:gd name="T4" fmla="*/ 0 w 4"/>
              <a:gd name="T5" fmla="*/ 0 h 839"/>
              <a:gd name="T6" fmla="*/ 4 w 4"/>
              <a:gd name="T7" fmla="*/ 0 h 839"/>
              <a:gd name="T8" fmla="*/ 4 w 4"/>
              <a:gd name="T9" fmla="*/ 839 h 839"/>
              <a:gd name="T10" fmla="*/ 4 w 4"/>
              <a:gd name="T11" fmla="*/ 839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839">
                <a:moveTo>
                  <a:pt x="4" y="839"/>
                </a:moveTo>
                <a:lnTo>
                  <a:pt x="0" y="839"/>
                </a:lnTo>
                <a:lnTo>
                  <a:pt x="0" y="0"/>
                </a:lnTo>
                <a:lnTo>
                  <a:pt x="4" y="0"/>
                </a:lnTo>
                <a:lnTo>
                  <a:pt x="4" y="839"/>
                </a:lnTo>
                <a:lnTo>
                  <a:pt x="4" y="839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5" name="Freeform 43">
            <a:extLst>
              <a:ext uri="{FF2B5EF4-FFF2-40B4-BE49-F238E27FC236}">
                <a16:creationId xmlns:a16="http://schemas.microsoft.com/office/drawing/2014/main" id="{A660B7F6-0D20-4CA5-B6FE-24A94D05D747}"/>
              </a:ext>
            </a:extLst>
          </p:cNvPr>
          <p:cNvSpPr>
            <a:spLocks/>
          </p:cNvSpPr>
          <p:nvPr/>
        </p:nvSpPr>
        <p:spPr bwMode="auto">
          <a:xfrm>
            <a:off x="997486" y="5813247"/>
            <a:ext cx="10711" cy="1050624"/>
          </a:xfrm>
          <a:custGeom>
            <a:avLst/>
            <a:gdLst>
              <a:gd name="T0" fmla="*/ 4 w 4"/>
              <a:gd name="T1" fmla="*/ 839 h 839"/>
              <a:gd name="T2" fmla="*/ 0 w 4"/>
              <a:gd name="T3" fmla="*/ 839 h 839"/>
              <a:gd name="T4" fmla="*/ 0 w 4"/>
              <a:gd name="T5" fmla="*/ 0 h 839"/>
              <a:gd name="T6" fmla="*/ 4 w 4"/>
              <a:gd name="T7" fmla="*/ 0 h 839"/>
              <a:gd name="T8" fmla="*/ 4 w 4"/>
              <a:gd name="T9" fmla="*/ 839 h 839"/>
              <a:gd name="T10" fmla="*/ 4 w 4"/>
              <a:gd name="T11" fmla="*/ 839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839">
                <a:moveTo>
                  <a:pt x="4" y="839"/>
                </a:moveTo>
                <a:lnTo>
                  <a:pt x="0" y="839"/>
                </a:lnTo>
                <a:lnTo>
                  <a:pt x="0" y="0"/>
                </a:lnTo>
                <a:lnTo>
                  <a:pt x="4" y="0"/>
                </a:lnTo>
                <a:lnTo>
                  <a:pt x="4" y="839"/>
                </a:lnTo>
                <a:lnTo>
                  <a:pt x="4" y="839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6" name="Freeform 44">
            <a:extLst>
              <a:ext uri="{FF2B5EF4-FFF2-40B4-BE49-F238E27FC236}">
                <a16:creationId xmlns:a16="http://schemas.microsoft.com/office/drawing/2014/main" id="{949FE9FD-378F-4DA7-BF83-9D72E75C18C8}"/>
              </a:ext>
            </a:extLst>
          </p:cNvPr>
          <p:cNvSpPr>
            <a:spLocks/>
          </p:cNvSpPr>
          <p:nvPr/>
        </p:nvSpPr>
        <p:spPr bwMode="auto">
          <a:xfrm>
            <a:off x="1575861" y="5813247"/>
            <a:ext cx="8034" cy="1050624"/>
          </a:xfrm>
          <a:custGeom>
            <a:avLst/>
            <a:gdLst>
              <a:gd name="T0" fmla="*/ 3 w 3"/>
              <a:gd name="T1" fmla="*/ 839 h 839"/>
              <a:gd name="T2" fmla="*/ 0 w 3"/>
              <a:gd name="T3" fmla="*/ 839 h 839"/>
              <a:gd name="T4" fmla="*/ 0 w 3"/>
              <a:gd name="T5" fmla="*/ 0 h 839"/>
              <a:gd name="T6" fmla="*/ 3 w 3"/>
              <a:gd name="T7" fmla="*/ 0 h 839"/>
              <a:gd name="T8" fmla="*/ 3 w 3"/>
              <a:gd name="T9" fmla="*/ 839 h 839"/>
              <a:gd name="T10" fmla="*/ 3 w 3"/>
              <a:gd name="T11" fmla="*/ 839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839">
                <a:moveTo>
                  <a:pt x="3" y="839"/>
                </a:moveTo>
                <a:lnTo>
                  <a:pt x="0" y="839"/>
                </a:lnTo>
                <a:lnTo>
                  <a:pt x="0" y="0"/>
                </a:lnTo>
                <a:lnTo>
                  <a:pt x="3" y="0"/>
                </a:lnTo>
                <a:lnTo>
                  <a:pt x="3" y="839"/>
                </a:lnTo>
                <a:lnTo>
                  <a:pt x="3" y="839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7" name="Freeform 45">
            <a:extLst>
              <a:ext uri="{FF2B5EF4-FFF2-40B4-BE49-F238E27FC236}">
                <a16:creationId xmlns:a16="http://schemas.microsoft.com/office/drawing/2014/main" id="{836D9417-73FC-4793-8C4C-D88AED72E103}"/>
              </a:ext>
            </a:extLst>
          </p:cNvPr>
          <p:cNvSpPr>
            <a:spLocks/>
          </p:cNvSpPr>
          <p:nvPr/>
        </p:nvSpPr>
        <p:spPr bwMode="auto">
          <a:xfrm>
            <a:off x="2154239" y="5813247"/>
            <a:ext cx="8034" cy="1050624"/>
          </a:xfrm>
          <a:custGeom>
            <a:avLst/>
            <a:gdLst>
              <a:gd name="T0" fmla="*/ 3 w 3"/>
              <a:gd name="T1" fmla="*/ 839 h 839"/>
              <a:gd name="T2" fmla="*/ 0 w 3"/>
              <a:gd name="T3" fmla="*/ 839 h 839"/>
              <a:gd name="T4" fmla="*/ 0 w 3"/>
              <a:gd name="T5" fmla="*/ 0 h 839"/>
              <a:gd name="T6" fmla="*/ 3 w 3"/>
              <a:gd name="T7" fmla="*/ 0 h 839"/>
              <a:gd name="T8" fmla="*/ 3 w 3"/>
              <a:gd name="T9" fmla="*/ 839 h 839"/>
              <a:gd name="T10" fmla="*/ 3 w 3"/>
              <a:gd name="T11" fmla="*/ 839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839">
                <a:moveTo>
                  <a:pt x="3" y="839"/>
                </a:moveTo>
                <a:lnTo>
                  <a:pt x="0" y="839"/>
                </a:lnTo>
                <a:lnTo>
                  <a:pt x="0" y="0"/>
                </a:lnTo>
                <a:lnTo>
                  <a:pt x="3" y="0"/>
                </a:lnTo>
                <a:lnTo>
                  <a:pt x="3" y="839"/>
                </a:lnTo>
                <a:lnTo>
                  <a:pt x="3" y="839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8" name="Freeform 46">
            <a:extLst>
              <a:ext uri="{FF2B5EF4-FFF2-40B4-BE49-F238E27FC236}">
                <a16:creationId xmlns:a16="http://schemas.microsoft.com/office/drawing/2014/main" id="{0566249B-C9A3-4AF0-9D5F-092BCB102638}"/>
              </a:ext>
            </a:extLst>
          </p:cNvPr>
          <p:cNvSpPr>
            <a:spLocks/>
          </p:cNvSpPr>
          <p:nvPr/>
        </p:nvSpPr>
        <p:spPr bwMode="auto">
          <a:xfrm>
            <a:off x="2732614" y="5813247"/>
            <a:ext cx="8034" cy="1050624"/>
          </a:xfrm>
          <a:custGeom>
            <a:avLst/>
            <a:gdLst>
              <a:gd name="T0" fmla="*/ 3 w 3"/>
              <a:gd name="T1" fmla="*/ 839 h 839"/>
              <a:gd name="T2" fmla="*/ 0 w 3"/>
              <a:gd name="T3" fmla="*/ 839 h 839"/>
              <a:gd name="T4" fmla="*/ 0 w 3"/>
              <a:gd name="T5" fmla="*/ 0 h 839"/>
              <a:gd name="T6" fmla="*/ 3 w 3"/>
              <a:gd name="T7" fmla="*/ 0 h 839"/>
              <a:gd name="T8" fmla="*/ 3 w 3"/>
              <a:gd name="T9" fmla="*/ 839 h 839"/>
              <a:gd name="T10" fmla="*/ 3 w 3"/>
              <a:gd name="T11" fmla="*/ 839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839">
                <a:moveTo>
                  <a:pt x="3" y="839"/>
                </a:moveTo>
                <a:lnTo>
                  <a:pt x="0" y="839"/>
                </a:lnTo>
                <a:lnTo>
                  <a:pt x="0" y="0"/>
                </a:lnTo>
                <a:lnTo>
                  <a:pt x="3" y="0"/>
                </a:lnTo>
                <a:lnTo>
                  <a:pt x="3" y="839"/>
                </a:lnTo>
                <a:lnTo>
                  <a:pt x="3" y="839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9" name="Freeform 47">
            <a:extLst>
              <a:ext uri="{FF2B5EF4-FFF2-40B4-BE49-F238E27FC236}">
                <a16:creationId xmlns:a16="http://schemas.microsoft.com/office/drawing/2014/main" id="{9F7D475E-9FDB-4B23-9C50-A047F26C36DF}"/>
              </a:ext>
            </a:extLst>
          </p:cNvPr>
          <p:cNvSpPr>
            <a:spLocks/>
          </p:cNvSpPr>
          <p:nvPr/>
        </p:nvSpPr>
        <p:spPr bwMode="auto">
          <a:xfrm>
            <a:off x="3308314" y="5813247"/>
            <a:ext cx="10711" cy="1050624"/>
          </a:xfrm>
          <a:custGeom>
            <a:avLst/>
            <a:gdLst>
              <a:gd name="T0" fmla="*/ 4 w 4"/>
              <a:gd name="T1" fmla="*/ 839 h 839"/>
              <a:gd name="T2" fmla="*/ 0 w 4"/>
              <a:gd name="T3" fmla="*/ 839 h 839"/>
              <a:gd name="T4" fmla="*/ 0 w 4"/>
              <a:gd name="T5" fmla="*/ 0 h 839"/>
              <a:gd name="T6" fmla="*/ 4 w 4"/>
              <a:gd name="T7" fmla="*/ 0 h 839"/>
              <a:gd name="T8" fmla="*/ 4 w 4"/>
              <a:gd name="T9" fmla="*/ 839 h 839"/>
              <a:gd name="T10" fmla="*/ 4 w 4"/>
              <a:gd name="T11" fmla="*/ 839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839">
                <a:moveTo>
                  <a:pt x="4" y="839"/>
                </a:moveTo>
                <a:lnTo>
                  <a:pt x="0" y="839"/>
                </a:lnTo>
                <a:lnTo>
                  <a:pt x="0" y="0"/>
                </a:lnTo>
                <a:lnTo>
                  <a:pt x="4" y="0"/>
                </a:lnTo>
                <a:lnTo>
                  <a:pt x="4" y="839"/>
                </a:lnTo>
                <a:lnTo>
                  <a:pt x="4" y="839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0" name="Freeform 48">
            <a:extLst>
              <a:ext uri="{FF2B5EF4-FFF2-40B4-BE49-F238E27FC236}">
                <a16:creationId xmlns:a16="http://schemas.microsoft.com/office/drawing/2014/main" id="{9BE7092E-17BD-4303-B28D-49697CF92E5F}"/>
              </a:ext>
            </a:extLst>
          </p:cNvPr>
          <p:cNvSpPr>
            <a:spLocks/>
          </p:cNvSpPr>
          <p:nvPr/>
        </p:nvSpPr>
        <p:spPr bwMode="auto">
          <a:xfrm>
            <a:off x="3886689" y="5813247"/>
            <a:ext cx="10711" cy="1050624"/>
          </a:xfrm>
          <a:custGeom>
            <a:avLst/>
            <a:gdLst>
              <a:gd name="T0" fmla="*/ 4 w 4"/>
              <a:gd name="T1" fmla="*/ 839 h 839"/>
              <a:gd name="T2" fmla="*/ 0 w 4"/>
              <a:gd name="T3" fmla="*/ 839 h 839"/>
              <a:gd name="T4" fmla="*/ 0 w 4"/>
              <a:gd name="T5" fmla="*/ 0 h 839"/>
              <a:gd name="T6" fmla="*/ 4 w 4"/>
              <a:gd name="T7" fmla="*/ 0 h 839"/>
              <a:gd name="T8" fmla="*/ 4 w 4"/>
              <a:gd name="T9" fmla="*/ 839 h 839"/>
              <a:gd name="T10" fmla="*/ 4 w 4"/>
              <a:gd name="T11" fmla="*/ 839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839">
                <a:moveTo>
                  <a:pt x="4" y="839"/>
                </a:moveTo>
                <a:lnTo>
                  <a:pt x="0" y="839"/>
                </a:lnTo>
                <a:lnTo>
                  <a:pt x="0" y="0"/>
                </a:lnTo>
                <a:lnTo>
                  <a:pt x="4" y="0"/>
                </a:lnTo>
                <a:lnTo>
                  <a:pt x="4" y="839"/>
                </a:lnTo>
                <a:lnTo>
                  <a:pt x="4" y="839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1" name="Freeform 49">
            <a:extLst>
              <a:ext uri="{FF2B5EF4-FFF2-40B4-BE49-F238E27FC236}">
                <a16:creationId xmlns:a16="http://schemas.microsoft.com/office/drawing/2014/main" id="{4D3C8AAC-1E2D-4070-B831-BE3903B3B561}"/>
              </a:ext>
            </a:extLst>
          </p:cNvPr>
          <p:cNvSpPr>
            <a:spLocks/>
          </p:cNvSpPr>
          <p:nvPr/>
        </p:nvSpPr>
        <p:spPr bwMode="auto">
          <a:xfrm>
            <a:off x="4465066" y="5813247"/>
            <a:ext cx="8034" cy="1050624"/>
          </a:xfrm>
          <a:custGeom>
            <a:avLst/>
            <a:gdLst>
              <a:gd name="T0" fmla="*/ 3 w 3"/>
              <a:gd name="T1" fmla="*/ 839 h 839"/>
              <a:gd name="T2" fmla="*/ 0 w 3"/>
              <a:gd name="T3" fmla="*/ 839 h 839"/>
              <a:gd name="T4" fmla="*/ 0 w 3"/>
              <a:gd name="T5" fmla="*/ 0 h 839"/>
              <a:gd name="T6" fmla="*/ 3 w 3"/>
              <a:gd name="T7" fmla="*/ 0 h 839"/>
              <a:gd name="T8" fmla="*/ 3 w 3"/>
              <a:gd name="T9" fmla="*/ 839 h 839"/>
              <a:gd name="T10" fmla="*/ 3 w 3"/>
              <a:gd name="T11" fmla="*/ 839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839">
                <a:moveTo>
                  <a:pt x="3" y="839"/>
                </a:moveTo>
                <a:lnTo>
                  <a:pt x="0" y="839"/>
                </a:lnTo>
                <a:lnTo>
                  <a:pt x="0" y="0"/>
                </a:lnTo>
                <a:lnTo>
                  <a:pt x="3" y="0"/>
                </a:lnTo>
                <a:lnTo>
                  <a:pt x="3" y="839"/>
                </a:lnTo>
                <a:lnTo>
                  <a:pt x="3" y="839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2" name="Freeform 50">
            <a:extLst>
              <a:ext uri="{FF2B5EF4-FFF2-40B4-BE49-F238E27FC236}">
                <a16:creationId xmlns:a16="http://schemas.microsoft.com/office/drawing/2014/main" id="{72E0C10A-B4CC-45F7-9030-9C778E08CEA0}"/>
              </a:ext>
            </a:extLst>
          </p:cNvPr>
          <p:cNvSpPr>
            <a:spLocks/>
          </p:cNvSpPr>
          <p:nvPr/>
        </p:nvSpPr>
        <p:spPr bwMode="auto">
          <a:xfrm>
            <a:off x="5043441" y="5813247"/>
            <a:ext cx="8034" cy="1050624"/>
          </a:xfrm>
          <a:custGeom>
            <a:avLst/>
            <a:gdLst>
              <a:gd name="T0" fmla="*/ 3 w 3"/>
              <a:gd name="T1" fmla="*/ 839 h 839"/>
              <a:gd name="T2" fmla="*/ 0 w 3"/>
              <a:gd name="T3" fmla="*/ 839 h 839"/>
              <a:gd name="T4" fmla="*/ 0 w 3"/>
              <a:gd name="T5" fmla="*/ 0 h 839"/>
              <a:gd name="T6" fmla="*/ 3 w 3"/>
              <a:gd name="T7" fmla="*/ 0 h 839"/>
              <a:gd name="T8" fmla="*/ 3 w 3"/>
              <a:gd name="T9" fmla="*/ 839 h 839"/>
              <a:gd name="T10" fmla="*/ 3 w 3"/>
              <a:gd name="T11" fmla="*/ 839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839">
                <a:moveTo>
                  <a:pt x="3" y="839"/>
                </a:moveTo>
                <a:lnTo>
                  <a:pt x="0" y="839"/>
                </a:lnTo>
                <a:lnTo>
                  <a:pt x="0" y="0"/>
                </a:lnTo>
                <a:lnTo>
                  <a:pt x="3" y="0"/>
                </a:lnTo>
                <a:lnTo>
                  <a:pt x="3" y="839"/>
                </a:lnTo>
                <a:lnTo>
                  <a:pt x="3" y="839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3" name="Freeform 51">
            <a:extLst>
              <a:ext uri="{FF2B5EF4-FFF2-40B4-BE49-F238E27FC236}">
                <a16:creationId xmlns:a16="http://schemas.microsoft.com/office/drawing/2014/main" id="{9B74D3B4-012A-442F-9AE8-8FBA2228E496}"/>
              </a:ext>
            </a:extLst>
          </p:cNvPr>
          <p:cNvSpPr>
            <a:spLocks/>
          </p:cNvSpPr>
          <p:nvPr/>
        </p:nvSpPr>
        <p:spPr bwMode="auto">
          <a:xfrm>
            <a:off x="5621819" y="5813247"/>
            <a:ext cx="8034" cy="1050624"/>
          </a:xfrm>
          <a:custGeom>
            <a:avLst/>
            <a:gdLst>
              <a:gd name="T0" fmla="*/ 3 w 3"/>
              <a:gd name="T1" fmla="*/ 839 h 839"/>
              <a:gd name="T2" fmla="*/ 0 w 3"/>
              <a:gd name="T3" fmla="*/ 839 h 839"/>
              <a:gd name="T4" fmla="*/ 0 w 3"/>
              <a:gd name="T5" fmla="*/ 0 h 839"/>
              <a:gd name="T6" fmla="*/ 3 w 3"/>
              <a:gd name="T7" fmla="*/ 0 h 839"/>
              <a:gd name="T8" fmla="*/ 3 w 3"/>
              <a:gd name="T9" fmla="*/ 839 h 839"/>
              <a:gd name="T10" fmla="*/ 3 w 3"/>
              <a:gd name="T11" fmla="*/ 839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839">
                <a:moveTo>
                  <a:pt x="3" y="839"/>
                </a:moveTo>
                <a:lnTo>
                  <a:pt x="0" y="839"/>
                </a:lnTo>
                <a:lnTo>
                  <a:pt x="0" y="0"/>
                </a:lnTo>
                <a:lnTo>
                  <a:pt x="3" y="0"/>
                </a:lnTo>
                <a:lnTo>
                  <a:pt x="3" y="839"/>
                </a:lnTo>
                <a:lnTo>
                  <a:pt x="3" y="839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4" name="Freeform 52">
            <a:extLst>
              <a:ext uri="{FF2B5EF4-FFF2-40B4-BE49-F238E27FC236}">
                <a16:creationId xmlns:a16="http://schemas.microsoft.com/office/drawing/2014/main" id="{C9CB7D46-19F1-4A58-A3D8-8357BDED4C14}"/>
              </a:ext>
            </a:extLst>
          </p:cNvPr>
          <p:cNvSpPr>
            <a:spLocks/>
          </p:cNvSpPr>
          <p:nvPr/>
        </p:nvSpPr>
        <p:spPr bwMode="auto">
          <a:xfrm>
            <a:off x="6200194" y="5813247"/>
            <a:ext cx="8034" cy="1050624"/>
          </a:xfrm>
          <a:custGeom>
            <a:avLst/>
            <a:gdLst>
              <a:gd name="T0" fmla="*/ 3 w 3"/>
              <a:gd name="T1" fmla="*/ 839 h 839"/>
              <a:gd name="T2" fmla="*/ 0 w 3"/>
              <a:gd name="T3" fmla="*/ 839 h 839"/>
              <a:gd name="T4" fmla="*/ 0 w 3"/>
              <a:gd name="T5" fmla="*/ 0 h 839"/>
              <a:gd name="T6" fmla="*/ 3 w 3"/>
              <a:gd name="T7" fmla="*/ 0 h 839"/>
              <a:gd name="T8" fmla="*/ 3 w 3"/>
              <a:gd name="T9" fmla="*/ 839 h 839"/>
              <a:gd name="T10" fmla="*/ 3 w 3"/>
              <a:gd name="T11" fmla="*/ 839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839">
                <a:moveTo>
                  <a:pt x="3" y="839"/>
                </a:moveTo>
                <a:lnTo>
                  <a:pt x="0" y="839"/>
                </a:lnTo>
                <a:lnTo>
                  <a:pt x="0" y="0"/>
                </a:lnTo>
                <a:lnTo>
                  <a:pt x="3" y="0"/>
                </a:lnTo>
                <a:lnTo>
                  <a:pt x="3" y="839"/>
                </a:lnTo>
                <a:lnTo>
                  <a:pt x="3" y="839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5" name="Freeform 53">
            <a:extLst>
              <a:ext uri="{FF2B5EF4-FFF2-40B4-BE49-F238E27FC236}">
                <a16:creationId xmlns:a16="http://schemas.microsoft.com/office/drawing/2014/main" id="{8B84FD3B-0760-45A2-97C9-0FDE02F58298}"/>
              </a:ext>
            </a:extLst>
          </p:cNvPr>
          <p:cNvSpPr>
            <a:spLocks/>
          </p:cNvSpPr>
          <p:nvPr/>
        </p:nvSpPr>
        <p:spPr bwMode="auto">
          <a:xfrm>
            <a:off x="6775892" y="5813247"/>
            <a:ext cx="10711" cy="1050624"/>
          </a:xfrm>
          <a:custGeom>
            <a:avLst/>
            <a:gdLst>
              <a:gd name="T0" fmla="*/ 4 w 4"/>
              <a:gd name="T1" fmla="*/ 839 h 839"/>
              <a:gd name="T2" fmla="*/ 0 w 4"/>
              <a:gd name="T3" fmla="*/ 839 h 839"/>
              <a:gd name="T4" fmla="*/ 0 w 4"/>
              <a:gd name="T5" fmla="*/ 0 h 839"/>
              <a:gd name="T6" fmla="*/ 4 w 4"/>
              <a:gd name="T7" fmla="*/ 0 h 839"/>
              <a:gd name="T8" fmla="*/ 4 w 4"/>
              <a:gd name="T9" fmla="*/ 839 h 839"/>
              <a:gd name="T10" fmla="*/ 4 w 4"/>
              <a:gd name="T11" fmla="*/ 839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839">
                <a:moveTo>
                  <a:pt x="4" y="839"/>
                </a:moveTo>
                <a:lnTo>
                  <a:pt x="0" y="839"/>
                </a:lnTo>
                <a:lnTo>
                  <a:pt x="0" y="0"/>
                </a:lnTo>
                <a:lnTo>
                  <a:pt x="4" y="0"/>
                </a:lnTo>
                <a:lnTo>
                  <a:pt x="4" y="839"/>
                </a:lnTo>
                <a:lnTo>
                  <a:pt x="4" y="839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6" name="Freeform 54">
            <a:extLst>
              <a:ext uri="{FF2B5EF4-FFF2-40B4-BE49-F238E27FC236}">
                <a16:creationId xmlns:a16="http://schemas.microsoft.com/office/drawing/2014/main" id="{A6D828B5-9DAB-4A10-9082-1EA0457AD48B}"/>
              </a:ext>
            </a:extLst>
          </p:cNvPr>
          <p:cNvSpPr>
            <a:spLocks/>
          </p:cNvSpPr>
          <p:nvPr/>
        </p:nvSpPr>
        <p:spPr bwMode="auto">
          <a:xfrm>
            <a:off x="7354269" y="5813247"/>
            <a:ext cx="10711" cy="1050624"/>
          </a:xfrm>
          <a:custGeom>
            <a:avLst/>
            <a:gdLst>
              <a:gd name="T0" fmla="*/ 4 w 4"/>
              <a:gd name="T1" fmla="*/ 839 h 839"/>
              <a:gd name="T2" fmla="*/ 0 w 4"/>
              <a:gd name="T3" fmla="*/ 839 h 839"/>
              <a:gd name="T4" fmla="*/ 0 w 4"/>
              <a:gd name="T5" fmla="*/ 0 h 839"/>
              <a:gd name="T6" fmla="*/ 4 w 4"/>
              <a:gd name="T7" fmla="*/ 0 h 839"/>
              <a:gd name="T8" fmla="*/ 4 w 4"/>
              <a:gd name="T9" fmla="*/ 839 h 839"/>
              <a:gd name="T10" fmla="*/ 4 w 4"/>
              <a:gd name="T11" fmla="*/ 839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839">
                <a:moveTo>
                  <a:pt x="4" y="839"/>
                </a:moveTo>
                <a:lnTo>
                  <a:pt x="0" y="839"/>
                </a:lnTo>
                <a:lnTo>
                  <a:pt x="0" y="0"/>
                </a:lnTo>
                <a:lnTo>
                  <a:pt x="4" y="0"/>
                </a:lnTo>
                <a:lnTo>
                  <a:pt x="4" y="839"/>
                </a:lnTo>
                <a:lnTo>
                  <a:pt x="4" y="839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7" name="Freeform 55">
            <a:extLst>
              <a:ext uri="{FF2B5EF4-FFF2-40B4-BE49-F238E27FC236}">
                <a16:creationId xmlns:a16="http://schemas.microsoft.com/office/drawing/2014/main" id="{1EF96CBD-4518-41FB-956F-A88519882898}"/>
              </a:ext>
            </a:extLst>
          </p:cNvPr>
          <p:cNvSpPr>
            <a:spLocks/>
          </p:cNvSpPr>
          <p:nvPr/>
        </p:nvSpPr>
        <p:spPr bwMode="auto">
          <a:xfrm>
            <a:off x="7932644" y="5813247"/>
            <a:ext cx="8034" cy="1050624"/>
          </a:xfrm>
          <a:custGeom>
            <a:avLst/>
            <a:gdLst>
              <a:gd name="T0" fmla="*/ 3 w 3"/>
              <a:gd name="T1" fmla="*/ 839 h 839"/>
              <a:gd name="T2" fmla="*/ 0 w 3"/>
              <a:gd name="T3" fmla="*/ 839 h 839"/>
              <a:gd name="T4" fmla="*/ 0 w 3"/>
              <a:gd name="T5" fmla="*/ 0 h 839"/>
              <a:gd name="T6" fmla="*/ 3 w 3"/>
              <a:gd name="T7" fmla="*/ 0 h 839"/>
              <a:gd name="T8" fmla="*/ 3 w 3"/>
              <a:gd name="T9" fmla="*/ 839 h 839"/>
              <a:gd name="T10" fmla="*/ 3 w 3"/>
              <a:gd name="T11" fmla="*/ 839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839">
                <a:moveTo>
                  <a:pt x="3" y="839"/>
                </a:moveTo>
                <a:lnTo>
                  <a:pt x="0" y="839"/>
                </a:lnTo>
                <a:lnTo>
                  <a:pt x="0" y="0"/>
                </a:lnTo>
                <a:lnTo>
                  <a:pt x="3" y="0"/>
                </a:lnTo>
                <a:lnTo>
                  <a:pt x="3" y="839"/>
                </a:lnTo>
                <a:lnTo>
                  <a:pt x="3" y="839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9" name="Freeform 57">
            <a:extLst>
              <a:ext uri="{FF2B5EF4-FFF2-40B4-BE49-F238E27FC236}">
                <a16:creationId xmlns:a16="http://schemas.microsoft.com/office/drawing/2014/main" id="{534AB901-D4BB-4D41-8287-662626A97D09}"/>
              </a:ext>
            </a:extLst>
          </p:cNvPr>
          <p:cNvSpPr>
            <a:spLocks/>
          </p:cNvSpPr>
          <p:nvPr/>
        </p:nvSpPr>
        <p:spPr bwMode="auto">
          <a:xfrm>
            <a:off x="9089396" y="5813247"/>
            <a:ext cx="8034" cy="1050624"/>
          </a:xfrm>
          <a:custGeom>
            <a:avLst/>
            <a:gdLst>
              <a:gd name="T0" fmla="*/ 3 w 3"/>
              <a:gd name="T1" fmla="*/ 839 h 839"/>
              <a:gd name="T2" fmla="*/ 0 w 3"/>
              <a:gd name="T3" fmla="*/ 839 h 839"/>
              <a:gd name="T4" fmla="*/ 0 w 3"/>
              <a:gd name="T5" fmla="*/ 0 h 839"/>
              <a:gd name="T6" fmla="*/ 3 w 3"/>
              <a:gd name="T7" fmla="*/ 0 h 839"/>
              <a:gd name="T8" fmla="*/ 3 w 3"/>
              <a:gd name="T9" fmla="*/ 839 h 839"/>
              <a:gd name="T10" fmla="*/ 3 w 3"/>
              <a:gd name="T11" fmla="*/ 839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839">
                <a:moveTo>
                  <a:pt x="3" y="839"/>
                </a:moveTo>
                <a:lnTo>
                  <a:pt x="0" y="839"/>
                </a:lnTo>
                <a:lnTo>
                  <a:pt x="0" y="0"/>
                </a:lnTo>
                <a:lnTo>
                  <a:pt x="3" y="0"/>
                </a:lnTo>
                <a:lnTo>
                  <a:pt x="3" y="839"/>
                </a:lnTo>
                <a:lnTo>
                  <a:pt x="3" y="839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0" name="Freeform 58">
            <a:extLst>
              <a:ext uri="{FF2B5EF4-FFF2-40B4-BE49-F238E27FC236}">
                <a16:creationId xmlns:a16="http://schemas.microsoft.com/office/drawing/2014/main" id="{0734CAD7-3B6E-4BE1-AA90-53A70653FF08}"/>
              </a:ext>
            </a:extLst>
          </p:cNvPr>
          <p:cNvSpPr>
            <a:spLocks/>
          </p:cNvSpPr>
          <p:nvPr/>
        </p:nvSpPr>
        <p:spPr bwMode="auto">
          <a:xfrm>
            <a:off x="9667774" y="5813247"/>
            <a:ext cx="8034" cy="1050624"/>
          </a:xfrm>
          <a:custGeom>
            <a:avLst/>
            <a:gdLst>
              <a:gd name="T0" fmla="*/ 3 w 3"/>
              <a:gd name="T1" fmla="*/ 839 h 839"/>
              <a:gd name="T2" fmla="*/ 0 w 3"/>
              <a:gd name="T3" fmla="*/ 839 h 839"/>
              <a:gd name="T4" fmla="*/ 0 w 3"/>
              <a:gd name="T5" fmla="*/ 0 h 839"/>
              <a:gd name="T6" fmla="*/ 3 w 3"/>
              <a:gd name="T7" fmla="*/ 0 h 839"/>
              <a:gd name="T8" fmla="*/ 3 w 3"/>
              <a:gd name="T9" fmla="*/ 839 h 839"/>
              <a:gd name="T10" fmla="*/ 3 w 3"/>
              <a:gd name="T11" fmla="*/ 839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839">
                <a:moveTo>
                  <a:pt x="3" y="839"/>
                </a:moveTo>
                <a:lnTo>
                  <a:pt x="0" y="839"/>
                </a:lnTo>
                <a:lnTo>
                  <a:pt x="0" y="0"/>
                </a:lnTo>
                <a:lnTo>
                  <a:pt x="3" y="0"/>
                </a:lnTo>
                <a:lnTo>
                  <a:pt x="3" y="839"/>
                </a:lnTo>
                <a:lnTo>
                  <a:pt x="3" y="839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1" name="Freeform 59">
            <a:extLst>
              <a:ext uri="{FF2B5EF4-FFF2-40B4-BE49-F238E27FC236}">
                <a16:creationId xmlns:a16="http://schemas.microsoft.com/office/drawing/2014/main" id="{BEBBC6FF-0D6B-4A1D-BE2E-31BCBD16899E}"/>
              </a:ext>
            </a:extLst>
          </p:cNvPr>
          <p:cNvSpPr>
            <a:spLocks/>
          </p:cNvSpPr>
          <p:nvPr/>
        </p:nvSpPr>
        <p:spPr bwMode="auto">
          <a:xfrm>
            <a:off x="10243472" y="5813247"/>
            <a:ext cx="10711" cy="1050624"/>
          </a:xfrm>
          <a:custGeom>
            <a:avLst/>
            <a:gdLst>
              <a:gd name="T0" fmla="*/ 4 w 4"/>
              <a:gd name="T1" fmla="*/ 839 h 839"/>
              <a:gd name="T2" fmla="*/ 0 w 4"/>
              <a:gd name="T3" fmla="*/ 839 h 839"/>
              <a:gd name="T4" fmla="*/ 0 w 4"/>
              <a:gd name="T5" fmla="*/ 0 h 839"/>
              <a:gd name="T6" fmla="*/ 4 w 4"/>
              <a:gd name="T7" fmla="*/ 0 h 839"/>
              <a:gd name="T8" fmla="*/ 4 w 4"/>
              <a:gd name="T9" fmla="*/ 839 h 839"/>
              <a:gd name="T10" fmla="*/ 4 w 4"/>
              <a:gd name="T11" fmla="*/ 839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839">
                <a:moveTo>
                  <a:pt x="4" y="839"/>
                </a:moveTo>
                <a:lnTo>
                  <a:pt x="0" y="839"/>
                </a:lnTo>
                <a:lnTo>
                  <a:pt x="0" y="0"/>
                </a:lnTo>
                <a:lnTo>
                  <a:pt x="4" y="0"/>
                </a:lnTo>
                <a:lnTo>
                  <a:pt x="4" y="839"/>
                </a:lnTo>
                <a:lnTo>
                  <a:pt x="4" y="839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2" name="Freeform 60">
            <a:extLst>
              <a:ext uri="{FF2B5EF4-FFF2-40B4-BE49-F238E27FC236}">
                <a16:creationId xmlns:a16="http://schemas.microsoft.com/office/drawing/2014/main" id="{E9EDAEC9-894D-48D6-B304-C661A4DCFAC4}"/>
              </a:ext>
            </a:extLst>
          </p:cNvPr>
          <p:cNvSpPr>
            <a:spLocks/>
          </p:cNvSpPr>
          <p:nvPr/>
        </p:nvSpPr>
        <p:spPr bwMode="auto">
          <a:xfrm>
            <a:off x="10821849" y="5813247"/>
            <a:ext cx="8034" cy="1050624"/>
          </a:xfrm>
          <a:custGeom>
            <a:avLst/>
            <a:gdLst>
              <a:gd name="T0" fmla="*/ 3 w 3"/>
              <a:gd name="T1" fmla="*/ 839 h 839"/>
              <a:gd name="T2" fmla="*/ 0 w 3"/>
              <a:gd name="T3" fmla="*/ 839 h 839"/>
              <a:gd name="T4" fmla="*/ 0 w 3"/>
              <a:gd name="T5" fmla="*/ 0 h 839"/>
              <a:gd name="T6" fmla="*/ 3 w 3"/>
              <a:gd name="T7" fmla="*/ 0 h 839"/>
              <a:gd name="T8" fmla="*/ 3 w 3"/>
              <a:gd name="T9" fmla="*/ 839 h 839"/>
              <a:gd name="T10" fmla="*/ 3 w 3"/>
              <a:gd name="T11" fmla="*/ 839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839">
                <a:moveTo>
                  <a:pt x="3" y="839"/>
                </a:moveTo>
                <a:lnTo>
                  <a:pt x="0" y="839"/>
                </a:lnTo>
                <a:lnTo>
                  <a:pt x="0" y="0"/>
                </a:lnTo>
                <a:lnTo>
                  <a:pt x="3" y="0"/>
                </a:lnTo>
                <a:lnTo>
                  <a:pt x="3" y="839"/>
                </a:lnTo>
                <a:lnTo>
                  <a:pt x="3" y="839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3" name="Freeform 61">
            <a:extLst>
              <a:ext uri="{FF2B5EF4-FFF2-40B4-BE49-F238E27FC236}">
                <a16:creationId xmlns:a16="http://schemas.microsoft.com/office/drawing/2014/main" id="{9B0B131C-0423-405F-BE7C-3F4F437546EB}"/>
              </a:ext>
            </a:extLst>
          </p:cNvPr>
          <p:cNvSpPr>
            <a:spLocks/>
          </p:cNvSpPr>
          <p:nvPr/>
        </p:nvSpPr>
        <p:spPr bwMode="auto">
          <a:xfrm>
            <a:off x="11400224" y="5813247"/>
            <a:ext cx="8034" cy="1050624"/>
          </a:xfrm>
          <a:custGeom>
            <a:avLst/>
            <a:gdLst>
              <a:gd name="T0" fmla="*/ 3 w 3"/>
              <a:gd name="T1" fmla="*/ 839 h 839"/>
              <a:gd name="T2" fmla="*/ 0 w 3"/>
              <a:gd name="T3" fmla="*/ 839 h 839"/>
              <a:gd name="T4" fmla="*/ 0 w 3"/>
              <a:gd name="T5" fmla="*/ 0 h 839"/>
              <a:gd name="T6" fmla="*/ 3 w 3"/>
              <a:gd name="T7" fmla="*/ 0 h 839"/>
              <a:gd name="T8" fmla="*/ 3 w 3"/>
              <a:gd name="T9" fmla="*/ 839 h 839"/>
              <a:gd name="T10" fmla="*/ 3 w 3"/>
              <a:gd name="T11" fmla="*/ 839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839">
                <a:moveTo>
                  <a:pt x="3" y="839"/>
                </a:moveTo>
                <a:lnTo>
                  <a:pt x="0" y="839"/>
                </a:lnTo>
                <a:lnTo>
                  <a:pt x="0" y="0"/>
                </a:lnTo>
                <a:lnTo>
                  <a:pt x="3" y="0"/>
                </a:lnTo>
                <a:lnTo>
                  <a:pt x="3" y="839"/>
                </a:lnTo>
                <a:lnTo>
                  <a:pt x="3" y="839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4" name="Freeform 62">
            <a:extLst>
              <a:ext uri="{FF2B5EF4-FFF2-40B4-BE49-F238E27FC236}">
                <a16:creationId xmlns:a16="http://schemas.microsoft.com/office/drawing/2014/main" id="{285158EA-1238-4A20-A90C-1F1DA2B90E0C}"/>
              </a:ext>
            </a:extLst>
          </p:cNvPr>
          <p:cNvSpPr>
            <a:spLocks/>
          </p:cNvSpPr>
          <p:nvPr/>
        </p:nvSpPr>
        <p:spPr bwMode="auto">
          <a:xfrm>
            <a:off x="11978601" y="5813247"/>
            <a:ext cx="8034" cy="1050624"/>
          </a:xfrm>
          <a:custGeom>
            <a:avLst/>
            <a:gdLst>
              <a:gd name="T0" fmla="*/ 3 w 3"/>
              <a:gd name="T1" fmla="*/ 839 h 839"/>
              <a:gd name="T2" fmla="*/ 0 w 3"/>
              <a:gd name="T3" fmla="*/ 839 h 839"/>
              <a:gd name="T4" fmla="*/ 0 w 3"/>
              <a:gd name="T5" fmla="*/ 0 h 839"/>
              <a:gd name="T6" fmla="*/ 3 w 3"/>
              <a:gd name="T7" fmla="*/ 0 h 839"/>
              <a:gd name="T8" fmla="*/ 3 w 3"/>
              <a:gd name="T9" fmla="*/ 839 h 839"/>
              <a:gd name="T10" fmla="*/ 3 w 3"/>
              <a:gd name="T11" fmla="*/ 839 h 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839">
                <a:moveTo>
                  <a:pt x="3" y="839"/>
                </a:moveTo>
                <a:lnTo>
                  <a:pt x="0" y="839"/>
                </a:lnTo>
                <a:lnTo>
                  <a:pt x="0" y="0"/>
                </a:lnTo>
                <a:lnTo>
                  <a:pt x="3" y="0"/>
                </a:lnTo>
                <a:lnTo>
                  <a:pt x="3" y="839"/>
                </a:lnTo>
                <a:lnTo>
                  <a:pt x="3" y="839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5" name="Rectangle 63">
            <a:extLst>
              <a:ext uri="{FF2B5EF4-FFF2-40B4-BE49-F238E27FC236}">
                <a16:creationId xmlns:a16="http://schemas.microsoft.com/office/drawing/2014/main" id="{CA59BDBE-D826-4BA1-A182-DD261EDA71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9951" y="6535785"/>
            <a:ext cx="336851" cy="40071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6" name="Oval 64">
            <a:extLst>
              <a:ext uri="{FF2B5EF4-FFF2-40B4-BE49-F238E27FC236}">
                <a16:creationId xmlns:a16="http://schemas.microsoft.com/office/drawing/2014/main" id="{E9D3F128-E290-46AE-84A8-5ECBBB0242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9951" y="6557073"/>
            <a:ext cx="336851" cy="36315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7" name="Oval 65">
            <a:extLst>
              <a:ext uri="{FF2B5EF4-FFF2-40B4-BE49-F238E27FC236}">
                <a16:creationId xmlns:a16="http://schemas.microsoft.com/office/drawing/2014/main" id="{A46557D8-AE35-4A28-BD1B-67168B24DA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9951" y="6517002"/>
            <a:ext cx="336851" cy="37567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8" name="Freeform 66">
            <a:extLst>
              <a:ext uri="{FF2B5EF4-FFF2-40B4-BE49-F238E27FC236}">
                <a16:creationId xmlns:a16="http://schemas.microsoft.com/office/drawing/2014/main" id="{A723DAFC-5E3E-47EB-B60B-D00C8DD74A68}"/>
              </a:ext>
            </a:extLst>
          </p:cNvPr>
          <p:cNvSpPr>
            <a:spLocks/>
          </p:cNvSpPr>
          <p:nvPr/>
        </p:nvSpPr>
        <p:spPr bwMode="auto">
          <a:xfrm>
            <a:off x="7549969" y="6145088"/>
            <a:ext cx="316816" cy="353130"/>
          </a:xfrm>
          <a:custGeom>
            <a:avLst/>
            <a:gdLst>
              <a:gd name="T0" fmla="*/ 610 w 610"/>
              <a:gd name="T1" fmla="*/ 678 h 678"/>
              <a:gd name="T2" fmla="*/ 0 w 610"/>
              <a:gd name="T3" fmla="*/ 678 h 678"/>
              <a:gd name="T4" fmla="*/ 0 w 610"/>
              <a:gd name="T5" fmla="*/ 305 h 678"/>
              <a:gd name="T6" fmla="*/ 305 w 610"/>
              <a:gd name="T7" fmla="*/ 0 h 678"/>
              <a:gd name="T8" fmla="*/ 610 w 610"/>
              <a:gd name="T9" fmla="*/ 305 h 678"/>
              <a:gd name="T10" fmla="*/ 610 w 610"/>
              <a:gd name="T11" fmla="*/ 678 h 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10" h="678">
                <a:moveTo>
                  <a:pt x="610" y="678"/>
                </a:moveTo>
                <a:cubicBezTo>
                  <a:pt x="0" y="678"/>
                  <a:pt x="0" y="678"/>
                  <a:pt x="0" y="678"/>
                </a:cubicBezTo>
                <a:cubicBezTo>
                  <a:pt x="0" y="305"/>
                  <a:pt x="0" y="305"/>
                  <a:pt x="0" y="305"/>
                </a:cubicBezTo>
                <a:cubicBezTo>
                  <a:pt x="0" y="136"/>
                  <a:pt x="136" y="0"/>
                  <a:pt x="305" y="0"/>
                </a:cubicBezTo>
                <a:cubicBezTo>
                  <a:pt x="474" y="0"/>
                  <a:pt x="610" y="136"/>
                  <a:pt x="610" y="305"/>
                </a:cubicBezTo>
                <a:lnTo>
                  <a:pt x="610" y="678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9" name="Rectangle 67">
            <a:extLst>
              <a:ext uri="{FF2B5EF4-FFF2-40B4-BE49-F238E27FC236}">
                <a16:creationId xmlns:a16="http://schemas.microsoft.com/office/drawing/2014/main" id="{D463432D-C19C-4D72-8801-3F979F3C4D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9969" y="6498218"/>
            <a:ext cx="316816" cy="33811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0" name="Oval 68">
            <a:extLst>
              <a:ext uri="{FF2B5EF4-FFF2-40B4-BE49-F238E27FC236}">
                <a16:creationId xmlns:a16="http://schemas.microsoft.com/office/drawing/2014/main" id="{CB6FE3F1-8C91-4C9B-869A-33BEACB973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9969" y="6515749"/>
            <a:ext cx="316816" cy="33811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1" name="Oval 69">
            <a:extLst>
              <a:ext uri="{FF2B5EF4-FFF2-40B4-BE49-F238E27FC236}">
                <a16:creationId xmlns:a16="http://schemas.microsoft.com/office/drawing/2014/main" id="{9E25439D-13CE-490D-885C-4C263FF241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9969" y="6481939"/>
            <a:ext cx="316816" cy="33811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2" name="Freeform 70">
            <a:extLst>
              <a:ext uri="{FF2B5EF4-FFF2-40B4-BE49-F238E27FC236}">
                <a16:creationId xmlns:a16="http://schemas.microsoft.com/office/drawing/2014/main" id="{12C1EC02-94A3-45D1-964E-B35543B8187C}"/>
              </a:ext>
            </a:extLst>
          </p:cNvPr>
          <p:cNvSpPr>
            <a:spLocks/>
          </p:cNvSpPr>
          <p:nvPr/>
        </p:nvSpPr>
        <p:spPr bwMode="auto">
          <a:xfrm>
            <a:off x="7667679" y="6265303"/>
            <a:ext cx="81396" cy="91413"/>
          </a:xfrm>
          <a:custGeom>
            <a:avLst/>
            <a:gdLst>
              <a:gd name="T0" fmla="*/ 50 w 158"/>
              <a:gd name="T1" fmla="*/ 2 h 175"/>
              <a:gd name="T2" fmla="*/ 0 w 158"/>
              <a:gd name="T3" fmla="*/ 94 h 175"/>
              <a:gd name="T4" fmla="*/ 79 w 158"/>
              <a:gd name="T5" fmla="*/ 175 h 175"/>
              <a:gd name="T6" fmla="*/ 158 w 158"/>
              <a:gd name="T7" fmla="*/ 94 h 175"/>
              <a:gd name="T8" fmla="*/ 108 w 158"/>
              <a:gd name="T9" fmla="*/ 0 h 175"/>
              <a:gd name="T10" fmla="*/ 108 w 158"/>
              <a:gd name="T11" fmla="*/ 0 h 175"/>
              <a:gd name="T12" fmla="*/ 108 w 158"/>
              <a:gd name="T13" fmla="*/ 0 h 175"/>
              <a:gd name="T14" fmla="*/ 50 w 158"/>
              <a:gd name="T15" fmla="*/ 0 h 175"/>
              <a:gd name="T16" fmla="*/ 50 w 158"/>
              <a:gd name="T17" fmla="*/ 1 h 175"/>
              <a:gd name="T18" fmla="*/ 50 w 158"/>
              <a:gd name="T19" fmla="*/ 1 h 175"/>
              <a:gd name="T20" fmla="*/ 50 w 158"/>
              <a:gd name="T21" fmla="*/ 2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58" h="175">
                <a:moveTo>
                  <a:pt x="50" y="2"/>
                </a:moveTo>
                <a:cubicBezTo>
                  <a:pt x="48" y="28"/>
                  <a:pt x="0" y="45"/>
                  <a:pt x="0" y="94"/>
                </a:cubicBezTo>
                <a:cubicBezTo>
                  <a:pt x="0" y="148"/>
                  <a:pt x="38" y="175"/>
                  <a:pt x="79" y="175"/>
                </a:cubicBezTo>
                <a:cubicBezTo>
                  <a:pt x="120" y="175"/>
                  <a:pt x="158" y="148"/>
                  <a:pt x="158" y="94"/>
                </a:cubicBezTo>
                <a:cubicBezTo>
                  <a:pt x="158" y="45"/>
                  <a:pt x="108" y="28"/>
                  <a:pt x="108" y="0"/>
                </a:cubicBezTo>
                <a:cubicBezTo>
                  <a:pt x="108" y="0"/>
                  <a:pt x="108" y="0"/>
                  <a:pt x="108" y="0"/>
                </a:cubicBezTo>
                <a:cubicBezTo>
                  <a:pt x="108" y="0"/>
                  <a:pt x="108" y="0"/>
                  <a:pt x="108" y="0"/>
                </a:cubicBezTo>
                <a:cubicBezTo>
                  <a:pt x="105" y="0"/>
                  <a:pt x="53" y="0"/>
                  <a:pt x="50" y="0"/>
                </a:cubicBezTo>
                <a:cubicBezTo>
                  <a:pt x="50" y="1"/>
                  <a:pt x="50" y="1"/>
                  <a:pt x="50" y="1"/>
                </a:cubicBezTo>
                <a:cubicBezTo>
                  <a:pt x="50" y="1"/>
                  <a:pt x="50" y="1"/>
                  <a:pt x="50" y="1"/>
                </a:cubicBezTo>
                <a:cubicBezTo>
                  <a:pt x="50" y="1"/>
                  <a:pt x="50" y="1"/>
                  <a:pt x="50" y="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3" name="Freeform 71">
            <a:extLst>
              <a:ext uri="{FF2B5EF4-FFF2-40B4-BE49-F238E27FC236}">
                <a16:creationId xmlns:a16="http://schemas.microsoft.com/office/drawing/2014/main" id="{8BF4914B-902E-46BB-A4EA-A8CDAE1F04CA}"/>
              </a:ext>
            </a:extLst>
          </p:cNvPr>
          <p:cNvSpPr>
            <a:spLocks/>
          </p:cNvSpPr>
          <p:nvPr/>
        </p:nvSpPr>
        <p:spPr bwMode="auto">
          <a:xfrm>
            <a:off x="7701489" y="6265303"/>
            <a:ext cx="2504" cy="36315"/>
          </a:xfrm>
          <a:custGeom>
            <a:avLst/>
            <a:gdLst>
              <a:gd name="T0" fmla="*/ 6 w 6"/>
              <a:gd name="T1" fmla="*/ 70 h 70"/>
              <a:gd name="T2" fmla="*/ 0 w 6"/>
              <a:gd name="T3" fmla="*/ 65 h 70"/>
              <a:gd name="T4" fmla="*/ 0 w 6"/>
              <a:gd name="T5" fmla="*/ 0 h 70"/>
              <a:gd name="T6" fmla="*/ 4 w 6"/>
              <a:gd name="T7" fmla="*/ 0 h 70"/>
              <a:gd name="T8" fmla="*/ 4 w 6"/>
              <a:gd name="T9" fmla="*/ 65 h 70"/>
              <a:gd name="T10" fmla="*/ 6 w 6"/>
              <a:gd name="T11" fmla="*/ 66 h 70"/>
              <a:gd name="T12" fmla="*/ 6 w 6"/>
              <a:gd name="T13" fmla="*/ 7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70">
                <a:moveTo>
                  <a:pt x="6" y="70"/>
                </a:moveTo>
                <a:cubicBezTo>
                  <a:pt x="3" y="70"/>
                  <a:pt x="0" y="68"/>
                  <a:pt x="0" y="65"/>
                </a:cubicBezTo>
                <a:cubicBezTo>
                  <a:pt x="0" y="0"/>
                  <a:pt x="0" y="0"/>
                  <a:pt x="0" y="0"/>
                </a:cubicBezTo>
                <a:cubicBezTo>
                  <a:pt x="4" y="0"/>
                  <a:pt x="4" y="0"/>
                  <a:pt x="4" y="0"/>
                </a:cubicBezTo>
                <a:cubicBezTo>
                  <a:pt x="4" y="65"/>
                  <a:pt x="4" y="65"/>
                  <a:pt x="4" y="65"/>
                </a:cubicBezTo>
                <a:cubicBezTo>
                  <a:pt x="4" y="65"/>
                  <a:pt x="5" y="66"/>
                  <a:pt x="6" y="66"/>
                </a:cubicBezTo>
                <a:cubicBezTo>
                  <a:pt x="6" y="70"/>
                  <a:pt x="6" y="70"/>
                  <a:pt x="6" y="70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4" name="Freeform 72">
            <a:extLst>
              <a:ext uri="{FF2B5EF4-FFF2-40B4-BE49-F238E27FC236}">
                <a16:creationId xmlns:a16="http://schemas.microsoft.com/office/drawing/2014/main" id="{34771DFC-4FE1-4A39-8409-A34F1CF444C5}"/>
              </a:ext>
            </a:extLst>
          </p:cNvPr>
          <p:cNvSpPr>
            <a:spLocks/>
          </p:cNvSpPr>
          <p:nvPr/>
        </p:nvSpPr>
        <p:spPr bwMode="auto">
          <a:xfrm>
            <a:off x="7712760" y="6265303"/>
            <a:ext cx="2504" cy="36315"/>
          </a:xfrm>
          <a:custGeom>
            <a:avLst/>
            <a:gdLst>
              <a:gd name="T0" fmla="*/ 0 w 6"/>
              <a:gd name="T1" fmla="*/ 70 h 70"/>
              <a:gd name="T2" fmla="*/ 0 w 6"/>
              <a:gd name="T3" fmla="*/ 66 h 70"/>
              <a:gd name="T4" fmla="*/ 2 w 6"/>
              <a:gd name="T5" fmla="*/ 65 h 70"/>
              <a:gd name="T6" fmla="*/ 2 w 6"/>
              <a:gd name="T7" fmla="*/ 0 h 70"/>
              <a:gd name="T8" fmla="*/ 6 w 6"/>
              <a:gd name="T9" fmla="*/ 0 h 70"/>
              <a:gd name="T10" fmla="*/ 6 w 6"/>
              <a:gd name="T11" fmla="*/ 65 h 70"/>
              <a:gd name="T12" fmla="*/ 0 w 6"/>
              <a:gd name="T13" fmla="*/ 7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70">
                <a:moveTo>
                  <a:pt x="0" y="70"/>
                </a:moveTo>
                <a:cubicBezTo>
                  <a:pt x="0" y="66"/>
                  <a:pt x="0" y="66"/>
                  <a:pt x="0" y="66"/>
                </a:cubicBezTo>
                <a:cubicBezTo>
                  <a:pt x="1" y="66"/>
                  <a:pt x="2" y="65"/>
                  <a:pt x="2" y="65"/>
                </a:cubicBezTo>
                <a:cubicBezTo>
                  <a:pt x="2" y="0"/>
                  <a:pt x="2" y="0"/>
                  <a:pt x="2" y="0"/>
                </a:cubicBezTo>
                <a:cubicBezTo>
                  <a:pt x="6" y="0"/>
                  <a:pt x="6" y="0"/>
                  <a:pt x="6" y="0"/>
                </a:cubicBezTo>
                <a:cubicBezTo>
                  <a:pt x="6" y="65"/>
                  <a:pt x="6" y="65"/>
                  <a:pt x="6" y="65"/>
                </a:cubicBezTo>
                <a:cubicBezTo>
                  <a:pt x="6" y="68"/>
                  <a:pt x="3" y="70"/>
                  <a:pt x="0" y="70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5" name="Freeform 73">
            <a:extLst>
              <a:ext uri="{FF2B5EF4-FFF2-40B4-BE49-F238E27FC236}">
                <a16:creationId xmlns:a16="http://schemas.microsoft.com/office/drawing/2014/main" id="{1C15CA6A-9B5D-46B4-AD1A-5E1C721DB68C}"/>
              </a:ext>
            </a:extLst>
          </p:cNvPr>
          <p:cNvSpPr>
            <a:spLocks noEditPoints="1"/>
          </p:cNvSpPr>
          <p:nvPr/>
        </p:nvSpPr>
        <p:spPr bwMode="auto">
          <a:xfrm>
            <a:off x="7707751" y="6297861"/>
            <a:ext cx="6262" cy="6262"/>
          </a:xfrm>
          <a:custGeom>
            <a:avLst/>
            <a:gdLst>
              <a:gd name="T0" fmla="*/ 6 w 12"/>
              <a:gd name="T1" fmla="*/ 12 h 12"/>
              <a:gd name="T2" fmla="*/ 0 w 12"/>
              <a:gd name="T3" fmla="*/ 6 h 12"/>
              <a:gd name="T4" fmla="*/ 6 w 12"/>
              <a:gd name="T5" fmla="*/ 0 h 12"/>
              <a:gd name="T6" fmla="*/ 12 w 12"/>
              <a:gd name="T7" fmla="*/ 6 h 12"/>
              <a:gd name="T8" fmla="*/ 6 w 12"/>
              <a:gd name="T9" fmla="*/ 12 h 12"/>
              <a:gd name="T10" fmla="*/ 6 w 12"/>
              <a:gd name="T11" fmla="*/ 4 h 12"/>
              <a:gd name="T12" fmla="*/ 4 w 12"/>
              <a:gd name="T13" fmla="*/ 6 h 12"/>
              <a:gd name="T14" fmla="*/ 6 w 12"/>
              <a:gd name="T15" fmla="*/ 8 h 12"/>
              <a:gd name="T16" fmla="*/ 8 w 12"/>
              <a:gd name="T17" fmla="*/ 6 h 12"/>
              <a:gd name="T18" fmla="*/ 6 w 12"/>
              <a:gd name="T19" fmla="*/ 4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" h="12">
                <a:moveTo>
                  <a:pt x="6" y="12"/>
                </a:moveTo>
                <a:cubicBezTo>
                  <a:pt x="3" y="12"/>
                  <a:pt x="0" y="9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10" y="0"/>
                  <a:pt x="12" y="3"/>
                  <a:pt x="12" y="6"/>
                </a:cubicBezTo>
                <a:cubicBezTo>
                  <a:pt x="12" y="9"/>
                  <a:pt x="10" y="12"/>
                  <a:pt x="6" y="12"/>
                </a:cubicBezTo>
                <a:close/>
                <a:moveTo>
                  <a:pt x="6" y="4"/>
                </a:moveTo>
                <a:cubicBezTo>
                  <a:pt x="5" y="4"/>
                  <a:pt x="4" y="5"/>
                  <a:pt x="4" y="6"/>
                </a:cubicBezTo>
                <a:cubicBezTo>
                  <a:pt x="4" y="7"/>
                  <a:pt x="5" y="8"/>
                  <a:pt x="6" y="8"/>
                </a:cubicBezTo>
                <a:cubicBezTo>
                  <a:pt x="7" y="8"/>
                  <a:pt x="8" y="7"/>
                  <a:pt x="8" y="6"/>
                </a:cubicBezTo>
                <a:cubicBezTo>
                  <a:pt x="8" y="5"/>
                  <a:pt x="7" y="4"/>
                  <a:pt x="6" y="4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6" name="Freeform 74">
            <a:extLst>
              <a:ext uri="{FF2B5EF4-FFF2-40B4-BE49-F238E27FC236}">
                <a16:creationId xmlns:a16="http://schemas.microsoft.com/office/drawing/2014/main" id="{4F3CC887-ED2F-4ADA-A42D-F6C36633026E}"/>
              </a:ext>
            </a:extLst>
          </p:cNvPr>
          <p:cNvSpPr>
            <a:spLocks noEditPoints="1"/>
          </p:cNvSpPr>
          <p:nvPr/>
        </p:nvSpPr>
        <p:spPr bwMode="auto">
          <a:xfrm>
            <a:off x="7702742" y="6297861"/>
            <a:ext cx="6262" cy="6262"/>
          </a:xfrm>
          <a:custGeom>
            <a:avLst/>
            <a:gdLst>
              <a:gd name="T0" fmla="*/ 6 w 12"/>
              <a:gd name="T1" fmla="*/ 12 h 12"/>
              <a:gd name="T2" fmla="*/ 0 w 12"/>
              <a:gd name="T3" fmla="*/ 6 h 12"/>
              <a:gd name="T4" fmla="*/ 6 w 12"/>
              <a:gd name="T5" fmla="*/ 0 h 12"/>
              <a:gd name="T6" fmla="*/ 12 w 12"/>
              <a:gd name="T7" fmla="*/ 6 h 12"/>
              <a:gd name="T8" fmla="*/ 6 w 12"/>
              <a:gd name="T9" fmla="*/ 12 h 12"/>
              <a:gd name="T10" fmla="*/ 6 w 12"/>
              <a:gd name="T11" fmla="*/ 4 h 12"/>
              <a:gd name="T12" fmla="*/ 4 w 12"/>
              <a:gd name="T13" fmla="*/ 6 h 12"/>
              <a:gd name="T14" fmla="*/ 6 w 12"/>
              <a:gd name="T15" fmla="*/ 8 h 12"/>
              <a:gd name="T16" fmla="*/ 8 w 12"/>
              <a:gd name="T17" fmla="*/ 6 h 12"/>
              <a:gd name="T18" fmla="*/ 6 w 12"/>
              <a:gd name="T19" fmla="*/ 4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" h="12">
                <a:moveTo>
                  <a:pt x="6" y="12"/>
                </a:moveTo>
                <a:cubicBezTo>
                  <a:pt x="2" y="12"/>
                  <a:pt x="0" y="9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9" y="0"/>
                  <a:pt x="12" y="3"/>
                  <a:pt x="12" y="6"/>
                </a:cubicBezTo>
                <a:cubicBezTo>
                  <a:pt x="12" y="9"/>
                  <a:pt x="9" y="12"/>
                  <a:pt x="6" y="12"/>
                </a:cubicBezTo>
                <a:close/>
                <a:moveTo>
                  <a:pt x="6" y="4"/>
                </a:moveTo>
                <a:cubicBezTo>
                  <a:pt x="5" y="4"/>
                  <a:pt x="4" y="5"/>
                  <a:pt x="4" y="6"/>
                </a:cubicBezTo>
                <a:cubicBezTo>
                  <a:pt x="4" y="7"/>
                  <a:pt x="5" y="8"/>
                  <a:pt x="6" y="8"/>
                </a:cubicBezTo>
                <a:cubicBezTo>
                  <a:pt x="7" y="8"/>
                  <a:pt x="8" y="7"/>
                  <a:pt x="8" y="6"/>
                </a:cubicBezTo>
                <a:cubicBezTo>
                  <a:pt x="8" y="5"/>
                  <a:pt x="7" y="4"/>
                  <a:pt x="6" y="4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7" name="Freeform 75">
            <a:extLst>
              <a:ext uri="{FF2B5EF4-FFF2-40B4-BE49-F238E27FC236}">
                <a16:creationId xmlns:a16="http://schemas.microsoft.com/office/drawing/2014/main" id="{599BB688-7FA7-4C62-B952-FE5BE6456898}"/>
              </a:ext>
            </a:extLst>
          </p:cNvPr>
          <p:cNvSpPr>
            <a:spLocks/>
          </p:cNvSpPr>
          <p:nvPr/>
        </p:nvSpPr>
        <p:spPr bwMode="auto">
          <a:xfrm>
            <a:off x="7700237" y="6237753"/>
            <a:ext cx="16279" cy="6262"/>
          </a:xfrm>
          <a:custGeom>
            <a:avLst/>
            <a:gdLst>
              <a:gd name="T0" fmla="*/ 32 w 32"/>
              <a:gd name="T1" fmla="*/ 12 h 12"/>
              <a:gd name="T2" fmla="*/ 16 w 32"/>
              <a:gd name="T3" fmla="*/ 0 h 12"/>
              <a:gd name="T4" fmla="*/ 0 w 32"/>
              <a:gd name="T5" fmla="*/ 12 h 12"/>
              <a:gd name="T6" fmla="*/ 32 w 32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12">
                <a:moveTo>
                  <a:pt x="32" y="12"/>
                </a:moveTo>
                <a:cubicBezTo>
                  <a:pt x="30" y="5"/>
                  <a:pt x="24" y="0"/>
                  <a:pt x="16" y="0"/>
                </a:cubicBezTo>
                <a:cubicBezTo>
                  <a:pt x="8" y="0"/>
                  <a:pt x="2" y="5"/>
                  <a:pt x="0" y="12"/>
                </a:cubicBezTo>
                <a:lnTo>
                  <a:pt x="32" y="12"/>
                </a:lnTo>
                <a:close/>
              </a:path>
            </a:pathLst>
          </a:custGeom>
          <a:solidFill>
            <a:srgbClr val="E3F3F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8" name="Freeform 76">
            <a:extLst>
              <a:ext uri="{FF2B5EF4-FFF2-40B4-BE49-F238E27FC236}">
                <a16:creationId xmlns:a16="http://schemas.microsoft.com/office/drawing/2014/main" id="{230422E7-2B04-4B84-B560-9EE06E29E8FD}"/>
              </a:ext>
            </a:extLst>
          </p:cNvPr>
          <p:cNvSpPr>
            <a:spLocks/>
          </p:cNvSpPr>
          <p:nvPr/>
        </p:nvSpPr>
        <p:spPr bwMode="auto">
          <a:xfrm>
            <a:off x="7690219" y="6259042"/>
            <a:ext cx="36315" cy="6262"/>
          </a:xfrm>
          <a:custGeom>
            <a:avLst/>
            <a:gdLst>
              <a:gd name="T0" fmla="*/ 7 w 72"/>
              <a:gd name="T1" fmla="*/ 13 h 13"/>
              <a:gd name="T2" fmla="*/ 65 w 72"/>
              <a:gd name="T3" fmla="*/ 13 h 13"/>
              <a:gd name="T4" fmla="*/ 72 w 72"/>
              <a:gd name="T5" fmla="*/ 7 h 13"/>
              <a:gd name="T6" fmla="*/ 65 w 72"/>
              <a:gd name="T7" fmla="*/ 0 h 13"/>
              <a:gd name="T8" fmla="*/ 7 w 72"/>
              <a:gd name="T9" fmla="*/ 0 h 13"/>
              <a:gd name="T10" fmla="*/ 0 w 72"/>
              <a:gd name="T11" fmla="*/ 7 h 13"/>
              <a:gd name="T12" fmla="*/ 7 w 72"/>
              <a:gd name="T13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2" h="13">
                <a:moveTo>
                  <a:pt x="7" y="13"/>
                </a:moveTo>
                <a:cubicBezTo>
                  <a:pt x="65" y="13"/>
                  <a:pt x="65" y="13"/>
                  <a:pt x="65" y="13"/>
                </a:cubicBezTo>
                <a:cubicBezTo>
                  <a:pt x="69" y="13"/>
                  <a:pt x="72" y="10"/>
                  <a:pt x="72" y="7"/>
                </a:cubicBezTo>
                <a:cubicBezTo>
                  <a:pt x="72" y="3"/>
                  <a:pt x="69" y="0"/>
                  <a:pt x="65" y="0"/>
                </a:cubicBez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10"/>
                  <a:pt x="3" y="13"/>
                  <a:pt x="7" y="13"/>
                </a:cubicBez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9" name="Freeform 77">
            <a:extLst>
              <a:ext uri="{FF2B5EF4-FFF2-40B4-BE49-F238E27FC236}">
                <a16:creationId xmlns:a16="http://schemas.microsoft.com/office/drawing/2014/main" id="{5E19DB91-6BF4-4236-A473-C87DF71A079F}"/>
              </a:ext>
            </a:extLst>
          </p:cNvPr>
          <p:cNvSpPr>
            <a:spLocks/>
          </p:cNvSpPr>
          <p:nvPr/>
        </p:nvSpPr>
        <p:spPr bwMode="auto">
          <a:xfrm>
            <a:off x="7690219" y="6251528"/>
            <a:ext cx="36315" cy="7513"/>
          </a:xfrm>
          <a:custGeom>
            <a:avLst/>
            <a:gdLst>
              <a:gd name="T0" fmla="*/ 7 w 72"/>
              <a:gd name="T1" fmla="*/ 14 h 14"/>
              <a:gd name="T2" fmla="*/ 65 w 72"/>
              <a:gd name="T3" fmla="*/ 14 h 14"/>
              <a:gd name="T4" fmla="*/ 72 w 72"/>
              <a:gd name="T5" fmla="*/ 7 h 14"/>
              <a:gd name="T6" fmla="*/ 65 w 72"/>
              <a:gd name="T7" fmla="*/ 0 h 14"/>
              <a:gd name="T8" fmla="*/ 7 w 72"/>
              <a:gd name="T9" fmla="*/ 0 h 14"/>
              <a:gd name="T10" fmla="*/ 0 w 72"/>
              <a:gd name="T11" fmla="*/ 7 h 14"/>
              <a:gd name="T12" fmla="*/ 7 w 72"/>
              <a:gd name="T13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2" h="14">
                <a:moveTo>
                  <a:pt x="7" y="14"/>
                </a:moveTo>
                <a:cubicBezTo>
                  <a:pt x="65" y="14"/>
                  <a:pt x="65" y="14"/>
                  <a:pt x="65" y="14"/>
                </a:cubicBezTo>
                <a:cubicBezTo>
                  <a:pt x="69" y="14"/>
                  <a:pt x="72" y="10"/>
                  <a:pt x="72" y="7"/>
                </a:cubicBezTo>
                <a:cubicBezTo>
                  <a:pt x="72" y="3"/>
                  <a:pt x="69" y="0"/>
                  <a:pt x="65" y="0"/>
                </a:cubicBez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10"/>
                  <a:pt x="3" y="14"/>
                  <a:pt x="7" y="14"/>
                </a:cubicBezTo>
                <a:close/>
              </a:path>
            </a:pathLst>
          </a:custGeom>
          <a:solidFill>
            <a:srgbClr val="E3F3F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0" name="Freeform 78">
            <a:extLst>
              <a:ext uri="{FF2B5EF4-FFF2-40B4-BE49-F238E27FC236}">
                <a16:creationId xmlns:a16="http://schemas.microsoft.com/office/drawing/2014/main" id="{FC1F6D6C-7A91-4371-AFEB-B0ADFDFF2F23}"/>
              </a:ext>
            </a:extLst>
          </p:cNvPr>
          <p:cNvSpPr>
            <a:spLocks/>
          </p:cNvSpPr>
          <p:nvPr/>
        </p:nvSpPr>
        <p:spPr bwMode="auto">
          <a:xfrm>
            <a:off x="7690219" y="6244015"/>
            <a:ext cx="36315" cy="7513"/>
          </a:xfrm>
          <a:custGeom>
            <a:avLst/>
            <a:gdLst>
              <a:gd name="T0" fmla="*/ 7 w 72"/>
              <a:gd name="T1" fmla="*/ 14 h 14"/>
              <a:gd name="T2" fmla="*/ 65 w 72"/>
              <a:gd name="T3" fmla="*/ 14 h 14"/>
              <a:gd name="T4" fmla="*/ 72 w 72"/>
              <a:gd name="T5" fmla="*/ 7 h 14"/>
              <a:gd name="T6" fmla="*/ 65 w 72"/>
              <a:gd name="T7" fmla="*/ 0 h 14"/>
              <a:gd name="T8" fmla="*/ 7 w 72"/>
              <a:gd name="T9" fmla="*/ 0 h 14"/>
              <a:gd name="T10" fmla="*/ 0 w 72"/>
              <a:gd name="T11" fmla="*/ 7 h 14"/>
              <a:gd name="T12" fmla="*/ 7 w 72"/>
              <a:gd name="T13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2" h="14">
                <a:moveTo>
                  <a:pt x="7" y="14"/>
                </a:moveTo>
                <a:cubicBezTo>
                  <a:pt x="65" y="14"/>
                  <a:pt x="65" y="14"/>
                  <a:pt x="65" y="14"/>
                </a:cubicBezTo>
                <a:cubicBezTo>
                  <a:pt x="69" y="14"/>
                  <a:pt x="72" y="11"/>
                  <a:pt x="72" y="7"/>
                </a:cubicBezTo>
                <a:cubicBezTo>
                  <a:pt x="72" y="3"/>
                  <a:pt x="69" y="0"/>
                  <a:pt x="65" y="0"/>
                </a:cubicBez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11"/>
                  <a:pt x="3" y="14"/>
                  <a:pt x="7" y="14"/>
                </a:cubicBez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1" name="Freeform 79">
            <a:extLst>
              <a:ext uri="{FF2B5EF4-FFF2-40B4-BE49-F238E27FC236}">
                <a16:creationId xmlns:a16="http://schemas.microsoft.com/office/drawing/2014/main" id="{B1922CEE-E512-4486-84DB-4B51E56EE45F}"/>
              </a:ext>
            </a:extLst>
          </p:cNvPr>
          <p:cNvSpPr>
            <a:spLocks/>
          </p:cNvSpPr>
          <p:nvPr/>
        </p:nvSpPr>
        <p:spPr bwMode="auto">
          <a:xfrm>
            <a:off x="7637626" y="6301618"/>
            <a:ext cx="96422" cy="98927"/>
          </a:xfrm>
          <a:custGeom>
            <a:avLst/>
            <a:gdLst>
              <a:gd name="T0" fmla="*/ 30 w 186"/>
              <a:gd name="T1" fmla="*/ 167 h 188"/>
              <a:gd name="T2" fmla="*/ 135 w 186"/>
              <a:gd name="T3" fmla="*/ 163 h 188"/>
              <a:gd name="T4" fmla="*/ 166 w 186"/>
              <a:gd name="T5" fmla="*/ 55 h 188"/>
              <a:gd name="T6" fmla="*/ 56 w 186"/>
              <a:gd name="T7" fmla="*/ 27 h 188"/>
              <a:gd name="T8" fmla="*/ 0 w 186"/>
              <a:gd name="T9" fmla="*/ 117 h 188"/>
              <a:gd name="T10" fmla="*/ 0 w 186"/>
              <a:gd name="T11" fmla="*/ 117 h 188"/>
              <a:gd name="T12" fmla="*/ 0 w 186"/>
              <a:gd name="T13" fmla="*/ 117 h 188"/>
              <a:gd name="T14" fmla="*/ 29 w 186"/>
              <a:gd name="T15" fmla="*/ 168 h 188"/>
              <a:gd name="T16" fmla="*/ 29 w 186"/>
              <a:gd name="T17" fmla="*/ 167 h 188"/>
              <a:gd name="T18" fmla="*/ 29 w 186"/>
              <a:gd name="T19" fmla="*/ 168 h 188"/>
              <a:gd name="T20" fmla="*/ 30 w 186"/>
              <a:gd name="T21" fmla="*/ 167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86" h="188">
                <a:moveTo>
                  <a:pt x="30" y="167"/>
                </a:moveTo>
                <a:cubicBezTo>
                  <a:pt x="54" y="155"/>
                  <a:pt x="93" y="188"/>
                  <a:pt x="135" y="163"/>
                </a:cubicBezTo>
                <a:cubicBezTo>
                  <a:pt x="182" y="136"/>
                  <a:pt x="186" y="90"/>
                  <a:pt x="166" y="55"/>
                </a:cubicBezTo>
                <a:cubicBezTo>
                  <a:pt x="145" y="19"/>
                  <a:pt x="103" y="0"/>
                  <a:pt x="56" y="27"/>
                </a:cubicBezTo>
                <a:cubicBezTo>
                  <a:pt x="13" y="52"/>
                  <a:pt x="23" y="103"/>
                  <a:pt x="0" y="117"/>
                </a:cubicBezTo>
                <a:cubicBezTo>
                  <a:pt x="0" y="117"/>
                  <a:pt x="0" y="117"/>
                  <a:pt x="0" y="117"/>
                </a:cubicBezTo>
                <a:cubicBezTo>
                  <a:pt x="0" y="117"/>
                  <a:pt x="0" y="117"/>
                  <a:pt x="0" y="117"/>
                </a:cubicBezTo>
                <a:cubicBezTo>
                  <a:pt x="1" y="120"/>
                  <a:pt x="27" y="164"/>
                  <a:pt x="29" y="168"/>
                </a:cubicBezTo>
                <a:cubicBezTo>
                  <a:pt x="29" y="168"/>
                  <a:pt x="29" y="167"/>
                  <a:pt x="29" y="167"/>
                </a:cubicBezTo>
                <a:cubicBezTo>
                  <a:pt x="29" y="167"/>
                  <a:pt x="29" y="167"/>
                  <a:pt x="29" y="168"/>
                </a:cubicBezTo>
                <a:cubicBezTo>
                  <a:pt x="29" y="167"/>
                  <a:pt x="30" y="167"/>
                  <a:pt x="30" y="16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2" name="Freeform 80">
            <a:extLst>
              <a:ext uri="{FF2B5EF4-FFF2-40B4-BE49-F238E27FC236}">
                <a16:creationId xmlns:a16="http://schemas.microsoft.com/office/drawing/2014/main" id="{0840AD8C-72C3-4268-86A4-BD161EABBD16}"/>
              </a:ext>
            </a:extLst>
          </p:cNvPr>
          <p:cNvSpPr>
            <a:spLocks/>
          </p:cNvSpPr>
          <p:nvPr/>
        </p:nvSpPr>
        <p:spPr bwMode="auto">
          <a:xfrm>
            <a:off x="7647644" y="6361725"/>
            <a:ext cx="31306" cy="20036"/>
          </a:xfrm>
          <a:custGeom>
            <a:avLst/>
            <a:gdLst>
              <a:gd name="T0" fmla="*/ 2 w 61"/>
              <a:gd name="T1" fmla="*/ 40 h 40"/>
              <a:gd name="T2" fmla="*/ 0 w 61"/>
              <a:gd name="T3" fmla="*/ 36 h 40"/>
              <a:gd name="T4" fmla="*/ 57 w 61"/>
              <a:gd name="T5" fmla="*/ 4 h 40"/>
              <a:gd name="T6" fmla="*/ 57 w 61"/>
              <a:gd name="T7" fmla="*/ 3 h 40"/>
              <a:gd name="T8" fmla="*/ 57 w 61"/>
              <a:gd name="T9" fmla="*/ 2 h 40"/>
              <a:gd name="T10" fmla="*/ 61 w 61"/>
              <a:gd name="T11" fmla="*/ 0 h 40"/>
              <a:gd name="T12" fmla="*/ 61 w 61"/>
              <a:gd name="T13" fmla="*/ 4 h 40"/>
              <a:gd name="T14" fmla="*/ 59 w 61"/>
              <a:gd name="T15" fmla="*/ 7 h 40"/>
              <a:gd name="T16" fmla="*/ 2 w 61"/>
              <a:gd name="T17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40">
                <a:moveTo>
                  <a:pt x="2" y="40"/>
                </a:moveTo>
                <a:cubicBezTo>
                  <a:pt x="0" y="36"/>
                  <a:pt x="0" y="36"/>
                  <a:pt x="0" y="36"/>
                </a:cubicBezTo>
                <a:cubicBezTo>
                  <a:pt x="57" y="4"/>
                  <a:pt x="57" y="4"/>
                  <a:pt x="57" y="4"/>
                </a:cubicBezTo>
                <a:cubicBezTo>
                  <a:pt x="57" y="4"/>
                  <a:pt x="57" y="3"/>
                  <a:pt x="57" y="3"/>
                </a:cubicBezTo>
                <a:cubicBezTo>
                  <a:pt x="57" y="3"/>
                  <a:pt x="57" y="2"/>
                  <a:pt x="57" y="2"/>
                </a:cubicBezTo>
                <a:cubicBezTo>
                  <a:pt x="61" y="0"/>
                  <a:pt x="61" y="0"/>
                  <a:pt x="61" y="0"/>
                </a:cubicBezTo>
                <a:cubicBezTo>
                  <a:pt x="61" y="1"/>
                  <a:pt x="61" y="3"/>
                  <a:pt x="61" y="4"/>
                </a:cubicBezTo>
                <a:cubicBezTo>
                  <a:pt x="61" y="5"/>
                  <a:pt x="60" y="7"/>
                  <a:pt x="59" y="7"/>
                </a:cubicBezTo>
                <a:cubicBezTo>
                  <a:pt x="2" y="40"/>
                  <a:pt x="2" y="40"/>
                  <a:pt x="2" y="40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3" name="Freeform 81">
            <a:extLst>
              <a:ext uri="{FF2B5EF4-FFF2-40B4-BE49-F238E27FC236}">
                <a16:creationId xmlns:a16="http://schemas.microsoft.com/office/drawing/2014/main" id="{013EB43C-DEBA-4201-9D16-BEA1D7F0EBAD}"/>
              </a:ext>
            </a:extLst>
          </p:cNvPr>
          <p:cNvSpPr>
            <a:spLocks/>
          </p:cNvSpPr>
          <p:nvPr/>
        </p:nvSpPr>
        <p:spPr bwMode="auto">
          <a:xfrm>
            <a:off x="7641382" y="6352959"/>
            <a:ext cx="32558" cy="18784"/>
          </a:xfrm>
          <a:custGeom>
            <a:avLst/>
            <a:gdLst>
              <a:gd name="T0" fmla="*/ 2 w 63"/>
              <a:gd name="T1" fmla="*/ 37 h 37"/>
              <a:gd name="T2" fmla="*/ 0 w 63"/>
              <a:gd name="T3" fmla="*/ 33 h 37"/>
              <a:gd name="T4" fmla="*/ 56 w 63"/>
              <a:gd name="T5" fmla="*/ 1 h 37"/>
              <a:gd name="T6" fmla="*/ 60 w 63"/>
              <a:gd name="T7" fmla="*/ 0 h 37"/>
              <a:gd name="T8" fmla="*/ 63 w 63"/>
              <a:gd name="T9" fmla="*/ 3 h 37"/>
              <a:gd name="T10" fmla="*/ 60 w 63"/>
              <a:gd name="T11" fmla="*/ 5 h 37"/>
              <a:gd name="T12" fmla="*/ 59 w 63"/>
              <a:gd name="T13" fmla="*/ 4 h 37"/>
              <a:gd name="T14" fmla="*/ 58 w 63"/>
              <a:gd name="T15" fmla="*/ 4 h 37"/>
              <a:gd name="T16" fmla="*/ 2 w 63"/>
              <a:gd name="T17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3" h="37">
                <a:moveTo>
                  <a:pt x="2" y="37"/>
                </a:moveTo>
                <a:cubicBezTo>
                  <a:pt x="0" y="33"/>
                  <a:pt x="0" y="33"/>
                  <a:pt x="0" y="33"/>
                </a:cubicBezTo>
                <a:cubicBezTo>
                  <a:pt x="56" y="1"/>
                  <a:pt x="56" y="1"/>
                  <a:pt x="56" y="1"/>
                </a:cubicBezTo>
                <a:cubicBezTo>
                  <a:pt x="57" y="0"/>
                  <a:pt x="59" y="0"/>
                  <a:pt x="60" y="0"/>
                </a:cubicBezTo>
                <a:cubicBezTo>
                  <a:pt x="61" y="1"/>
                  <a:pt x="62" y="1"/>
                  <a:pt x="63" y="3"/>
                </a:cubicBezTo>
                <a:cubicBezTo>
                  <a:pt x="60" y="5"/>
                  <a:pt x="60" y="5"/>
                  <a:pt x="60" y="5"/>
                </a:cubicBezTo>
                <a:cubicBezTo>
                  <a:pt x="60" y="4"/>
                  <a:pt x="59" y="4"/>
                  <a:pt x="59" y="4"/>
                </a:cubicBezTo>
                <a:cubicBezTo>
                  <a:pt x="59" y="4"/>
                  <a:pt x="58" y="4"/>
                  <a:pt x="58" y="4"/>
                </a:cubicBezTo>
                <a:cubicBezTo>
                  <a:pt x="2" y="37"/>
                  <a:pt x="2" y="37"/>
                  <a:pt x="2" y="37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4" name="Freeform 82">
            <a:extLst>
              <a:ext uri="{FF2B5EF4-FFF2-40B4-BE49-F238E27FC236}">
                <a16:creationId xmlns:a16="http://schemas.microsoft.com/office/drawing/2014/main" id="{3ADE32B2-1F1F-4753-A49F-78C61993323A}"/>
              </a:ext>
            </a:extLst>
          </p:cNvPr>
          <p:cNvSpPr>
            <a:spLocks noEditPoints="1"/>
          </p:cNvSpPr>
          <p:nvPr/>
        </p:nvSpPr>
        <p:spPr bwMode="auto">
          <a:xfrm>
            <a:off x="7670184" y="6352959"/>
            <a:ext cx="7513" cy="6262"/>
          </a:xfrm>
          <a:custGeom>
            <a:avLst/>
            <a:gdLst>
              <a:gd name="T0" fmla="*/ 8 w 15"/>
              <a:gd name="T1" fmla="*/ 13 h 13"/>
              <a:gd name="T2" fmla="*/ 2 w 15"/>
              <a:gd name="T3" fmla="*/ 10 h 13"/>
              <a:gd name="T4" fmla="*/ 4 w 15"/>
              <a:gd name="T5" fmla="*/ 2 h 13"/>
              <a:gd name="T6" fmla="*/ 13 w 15"/>
              <a:gd name="T7" fmla="*/ 4 h 13"/>
              <a:gd name="T8" fmla="*/ 11 w 15"/>
              <a:gd name="T9" fmla="*/ 13 h 13"/>
              <a:gd name="T10" fmla="*/ 8 w 15"/>
              <a:gd name="T11" fmla="*/ 13 h 13"/>
              <a:gd name="T12" fmla="*/ 8 w 15"/>
              <a:gd name="T13" fmla="*/ 5 h 13"/>
              <a:gd name="T14" fmla="*/ 6 w 15"/>
              <a:gd name="T15" fmla="*/ 5 h 13"/>
              <a:gd name="T16" fmla="*/ 6 w 15"/>
              <a:gd name="T17" fmla="*/ 8 h 13"/>
              <a:gd name="T18" fmla="*/ 9 w 15"/>
              <a:gd name="T19" fmla="*/ 9 h 13"/>
              <a:gd name="T20" fmla="*/ 9 w 15"/>
              <a:gd name="T21" fmla="*/ 6 h 13"/>
              <a:gd name="T22" fmla="*/ 8 w 15"/>
              <a:gd name="T23" fmla="*/ 5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5" h="13">
                <a:moveTo>
                  <a:pt x="8" y="13"/>
                </a:moveTo>
                <a:cubicBezTo>
                  <a:pt x="5" y="13"/>
                  <a:pt x="3" y="12"/>
                  <a:pt x="2" y="10"/>
                </a:cubicBezTo>
                <a:cubicBezTo>
                  <a:pt x="0" y="7"/>
                  <a:pt x="1" y="4"/>
                  <a:pt x="4" y="2"/>
                </a:cubicBezTo>
                <a:cubicBezTo>
                  <a:pt x="7" y="0"/>
                  <a:pt x="11" y="1"/>
                  <a:pt x="13" y="4"/>
                </a:cubicBezTo>
                <a:cubicBezTo>
                  <a:pt x="15" y="7"/>
                  <a:pt x="14" y="11"/>
                  <a:pt x="11" y="13"/>
                </a:cubicBezTo>
                <a:cubicBezTo>
                  <a:pt x="10" y="13"/>
                  <a:pt x="9" y="13"/>
                  <a:pt x="8" y="13"/>
                </a:cubicBezTo>
                <a:close/>
                <a:moveTo>
                  <a:pt x="8" y="5"/>
                </a:moveTo>
                <a:cubicBezTo>
                  <a:pt x="7" y="5"/>
                  <a:pt x="7" y="5"/>
                  <a:pt x="6" y="5"/>
                </a:cubicBezTo>
                <a:cubicBezTo>
                  <a:pt x="5" y="6"/>
                  <a:pt x="5" y="7"/>
                  <a:pt x="6" y="8"/>
                </a:cubicBezTo>
                <a:cubicBezTo>
                  <a:pt x="6" y="9"/>
                  <a:pt x="8" y="10"/>
                  <a:pt x="9" y="9"/>
                </a:cubicBezTo>
                <a:cubicBezTo>
                  <a:pt x="10" y="9"/>
                  <a:pt x="10" y="7"/>
                  <a:pt x="9" y="6"/>
                </a:cubicBezTo>
                <a:cubicBezTo>
                  <a:pt x="9" y="5"/>
                  <a:pt x="8" y="5"/>
                  <a:pt x="8" y="5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5" name="Freeform 83">
            <a:extLst>
              <a:ext uri="{FF2B5EF4-FFF2-40B4-BE49-F238E27FC236}">
                <a16:creationId xmlns:a16="http://schemas.microsoft.com/office/drawing/2014/main" id="{3CBDB8F9-6D31-4A6E-90A0-7B2E207FC380}"/>
              </a:ext>
            </a:extLst>
          </p:cNvPr>
          <p:cNvSpPr>
            <a:spLocks noEditPoints="1"/>
          </p:cNvSpPr>
          <p:nvPr/>
        </p:nvSpPr>
        <p:spPr bwMode="auto">
          <a:xfrm>
            <a:off x="7672688" y="6356716"/>
            <a:ext cx="7513" cy="6262"/>
          </a:xfrm>
          <a:custGeom>
            <a:avLst/>
            <a:gdLst>
              <a:gd name="T0" fmla="*/ 7 w 13"/>
              <a:gd name="T1" fmla="*/ 13 h 13"/>
              <a:gd name="T2" fmla="*/ 1 w 13"/>
              <a:gd name="T3" fmla="*/ 10 h 13"/>
              <a:gd name="T4" fmla="*/ 1 w 13"/>
              <a:gd name="T5" fmla="*/ 5 h 13"/>
              <a:gd name="T6" fmla="*/ 4 w 13"/>
              <a:gd name="T7" fmla="*/ 1 h 13"/>
              <a:gd name="T8" fmla="*/ 12 w 13"/>
              <a:gd name="T9" fmla="*/ 3 h 13"/>
              <a:gd name="T10" fmla="*/ 13 w 13"/>
              <a:gd name="T11" fmla="*/ 8 h 13"/>
              <a:gd name="T12" fmla="*/ 10 w 13"/>
              <a:gd name="T13" fmla="*/ 12 h 13"/>
              <a:gd name="T14" fmla="*/ 7 w 13"/>
              <a:gd name="T15" fmla="*/ 13 h 13"/>
              <a:gd name="T16" fmla="*/ 7 w 13"/>
              <a:gd name="T17" fmla="*/ 4 h 13"/>
              <a:gd name="T18" fmla="*/ 6 w 13"/>
              <a:gd name="T19" fmla="*/ 5 h 13"/>
              <a:gd name="T20" fmla="*/ 5 w 13"/>
              <a:gd name="T21" fmla="*/ 6 h 13"/>
              <a:gd name="T22" fmla="*/ 5 w 13"/>
              <a:gd name="T23" fmla="*/ 8 h 13"/>
              <a:gd name="T24" fmla="*/ 8 w 13"/>
              <a:gd name="T25" fmla="*/ 8 h 13"/>
              <a:gd name="T26" fmla="*/ 9 w 13"/>
              <a:gd name="T27" fmla="*/ 7 h 13"/>
              <a:gd name="T28" fmla="*/ 9 w 13"/>
              <a:gd name="T29" fmla="*/ 5 h 13"/>
              <a:gd name="T30" fmla="*/ 7 w 13"/>
              <a:gd name="T31" fmla="*/ 4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3" h="13">
                <a:moveTo>
                  <a:pt x="7" y="13"/>
                </a:moveTo>
                <a:cubicBezTo>
                  <a:pt x="5" y="13"/>
                  <a:pt x="2" y="12"/>
                  <a:pt x="1" y="10"/>
                </a:cubicBezTo>
                <a:cubicBezTo>
                  <a:pt x="1" y="8"/>
                  <a:pt x="0" y="7"/>
                  <a:pt x="1" y="5"/>
                </a:cubicBezTo>
                <a:cubicBezTo>
                  <a:pt x="1" y="3"/>
                  <a:pt x="2" y="2"/>
                  <a:pt x="4" y="1"/>
                </a:cubicBezTo>
                <a:cubicBezTo>
                  <a:pt x="6" y="0"/>
                  <a:pt x="10" y="1"/>
                  <a:pt x="12" y="3"/>
                </a:cubicBezTo>
                <a:cubicBezTo>
                  <a:pt x="13" y="5"/>
                  <a:pt x="13" y="7"/>
                  <a:pt x="13" y="8"/>
                </a:cubicBezTo>
                <a:cubicBezTo>
                  <a:pt x="12" y="10"/>
                  <a:pt x="11" y="11"/>
                  <a:pt x="10" y="12"/>
                </a:cubicBezTo>
                <a:cubicBezTo>
                  <a:pt x="9" y="12"/>
                  <a:pt x="8" y="13"/>
                  <a:pt x="7" y="13"/>
                </a:cubicBezTo>
                <a:close/>
                <a:moveTo>
                  <a:pt x="7" y="4"/>
                </a:moveTo>
                <a:cubicBezTo>
                  <a:pt x="6" y="4"/>
                  <a:pt x="6" y="4"/>
                  <a:pt x="6" y="5"/>
                </a:cubicBezTo>
                <a:cubicBezTo>
                  <a:pt x="5" y="5"/>
                  <a:pt x="5" y="5"/>
                  <a:pt x="5" y="6"/>
                </a:cubicBezTo>
                <a:cubicBezTo>
                  <a:pt x="4" y="7"/>
                  <a:pt x="4" y="7"/>
                  <a:pt x="5" y="8"/>
                </a:cubicBezTo>
                <a:cubicBezTo>
                  <a:pt x="5" y="9"/>
                  <a:pt x="7" y="9"/>
                  <a:pt x="8" y="8"/>
                </a:cubicBezTo>
                <a:cubicBezTo>
                  <a:pt x="8" y="8"/>
                  <a:pt x="9" y="8"/>
                  <a:pt x="9" y="7"/>
                </a:cubicBezTo>
                <a:cubicBezTo>
                  <a:pt x="9" y="7"/>
                  <a:pt x="9" y="6"/>
                  <a:pt x="9" y="5"/>
                </a:cubicBezTo>
                <a:cubicBezTo>
                  <a:pt x="8" y="5"/>
                  <a:pt x="8" y="4"/>
                  <a:pt x="7" y="4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6" name="Freeform 84">
            <a:extLst>
              <a:ext uri="{FF2B5EF4-FFF2-40B4-BE49-F238E27FC236}">
                <a16:creationId xmlns:a16="http://schemas.microsoft.com/office/drawing/2014/main" id="{CE3F047D-2F85-454D-9592-80E7CDA96724}"/>
              </a:ext>
            </a:extLst>
          </p:cNvPr>
          <p:cNvSpPr>
            <a:spLocks/>
          </p:cNvSpPr>
          <p:nvPr/>
        </p:nvSpPr>
        <p:spPr bwMode="auto">
          <a:xfrm>
            <a:off x="7618842" y="6379256"/>
            <a:ext cx="11270" cy="15027"/>
          </a:xfrm>
          <a:custGeom>
            <a:avLst/>
            <a:gdLst>
              <a:gd name="T0" fmla="*/ 6 w 22"/>
              <a:gd name="T1" fmla="*/ 0 h 29"/>
              <a:gd name="T2" fmla="*/ 4 w 22"/>
              <a:gd name="T3" fmla="*/ 20 h 29"/>
              <a:gd name="T4" fmla="*/ 22 w 22"/>
              <a:gd name="T5" fmla="*/ 28 h 29"/>
              <a:gd name="T6" fmla="*/ 6 w 22"/>
              <a:gd name="T7" fmla="*/ 0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" h="29">
                <a:moveTo>
                  <a:pt x="6" y="0"/>
                </a:moveTo>
                <a:cubicBezTo>
                  <a:pt x="1" y="5"/>
                  <a:pt x="0" y="13"/>
                  <a:pt x="4" y="20"/>
                </a:cubicBezTo>
                <a:cubicBezTo>
                  <a:pt x="8" y="26"/>
                  <a:pt x="15" y="29"/>
                  <a:pt x="22" y="28"/>
                </a:cubicBezTo>
                <a:lnTo>
                  <a:pt x="6" y="0"/>
                </a:lnTo>
                <a:close/>
              </a:path>
            </a:pathLst>
          </a:custGeom>
          <a:solidFill>
            <a:srgbClr val="E3F3F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7" name="Freeform 85">
            <a:extLst>
              <a:ext uri="{FF2B5EF4-FFF2-40B4-BE49-F238E27FC236}">
                <a16:creationId xmlns:a16="http://schemas.microsoft.com/office/drawing/2014/main" id="{1AE29D1B-C06A-4AF2-A528-AE3189A3CA72}"/>
              </a:ext>
            </a:extLst>
          </p:cNvPr>
          <p:cNvSpPr>
            <a:spLocks/>
          </p:cNvSpPr>
          <p:nvPr/>
        </p:nvSpPr>
        <p:spPr bwMode="auto">
          <a:xfrm>
            <a:off x="7630112" y="6360472"/>
            <a:ext cx="23793" cy="35063"/>
          </a:xfrm>
          <a:custGeom>
            <a:avLst/>
            <a:gdLst>
              <a:gd name="T0" fmla="*/ 43 w 45"/>
              <a:gd name="T1" fmla="*/ 56 h 67"/>
              <a:gd name="T2" fmla="*/ 14 w 45"/>
              <a:gd name="T3" fmla="*/ 5 h 67"/>
              <a:gd name="T4" fmla="*/ 4 w 45"/>
              <a:gd name="T5" fmla="*/ 2 h 67"/>
              <a:gd name="T6" fmla="*/ 2 w 45"/>
              <a:gd name="T7" fmla="*/ 12 h 67"/>
              <a:gd name="T8" fmla="*/ 31 w 45"/>
              <a:gd name="T9" fmla="*/ 62 h 67"/>
              <a:gd name="T10" fmla="*/ 40 w 45"/>
              <a:gd name="T11" fmla="*/ 65 h 67"/>
              <a:gd name="T12" fmla="*/ 43 w 45"/>
              <a:gd name="T13" fmla="*/ 56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" h="67">
                <a:moveTo>
                  <a:pt x="43" y="56"/>
                </a:moveTo>
                <a:cubicBezTo>
                  <a:pt x="14" y="5"/>
                  <a:pt x="14" y="5"/>
                  <a:pt x="14" y="5"/>
                </a:cubicBezTo>
                <a:cubicBezTo>
                  <a:pt x="12" y="1"/>
                  <a:pt x="7" y="0"/>
                  <a:pt x="4" y="2"/>
                </a:cubicBezTo>
                <a:cubicBezTo>
                  <a:pt x="1" y="4"/>
                  <a:pt x="0" y="8"/>
                  <a:pt x="2" y="12"/>
                </a:cubicBezTo>
                <a:cubicBezTo>
                  <a:pt x="31" y="62"/>
                  <a:pt x="31" y="62"/>
                  <a:pt x="31" y="62"/>
                </a:cubicBezTo>
                <a:cubicBezTo>
                  <a:pt x="33" y="66"/>
                  <a:pt x="37" y="67"/>
                  <a:pt x="40" y="65"/>
                </a:cubicBezTo>
                <a:cubicBezTo>
                  <a:pt x="44" y="63"/>
                  <a:pt x="45" y="59"/>
                  <a:pt x="43" y="56"/>
                </a:cubicBez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8" name="Freeform 86">
            <a:extLst>
              <a:ext uri="{FF2B5EF4-FFF2-40B4-BE49-F238E27FC236}">
                <a16:creationId xmlns:a16="http://schemas.microsoft.com/office/drawing/2014/main" id="{8DFE23F2-D25A-4E03-9179-AA5D959F28B2}"/>
              </a:ext>
            </a:extLst>
          </p:cNvPr>
          <p:cNvSpPr>
            <a:spLocks/>
          </p:cNvSpPr>
          <p:nvPr/>
        </p:nvSpPr>
        <p:spPr bwMode="auto">
          <a:xfrm>
            <a:off x="7623851" y="6364229"/>
            <a:ext cx="23793" cy="35063"/>
          </a:xfrm>
          <a:custGeom>
            <a:avLst/>
            <a:gdLst>
              <a:gd name="T0" fmla="*/ 43 w 45"/>
              <a:gd name="T1" fmla="*/ 55 h 67"/>
              <a:gd name="T2" fmla="*/ 14 w 45"/>
              <a:gd name="T3" fmla="*/ 5 h 67"/>
              <a:gd name="T4" fmla="*/ 4 w 45"/>
              <a:gd name="T5" fmla="*/ 2 h 67"/>
              <a:gd name="T6" fmla="*/ 2 w 45"/>
              <a:gd name="T7" fmla="*/ 12 h 67"/>
              <a:gd name="T8" fmla="*/ 31 w 45"/>
              <a:gd name="T9" fmla="*/ 62 h 67"/>
              <a:gd name="T10" fmla="*/ 40 w 45"/>
              <a:gd name="T11" fmla="*/ 65 h 67"/>
              <a:gd name="T12" fmla="*/ 43 w 45"/>
              <a:gd name="T13" fmla="*/ 55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" h="67">
                <a:moveTo>
                  <a:pt x="43" y="55"/>
                </a:moveTo>
                <a:cubicBezTo>
                  <a:pt x="14" y="5"/>
                  <a:pt x="14" y="5"/>
                  <a:pt x="14" y="5"/>
                </a:cubicBezTo>
                <a:cubicBezTo>
                  <a:pt x="12" y="1"/>
                  <a:pt x="7" y="0"/>
                  <a:pt x="4" y="2"/>
                </a:cubicBezTo>
                <a:cubicBezTo>
                  <a:pt x="1" y="4"/>
                  <a:pt x="0" y="8"/>
                  <a:pt x="2" y="12"/>
                </a:cubicBezTo>
                <a:cubicBezTo>
                  <a:pt x="31" y="62"/>
                  <a:pt x="31" y="62"/>
                  <a:pt x="31" y="62"/>
                </a:cubicBezTo>
                <a:cubicBezTo>
                  <a:pt x="33" y="66"/>
                  <a:pt x="37" y="67"/>
                  <a:pt x="40" y="65"/>
                </a:cubicBezTo>
                <a:cubicBezTo>
                  <a:pt x="44" y="63"/>
                  <a:pt x="45" y="59"/>
                  <a:pt x="43" y="55"/>
                </a:cubicBezTo>
                <a:close/>
              </a:path>
            </a:pathLst>
          </a:custGeom>
          <a:solidFill>
            <a:srgbClr val="E3F3F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9" name="Freeform 87">
            <a:extLst>
              <a:ext uri="{FF2B5EF4-FFF2-40B4-BE49-F238E27FC236}">
                <a16:creationId xmlns:a16="http://schemas.microsoft.com/office/drawing/2014/main" id="{7CE577F4-E946-414F-AF1C-AC08C5B574B1}"/>
              </a:ext>
            </a:extLst>
          </p:cNvPr>
          <p:cNvSpPr>
            <a:spLocks/>
          </p:cNvSpPr>
          <p:nvPr/>
        </p:nvSpPr>
        <p:spPr bwMode="auto">
          <a:xfrm>
            <a:off x="7617590" y="6367986"/>
            <a:ext cx="23793" cy="35063"/>
          </a:xfrm>
          <a:custGeom>
            <a:avLst/>
            <a:gdLst>
              <a:gd name="T0" fmla="*/ 43 w 45"/>
              <a:gd name="T1" fmla="*/ 55 h 67"/>
              <a:gd name="T2" fmla="*/ 14 w 45"/>
              <a:gd name="T3" fmla="*/ 5 h 67"/>
              <a:gd name="T4" fmla="*/ 4 w 45"/>
              <a:gd name="T5" fmla="*/ 2 h 67"/>
              <a:gd name="T6" fmla="*/ 1 w 45"/>
              <a:gd name="T7" fmla="*/ 11 h 67"/>
              <a:gd name="T8" fmla="*/ 31 w 45"/>
              <a:gd name="T9" fmla="*/ 62 h 67"/>
              <a:gd name="T10" fmla="*/ 40 w 45"/>
              <a:gd name="T11" fmla="*/ 65 h 67"/>
              <a:gd name="T12" fmla="*/ 43 w 45"/>
              <a:gd name="T13" fmla="*/ 55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" h="67">
                <a:moveTo>
                  <a:pt x="43" y="55"/>
                </a:moveTo>
                <a:cubicBezTo>
                  <a:pt x="14" y="5"/>
                  <a:pt x="14" y="5"/>
                  <a:pt x="14" y="5"/>
                </a:cubicBezTo>
                <a:cubicBezTo>
                  <a:pt x="12" y="1"/>
                  <a:pt x="7" y="0"/>
                  <a:pt x="4" y="2"/>
                </a:cubicBezTo>
                <a:cubicBezTo>
                  <a:pt x="1" y="4"/>
                  <a:pt x="0" y="8"/>
                  <a:pt x="1" y="11"/>
                </a:cubicBezTo>
                <a:cubicBezTo>
                  <a:pt x="31" y="62"/>
                  <a:pt x="31" y="62"/>
                  <a:pt x="31" y="62"/>
                </a:cubicBezTo>
                <a:cubicBezTo>
                  <a:pt x="33" y="66"/>
                  <a:pt x="37" y="67"/>
                  <a:pt x="40" y="65"/>
                </a:cubicBezTo>
                <a:cubicBezTo>
                  <a:pt x="44" y="63"/>
                  <a:pt x="45" y="59"/>
                  <a:pt x="43" y="55"/>
                </a:cubicBez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0" name="Freeform 88">
            <a:extLst>
              <a:ext uri="{FF2B5EF4-FFF2-40B4-BE49-F238E27FC236}">
                <a16:creationId xmlns:a16="http://schemas.microsoft.com/office/drawing/2014/main" id="{A60E23F8-F4FA-414B-BD19-C4749C804BF2}"/>
              </a:ext>
            </a:extLst>
          </p:cNvPr>
          <p:cNvSpPr>
            <a:spLocks/>
          </p:cNvSpPr>
          <p:nvPr/>
        </p:nvSpPr>
        <p:spPr bwMode="auto">
          <a:xfrm>
            <a:off x="7682706" y="6301618"/>
            <a:ext cx="97674" cy="98927"/>
          </a:xfrm>
          <a:custGeom>
            <a:avLst/>
            <a:gdLst>
              <a:gd name="T0" fmla="*/ 185 w 187"/>
              <a:gd name="T1" fmla="*/ 116 h 188"/>
              <a:gd name="T2" fmla="*/ 130 w 187"/>
              <a:gd name="T3" fmla="*/ 27 h 188"/>
              <a:gd name="T4" fmla="*/ 21 w 187"/>
              <a:gd name="T5" fmla="*/ 55 h 188"/>
              <a:gd name="T6" fmla="*/ 51 w 187"/>
              <a:gd name="T7" fmla="*/ 163 h 188"/>
              <a:gd name="T8" fmla="*/ 157 w 187"/>
              <a:gd name="T9" fmla="*/ 168 h 188"/>
              <a:gd name="T10" fmla="*/ 157 w 187"/>
              <a:gd name="T11" fmla="*/ 168 h 188"/>
              <a:gd name="T12" fmla="*/ 157 w 187"/>
              <a:gd name="T13" fmla="*/ 168 h 188"/>
              <a:gd name="T14" fmla="*/ 187 w 187"/>
              <a:gd name="T15" fmla="*/ 117 h 188"/>
              <a:gd name="T16" fmla="*/ 186 w 187"/>
              <a:gd name="T17" fmla="*/ 117 h 188"/>
              <a:gd name="T18" fmla="*/ 186 w 187"/>
              <a:gd name="T19" fmla="*/ 117 h 188"/>
              <a:gd name="T20" fmla="*/ 185 w 187"/>
              <a:gd name="T21" fmla="*/ 116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87" h="188">
                <a:moveTo>
                  <a:pt x="185" y="116"/>
                </a:moveTo>
                <a:cubicBezTo>
                  <a:pt x="163" y="101"/>
                  <a:pt x="172" y="51"/>
                  <a:pt x="130" y="27"/>
                </a:cubicBezTo>
                <a:cubicBezTo>
                  <a:pt x="83" y="0"/>
                  <a:pt x="41" y="19"/>
                  <a:pt x="21" y="55"/>
                </a:cubicBezTo>
                <a:cubicBezTo>
                  <a:pt x="0" y="90"/>
                  <a:pt x="4" y="136"/>
                  <a:pt x="51" y="163"/>
                </a:cubicBezTo>
                <a:cubicBezTo>
                  <a:pt x="94" y="188"/>
                  <a:pt x="133" y="154"/>
                  <a:pt x="157" y="168"/>
                </a:cubicBezTo>
                <a:cubicBezTo>
                  <a:pt x="157" y="168"/>
                  <a:pt x="157" y="168"/>
                  <a:pt x="157" y="168"/>
                </a:cubicBezTo>
                <a:cubicBezTo>
                  <a:pt x="157" y="168"/>
                  <a:pt x="157" y="168"/>
                  <a:pt x="157" y="168"/>
                </a:cubicBezTo>
                <a:cubicBezTo>
                  <a:pt x="159" y="164"/>
                  <a:pt x="185" y="120"/>
                  <a:pt x="187" y="117"/>
                </a:cubicBezTo>
                <a:cubicBezTo>
                  <a:pt x="186" y="117"/>
                  <a:pt x="186" y="117"/>
                  <a:pt x="186" y="117"/>
                </a:cubicBezTo>
                <a:cubicBezTo>
                  <a:pt x="186" y="117"/>
                  <a:pt x="186" y="117"/>
                  <a:pt x="186" y="117"/>
                </a:cubicBezTo>
                <a:cubicBezTo>
                  <a:pt x="186" y="116"/>
                  <a:pt x="186" y="116"/>
                  <a:pt x="185" y="11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1" name="Freeform 89">
            <a:extLst>
              <a:ext uri="{FF2B5EF4-FFF2-40B4-BE49-F238E27FC236}">
                <a16:creationId xmlns:a16="http://schemas.microsoft.com/office/drawing/2014/main" id="{9AB56C55-28A9-43FD-9FA0-75BCD1F3B544}"/>
              </a:ext>
            </a:extLst>
          </p:cNvPr>
          <p:cNvSpPr>
            <a:spLocks/>
          </p:cNvSpPr>
          <p:nvPr/>
        </p:nvSpPr>
        <p:spPr bwMode="auto">
          <a:xfrm>
            <a:off x="7742813" y="6351707"/>
            <a:ext cx="32558" cy="20036"/>
          </a:xfrm>
          <a:custGeom>
            <a:avLst/>
            <a:gdLst>
              <a:gd name="T0" fmla="*/ 62 w 64"/>
              <a:gd name="T1" fmla="*/ 38 h 38"/>
              <a:gd name="T2" fmla="*/ 5 w 64"/>
              <a:gd name="T3" fmla="*/ 5 h 38"/>
              <a:gd name="T4" fmla="*/ 3 w 64"/>
              <a:gd name="T5" fmla="*/ 6 h 38"/>
              <a:gd name="T6" fmla="*/ 0 w 64"/>
              <a:gd name="T7" fmla="*/ 4 h 38"/>
              <a:gd name="T8" fmla="*/ 7 w 64"/>
              <a:gd name="T9" fmla="*/ 2 h 38"/>
              <a:gd name="T10" fmla="*/ 64 w 64"/>
              <a:gd name="T11" fmla="*/ 34 h 38"/>
              <a:gd name="T12" fmla="*/ 62 w 64"/>
              <a:gd name="T13" fmla="*/ 38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4" h="38">
                <a:moveTo>
                  <a:pt x="62" y="38"/>
                </a:moveTo>
                <a:cubicBezTo>
                  <a:pt x="5" y="5"/>
                  <a:pt x="5" y="5"/>
                  <a:pt x="5" y="5"/>
                </a:cubicBezTo>
                <a:cubicBezTo>
                  <a:pt x="4" y="5"/>
                  <a:pt x="4" y="5"/>
                  <a:pt x="3" y="6"/>
                </a:cubicBezTo>
                <a:cubicBezTo>
                  <a:pt x="0" y="4"/>
                  <a:pt x="0" y="4"/>
                  <a:pt x="0" y="4"/>
                </a:cubicBezTo>
                <a:cubicBezTo>
                  <a:pt x="1" y="1"/>
                  <a:pt x="5" y="0"/>
                  <a:pt x="7" y="2"/>
                </a:cubicBezTo>
                <a:cubicBezTo>
                  <a:pt x="64" y="34"/>
                  <a:pt x="64" y="34"/>
                  <a:pt x="64" y="34"/>
                </a:cubicBezTo>
                <a:cubicBezTo>
                  <a:pt x="62" y="38"/>
                  <a:pt x="62" y="38"/>
                  <a:pt x="62" y="38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2" name="Freeform 90">
            <a:extLst>
              <a:ext uri="{FF2B5EF4-FFF2-40B4-BE49-F238E27FC236}">
                <a16:creationId xmlns:a16="http://schemas.microsoft.com/office/drawing/2014/main" id="{E5FE9284-95EC-49BA-9E56-F47B628DC20F}"/>
              </a:ext>
            </a:extLst>
          </p:cNvPr>
          <p:cNvSpPr>
            <a:spLocks/>
          </p:cNvSpPr>
          <p:nvPr/>
        </p:nvSpPr>
        <p:spPr bwMode="auto">
          <a:xfrm>
            <a:off x="7737804" y="6361725"/>
            <a:ext cx="31306" cy="20036"/>
          </a:xfrm>
          <a:custGeom>
            <a:avLst/>
            <a:gdLst>
              <a:gd name="T0" fmla="*/ 60 w 62"/>
              <a:gd name="T1" fmla="*/ 40 h 40"/>
              <a:gd name="T2" fmla="*/ 3 w 62"/>
              <a:gd name="T3" fmla="*/ 7 h 40"/>
              <a:gd name="T4" fmla="*/ 2 w 62"/>
              <a:gd name="T5" fmla="*/ 0 h 40"/>
              <a:gd name="T6" fmla="*/ 5 w 62"/>
              <a:gd name="T7" fmla="*/ 2 h 40"/>
              <a:gd name="T8" fmla="*/ 5 w 62"/>
              <a:gd name="T9" fmla="*/ 4 h 40"/>
              <a:gd name="T10" fmla="*/ 62 w 62"/>
              <a:gd name="T11" fmla="*/ 36 h 40"/>
              <a:gd name="T12" fmla="*/ 60 w 62"/>
              <a:gd name="T13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2" h="40">
                <a:moveTo>
                  <a:pt x="60" y="40"/>
                </a:moveTo>
                <a:cubicBezTo>
                  <a:pt x="3" y="7"/>
                  <a:pt x="3" y="7"/>
                  <a:pt x="3" y="7"/>
                </a:cubicBezTo>
                <a:cubicBezTo>
                  <a:pt x="1" y="6"/>
                  <a:pt x="0" y="3"/>
                  <a:pt x="2" y="0"/>
                </a:cubicBezTo>
                <a:cubicBezTo>
                  <a:pt x="5" y="2"/>
                  <a:pt x="5" y="2"/>
                  <a:pt x="5" y="2"/>
                </a:cubicBezTo>
                <a:cubicBezTo>
                  <a:pt x="5" y="3"/>
                  <a:pt x="5" y="3"/>
                  <a:pt x="5" y="4"/>
                </a:cubicBezTo>
                <a:cubicBezTo>
                  <a:pt x="62" y="36"/>
                  <a:pt x="62" y="36"/>
                  <a:pt x="62" y="36"/>
                </a:cubicBezTo>
                <a:cubicBezTo>
                  <a:pt x="60" y="40"/>
                  <a:pt x="60" y="40"/>
                  <a:pt x="60" y="40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3" name="Freeform 91">
            <a:extLst>
              <a:ext uri="{FF2B5EF4-FFF2-40B4-BE49-F238E27FC236}">
                <a16:creationId xmlns:a16="http://schemas.microsoft.com/office/drawing/2014/main" id="{D831A9E8-0DAD-4F9A-BF80-B61FF6F8A2CB}"/>
              </a:ext>
            </a:extLst>
          </p:cNvPr>
          <p:cNvSpPr>
            <a:spLocks noEditPoints="1"/>
          </p:cNvSpPr>
          <p:nvPr/>
        </p:nvSpPr>
        <p:spPr bwMode="auto">
          <a:xfrm>
            <a:off x="7736552" y="6356716"/>
            <a:ext cx="7513" cy="6262"/>
          </a:xfrm>
          <a:custGeom>
            <a:avLst/>
            <a:gdLst>
              <a:gd name="T0" fmla="*/ 7 w 15"/>
              <a:gd name="T1" fmla="*/ 14 h 14"/>
              <a:gd name="T2" fmla="*/ 4 w 15"/>
              <a:gd name="T3" fmla="*/ 13 h 14"/>
              <a:gd name="T4" fmla="*/ 2 w 15"/>
              <a:gd name="T5" fmla="*/ 4 h 14"/>
              <a:gd name="T6" fmla="*/ 11 w 15"/>
              <a:gd name="T7" fmla="*/ 2 h 14"/>
              <a:gd name="T8" fmla="*/ 13 w 15"/>
              <a:gd name="T9" fmla="*/ 11 h 14"/>
              <a:gd name="T10" fmla="*/ 7 w 15"/>
              <a:gd name="T11" fmla="*/ 14 h 14"/>
              <a:gd name="T12" fmla="*/ 7 w 15"/>
              <a:gd name="T13" fmla="*/ 5 h 14"/>
              <a:gd name="T14" fmla="*/ 6 w 15"/>
              <a:gd name="T15" fmla="*/ 6 h 14"/>
              <a:gd name="T16" fmla="*/ 6 w 15"/>
              <a:gd name="T17" fmla="*/ 9 h 14"/>
              <a:gd name="T18" fmla="*/ 9 w 15"/>
              <a:gd name="T19" fmla="*/ 9 h 14"/>
              <a:gd name="T20" fmla="*/ 9 w 15"/>
              <a:gd name="T21" fmla="*/ 6 h 14"/>
              <a:gd name="T22" fmla="*/ 7 w 15"/>
              <a:gd name="T23" fmla="*/ 5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5" h="14">
                <a:moveTo>
                  <a:pt x="7" y="14"/>
                </a:moveTo>
                <a:cubicBezTo>
                  <a:pt x="6" y="14"/>
                  <a:pt x="5" y="13"/>
                  <a:pt x="4" y="13"/>
                </a:cubicBezTo>
                <a:cubicBezTo>
                  <a:pt x="1" y="11"/>
                  <a:pt x="0" y="7"/>
                  <a:pt x="2" y="4"/>
                </a:cubicBezTo>
                <a:cubicBezTo>
                  <a:pt x="4" y="2"/>
                  <a:pt x="8" y="0"/>
                  <a:pt x="11" y="2"/>
                </a:cubicBezTo>
                <a:cubicBezTo>
                  <a:pt x="13" y="4"/>
                  <a:pt x="15" y="8"/>
                  <a:pt x="13" y="11"/>
                </a:cubicBezTo>
                <a:cubicBezTo>
                  <a:pt x="12" y="13"/>
                  <a:pt x="10" y="14"/>
                  <a:pt x="7" y="14"/>
                </a:cubicBezTo>
                <a:close/>
                <a:moveTo>
                  <a:pt x="7" y="5"/>
                </a:moveTo>
                <a:cubicBezTo>
                  <a:pt x="7" y="5"/>
                  <a:pt x="6" y="6"/>
                  <a:pt x="6" y="6"/>
                </a:cubicBezTo>
                <a:cubicBezTo>
                  <a:pt x="5" y="7"/>
                  <a:pt x="5" y="9"/>
                  <a:pt x="6" y="9"/>
                </a:cubicBezTo>
                <a:cubicBezTo>
                  <a:pt x="7" y="10"/>
                  <a:pt x="9" y="10"/>
                  <a:pt x="9" y="9"/>
                </a:cubicBezTo>
                <a:cubicBezTo>
                  <a:pt x="10" y="8"/>
                  <a:pt x="10" y="6"/>
                  <a:pt x="9" y="6"/>
                </a:cubicBezTo>
                <a:cubicBezTo>
                  <a:pt x="8" y="5"/>
                  <a:pt x="8" y="5"/>
                  <a:pt x="7" y="5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4" name="Freeform 92">
            <a:extLst>
              <a:ext uri="{FF2B5EF4-FFF2-40B4-BE49-F238E27FC236}">
                <a16:creationId xmlns:a16="http://schemas.microsoft.com/office/drawing/2014/main" id="{017549C1-6197-41DF-9069-A4DB9F33F638}"/>
              </a:ext>
            </a:extLst>
          </p:cNvPr>
          <p:cNvSpPr>
            <a:spLocks noEditPoints="1"/>
          </p:cNvSpPr>
          <p:nvPr/>
        </p:nvSpPr>
        <p:spPr bwMode="auto">
          <a:xfrm>
            <a:off x="7739056" y="6352959"/>
            <a:ext cx="6262" cy="6262"/>
          </a:xfrm>
          <a:custGeom>
            <a:avLst/>
            <a:gdLst>
              <a:gd name="T0" fmla="*/ 7 w 13"/>
              <a:gd name="T1" fmla="*/ 13 h 13"/>
              <a:gd name="T2" fmla="*/ 4 w 13"/>
              <a:gd name="T3" fmla="*/ 13 h 13"/>
              <a:gd name="T4" fmla="*/ 1 w 13"/>
              <a:gd name="T5" fmla="*/ 9 h 13"/>
              <a:gd name="T6" fmla="*/ 1 w 13"/>
              <a:gd name="T7" fmla="*/ 4 h 13"/>
              <a:gd name="T8" fmla="*/ 10 w 13"/>
              <a:gd name="T9" fmla="*/ 2 h 13"/>
              <a:gd name="T10" fmla="*/ 13 w 13"/>
              <a:gd name="T11" fmla="*/ 6 h 13"/>
              <a:gd name="T12" fmla="*/ 12 w 13"/>
              <a:gd name="T13" fmla="*/ 10 h 13"/>
              <a:gd name="T14" fmla="*/ 7 w 13"/>
              <a:gd name="T15" fmla="*/ 13 h 13"/>
              <a:gd name="T16" fmla="*/ 7 w 13"/>
              <a:gd name="T17" fmla="*/ 5 h 13"/>
              <a:gd name="T18" fmla="*/ 5 w 13"/>
              <a:gd name="T19" fmla="*/ 6 h 13"/>
              <a:gd name="T20" fmla="*/ 4 w 13"/>
              <a:gd name="T21" fmla="*/ 8 h 13"/>
              <a:gd name="T22" fmla="*/ 6 w 13"/>
              <a:gd name="T23" fmla="*/ 9 h 13"/>
              <a:gd name="T24" fmla="*/ 9 w 13"/>
              <a:gd name="T25" fmla="*/ 8 h 13"/>
              <a:gd name="T26" fmla="*/ 9 w 13"/>
              <a:gd name="T27" fmla="*/ 7 h 13"/>
              <a:gd name="T28" fmla="*/ 8 w 13"/>
              <a:gd name="T29" fmla="*/ 5 h 13"/>
              <a:gd name="T30" fmla="*/ 7 w 13"/>
              <a:gd name="T31" fmla="*/ 5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3" h="13">
                <a:moveTo>
                  <a:pt x="7" y="13"/>
                </a:moveTo>
                <a:cubicBezTo>
                  <a:pt x="6" y="13"/>
                  <a:pt x="4" y="13"/>
                  <a:pt x="4" y="13"/>
                </a:cubicBezTo>
                <a:cubicBezTo>
                  <a:pt x="2" y="12"/>
                  <a:pt x="1" y="10"/>
                  <a:pt x="1" y="9"/>
                </a:cubicBezTo>
                <a:cubicBezTo>
                  <a:pt x="0" y="7"/>
                  <a:pt x="0" y="6"/>
                  <a:pt x="1" y="4"/>
                </a:cubicBezTo>
                <a:cubicBezTo>
                  <a:pt x="3" y="1"/>
                  <a:pt x="7" y="0"/>
                  <a:pt x="10" y="2"/>
                </a:cubicBezTo>
                <a:cubicBezTo>
                  <a:pt x="11" y="3"/>
                  <a:pt x="12" y="4"/>
                  <a:pt x="13" y="6"/>
                </a:cubicBezTo>
                <a:cubicBezTo>
                  <a:pt x="13" y="7"/>
                  <a:pt x="13" y="9"/>
                  <a:pt x="12" y="10"/>
                </a:cubicBezTo>
                <a:cubicBezTo>
                  <a:pt x="11" y="12"/>
                  <a:pt x="9" y="13"/>
                  <a:pt x="7" y="13"/>
                </a:cubicBezTo>
                <a:close/>
                <a:moveTo>
                  <a:pt x="7" y="5"/>
                </a:moveTo>
                <a:cubicBezTo>
                  <a:pt x="6" y="5"/>
                  <a:pt x="5" y="5"/>
                  <a:pt x="5" y="6"/>
                </a:cubicBezTo>
                <a:cubicBezTo>
                  <a:pt x="4" y="7"/>
                  <a:pt x="4" y="7"/>
                  <a:pt x="4" y="8"/>
                </a:cubicBezTo>
                <a:cubicBezTo>
                  <a:pt x="5" y="8"/>
                  <a:pt x="5" y="9"/>
                  <a:pt x="6" y="9"/>
                </a:cubicBezTo>
                <a:cubicBezTo>
                  <a:pt x="7" y="10"/>
                  <a:pt x="8" y="9"/>
                  <a:pt x="9" y="8"/>
                </a:cubicBezTo>
                <a:cubicBezTo>
                  <a:pt x="9" y="8"/>
                  <a:pt x="9" y="7"/>
                  <a:pt x="9" y="7"/>
                </a:cubicBezTo>
                <a:cubicBezTo>
                  <a:pt x="9" y="6"/>
                  <a:pt x="8" y="6"/>
                  <a:pt x="8" y="5"/>
                </a:cubicBezTo>
                <a:cubicBezTo>
                  <a:pt x="7" y="5"/>
                  <a:pt x="7" y="5"/>
                  <a:pt x="7" y="5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5" name="Freeform 93">
            <a:extLst>
              <a:ext uri="{FF2B5EF4-FFF2-40B4-BE49-F238E27FC236}">
                <a16:creationId xmlns:a16="http://schemas.microsoft.com/office/drawing/2014/main" id="{50AC7D28-934F-4AB3-BF73-AFED2E65B384}"/>
              </a:ext>
            </a:extLst>
          </p:cNvPr>
          <p:cNvSpPr>
            <a:spLocks/>
          </p:cNvSpPr>
          <p:nvPr/>
        </p:nvSpPr>
        <p:spPr bwMode="auto">
          <a:xfrm>
            <a:off x="7786641" y="6379256"/>
            <a:ext cx="11270" cy="15027"/>
          </a:xfrm>
          <a:custGeom>
            <a:avLst/>
            <a:gdLst>
              <a:gd name="T0" fmla="*/ 0 w 22"/>
              <a:gd name="T1" fmla="*/ 28 h 29"/>
              <a:gd name="T2" fmla="*/ 18 w 22"/>
              <a:gd name="T3" fmla="*/ 20 h 29"/>
              <a:gd name="T4" fmla="*/ 16 w 22"/>
              <a:gd name="T5" fmla="*/ 0 h 29"/>
              <a:gd name="T6" fmla="*/ 0 w 22"/>
              <a:gd name="T7" fmla="*/ 28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" h="29">
                <a:moveTo>
                  <a:pt x="0" y="28"/>
                </a:moveTo>
                <a:cubicBezTo>
                  <a:pt x="7" y="29"/>
                  <a:pt x="14" y="26"/>
                  <a:pt x="18" y="20"/>
                </a:cubicBezTo>
                <a:cubicBezTo>
                  <a:pt x="22" y="13"/>
                  <a:pt x="21" y="5"/>
                  <a:pt x="16" y="0"/>
                </a:cubicBezTo>
                <a:lnTo>
                  <a:pt x="0" y="28"/>
                </a:lnTo>
                <a:close/>
              </a:path>
            </a:pathLst>
          </a:custGeom>
          <a:solidFill>
            <a:srgbClr val="E3F3F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6" name="Freeform 94">
            <a:extLst>
              <a:ext uri="{FF2B5EF4-FFF2-40B4-BE49-F238E27FC236}">
                <a16:creationId xmlns:a16="http://schemas.microsoft.com/office/drawing/2014/main" id="{3C9B5E29-36CF-4DD8-91E2-C889CD1F3EDC}"/>
              </a:ext>
            </a:extLst>
          </p:cNvPr>
          <p:cNvSpPr>
            <a:spLocks/>
          </p:cNvSpPr>
          <p:nvPr/>
        </p:nvSpPr>
        <p:spPr bwMode="auto">
          <a:xfrm>
            <a:off x="7764101" y="6360472"/>
            <a:ext cx="22540" cy="35063"/>
          </a:xfrm>
          <a:custGeom>
            <a:avLst/>
            <a:gdLst>
              <a:gd name="T0" fmla="*/ 32 w 45"/>
              <a:gd name="T1" fmla="*/ 5 h 67"/>
              <a:gd name="T2" fmla="*/ 2 w 45"/>
              <a:gd name="T3" fmla="*/ 56 h 67"/>
              <a:gd name="T4" fmla="*/ 5 w 45"/>
              <a:gd name="T5" fmla="*/ 65 h 67"/>
              <a:gd name="T6" fmla="*/ 14 w 45"/>
              <a:gd name="T7" fmla="*/ 63 h 67"/>
              <a:gd name="T8" fmla="*/ 44 w 45"/>
              <a:gd name="T9" fmla="*/ 12 h 67"/>
              <a:gd name="T10" fmla="*/ 41 w 45"/>
              <a:gd name="T11" fmla="*/ 2 h 67"/>
              <a:gd name="T12" fmla="*/ 32 w 45"/>
              <a:gd name="T13" fmla="*/ 5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" h="67">
                <a:moveTo>
                  <a:pt x="32" y="5"/>
                </a:moveTo>
                <a:cubicBezTo>
                  <a:pt x="2" y="56"/>
                  <a:pt x="2" y="56"/>
                  <a:pt x="2" y="56"/>
                </a:cubicBezTo>
                <a:cubicBezTo>
                  <a:pt x="0" y="59"/>
                  <a:pt x="1" y="63"/>
                  <a:pt x="5" y="65"/>
                </a:cubicBezTo>
                <a:cubicBezTo>
                  <a:pt x="8" y="67"/>
                  <a:pt x="12" y="66"/>
                  <a:pt x="14" y="63"/>
                </a:cubicBezTo>
                <a:cubicBezTo>
                  <a:pt x="44" y="12"/>
                  <a:pt x="44" y="12"/>
                  <a:pt x="44" y="12"/>
                </a:cubicBezTo>
                <a:cubicBezTo>
                  <a:pt x="45" y="8"/>
                  <a:pt x="44" y="4"/>
                  <a:pt x="41" y="2"/>
                </a:cubicBezTo>
                <a:cubicBezTo>
                  <a:pt x="38" y="0"/>
                  <a:pt x="33" y="1"/>
                  <a:pt x="32" y="5"/>
                </a:cubicBez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7" name="Freeform 95">
            <a:extLst>
              <a:ext uri="{FF2B5EF4-FFF2-40B4-BE49-F238E27FC236}">
                <a16:creationId xmlns:a16="http://schemas.microsoft.com/office/drawing/2014/main" id="{0E618BDC-5BFD-4073-99C8-36CB23077BE5}"/>
              </a:ext>
            </a:extLst>
          </p:cNvPr>
          <p:cNvSpPr>
            <a:spLocks/>
          </p:cNvSpPr>
          <p:nvPr/>
        </p:nvSpPr>
        <p:spPr bwMode="auto">
          <a:xfrm>
            <a:off x="7769110" y="6364229"/>
            <a:ext cx="25045" cy="35063"/>
          </a:xfrm>
          <a:custGeom>
            <a:avLst/>
            <a:gdLst>
              <a:gd name="T0" fmla="*/ 32 w 46"/>
              <a:gd name="T1" fmla="*/ 5 h 67"/>
              <a:gd name="T2" fmla="*/ 2 w 46"/>
              <a:gd name="T3" fmla="*/ 56 h 67"/>
              <a:gd name="T4" fmla="*/ 5 w 46"/>
              <a:gd name="T5" fmla="*/ 65 h 67"/>
              <a:gd name="T6" fmla="*/ 14 w 46"/>
              <a:gd name="T7" fmla="*/ 62 h 67"/>
              <a:gd name="T8" fmla="*/ 44 w 46"/>
              <a:gd name="T9" fmla="*/ 12 h 67"/>
              <a:gd name="T10" fmla="*/ 41 w 46"/>
              <a:gd name="T11" fmla="*/ 2 h 67"/>
              <a:gd name="T12" fmla="*/ 32 w 46"/>
              <a:gd name="T13" fmla="*/ 5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6" h="67">
                <a:moveTo>
                  <a:pt x="32" y="5"/>
                </a:moveTo>
                <a:cubicBezTo>
                  <a:pt x="2" y="56"/>
                  <a:pt x="2" y="56"/>
                  <a:pt x="2" y="56"/>
                </a:cubicBezTo>
                <a:cubicBezTo>
                  <a:pt x="0" y="59"/>
                  <a:pt x="1" y="63"/>
                  <a:pt x="5" y="65"/>
                </a:cubicBezTo>
                <a:cubicBezTo>
                  <a:pt x="8" y="67"/>
                  <a:pt x="12" y="66"/>
                  <a:pt x="14" y="62"/>
                </a:cubicBezTo>
                <a:cubicBezTo>
                  <a:pt x="44" y="12"/>
                  <a:pt x="44" y="12"/>
                  <a:pt x="44" y="12"/>
                </a:cubicBezTo>
                <a:cubicBezTo>
                  <a:pt x="46" y="8"/>
                  <a:pt x="44" y="4"/>
                  <a:pt x="41" y="2"/>
                </a:cubicBezTo>
                <a:cubicBezTo>
                  <a:pt x="38" y="0"/>
                  <a:pt x="33" y="1"/>
                  <a:pt x="32" y="5"/>
                </a:cubicBezTo>
                <a:close/>
              </a:path>
            </a:pathLst>
          </a:custGeom>
          <a:solidFill>
            <a:srgbClr val="E3F3F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8" name="Freeform 96">
            <a:extLst>
              <a:ext uri="{FF2B5EF4-FFF2-40B4-BE49-F238E27FC236}">
                <a16:creationId xmlns:a16="http://schemas.microsoft.com/office/drawing/2014/main" id="{33E99313-F39D-4861-93D8-2957187AFBE3}"/>
              </a:ext>
            </a:extLst>
          </p:cNvPr>
          <p:cNvSpPr>
            <a:spLocks/>
          </p:cNvSpPr>
          <p:nvPr/>
        </p:nvSpPr>
        <p:spPr bwMode="auto">
          <a:xfrm>
            <a:off x="7775371" y="6367986"/>
            <a:ext cx="25045" cy="35063"/>
          </a:xfrm>
          <a:custGeom>
            <a:avLst/>
            <a:gdLst>
              <a:gd name="T0" fmla="*/ 32 w 46"/>
              <a:gd name="T1" fmla="*/ 5 h 67"/>
              <a:gd name="T2" fmla="*/ 2 w 46"/>
              <a:gd name="T3" fmla="*/ 55 h 67"/>
              <a:gd name="T4" fmla="*/ 5 w 46"/>
              <a:gd name="T5" fmla="*/ 65 h 67"/>
              <a:gd name="T6" fmla="*/ 14 w 46"/>
              <a:gd name="T7" fmla="*/ 62 h 67"/>
              <a:gd name="T8" fmla="*/ 44 w 46"/>
              <a:gd name="T9" fmla="*/ 12 h 67"/>
              <a:gd name="T10" fmla="*/ 41 w 46"/>
              <a:gd name="T11" fmla="*/ 2 h 67"/>
              <a:gd name="T12" fmla="*/ 32 w 46"/>
              <a:gd name="T13" fmla="*/ 5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6" h="67">
                <a:moveTo>
                  <a:pt x="32" y="5"/>
                </a:moveTo>
                <a:cubicBezTo>
                  <a:pt x="2" y="55"/>
                  <a:pt x="2" y="55"/>
                  <a:pt x="2" y="55"/>
                </a:cubicBezTo>
                <a:cubicBezTo>
                  <a:pt x="0" y="59"/>
                  <a:pt x="1" y="63"/>
                  <a:pt x="5" y="65"/>
                </a:cubicBezTo>
                <a:cubicBezTo>
                  <a:pt x="8" y="67"/>
                  <a:pt x="12" y="66"/>
                  <a:pt x="14" y="62"/>
                </a:cubicBezTo>
                <a:cubicBezTo>
                  <a:pt x="44" y="12"/>
                  <a:pt x="44" y="12"/>
                  <a:pt x="44" y="12"/>
                </a:cubicBezTo>
                <a:cubicBezTo>
                  <a:pt x="46" y="8"/>
                  <a:pt x="44" y="4"/>
                  <a:pt x="41" y="2"/>
                </a:cubicBezTo>
                <a:cubicBezTo>
                  <a:pt x="38" y="0"/>
                  <a:pt x="34" y="1"/>
                  <a:pt x="32" y="5"/>
                </a:cubicBez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9" name="Rectangle 97">
            <a:extLst>
              <a:ext uri="{FF2B5EF4-FFF2-40B4-BE49-F238E27FC236}">
                <a16:creationId xmlns:a16="http://schemas.microsoft.com/office/drawing/2014/main" id="{5637B1DC-B0CE-4924-983C-A886F91ACE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1080" y="6535785"/>
            <a:ext cx="336851" cy="40071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60" name="Oval 98">
            <a:extLst>
              <a:ext uri="{FF2B5EF4-FFF2-40B4-BE49-F238E27FC236}">
                <a16:creationId xmlns:a16="http://schemas.microsoft.com/office/drawing/2014/main" id="{9B549241-4041-4400-A3D9-36CB3B7BA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1080" y="6557073"/>
            <a:ext cx="336851" cy="36315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61" name="Oval 99">
            <a:extLst>
              <a:ext uri="{FF2B5EF4-FFF2-40B4-BE49-F238E27FC236}">
                <a16:creationId xmlns:a16="http://schemas.microsoft.com/office/drawing/2014/main" id="{AEB678B8-33BD-4A79-A7FE-7775EBCADF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1080" y="6517002"/>
            <a:ext cx="336851" cy="37567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62" name="Freeform 100">
            <a:extLst>
              <a:ext uri="{FF2B5EF4-FFF2-40B4-BE49-F238E27FC236}">
                <a16:creationId xmlns:a16="http://schemas.microsoft.com/office/drawing/2014/main" id="{D57B42E9-8C5A-4139-918A-72D2B4BAE25E}"/>
              </a:ext>
            </a:extLst>
          </p:cNvPr>
          <p:cNvSpPr>
            <a:spLocks/>
          </p:cNvSpPr>
          <p:nvPr/>
        </p:nvSpPr>
        <p:spPr bwMode="auto">
          <a:xfrm>
            <a:off x="6781098" y="6145088"/>
            <a:ext cx="316816" cy="353130"/>
          </a:xfrm>
          <a:custGeom>
            <a:avLst/>
            <a:gdLst>
              <a:gd name="T0" fmla="*/ 610 w 610"/>
              <a:gd name="T1" fmla="*/ 678 h 678"/>
              <a:gd name="T2" fmla="*/ 0 w 610"/>
              <a:gd name="T3" fmla="*/ 678 h 678"/>
              <a:gd name="T4" fmla="*/ 0 w 610"/>
              <a:gd name="T5" fmla="*/ 305 h 678"/>
              <a:gd name="T6" fmla="*/ 305 w 610"/>
              <a:gd name="T7" fmla="*/ 0 h 678"/>
              <a:gd name="T8" fmla="*/ 610 w 610"/>
              <a:gd name="T9" fmla="*/ 305 h 678"/>
              <a:gd name="T10" fmla="*/ 610 w 610"/>
              <a:gd name="T11" fmla="*/ 678 h 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10" h="678">
                <a:moveTo>
                  <a:pt x="610" y="678"/>
                </a:moveTo>
                <a:cubicBezTo>
                  <a:pt x="0" y="678"/>
                  <a:pt x="0" y="678"/>
                  <a:pt x="0" y="678"/>
                </a:cubicBezTo>
                <a:cubicBezTo>
                  <a:pt x="0" y="305"/>
                  <a:pt x="0" y="305"/>
                  <a:pt x="0" y="305"/>
                </a:cubicBezTo>
                <a:cubicBezTo>
                  <a:pt x="0" y="136"/>
                  <a:pt x="136" y="0"/>
                  <a:pt x="305" y="0"/>
                </a:cubicBezTo>
                <a:cubicBezTo>
                  <a:pt x="473" y="0"/>
                  <a:pt x="610" y="136"/>
                  <a:pt x="610" y="305"/>
                </a:cubicBezTo>
                <a:lnTo>
                  <a:pt x="610" y="678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63" name="Rectangle 101">
            <a:extLst>
              <a:ext uri="{FF2B5EF4-FFF2-40B4-BE49-F238E27FC236}">
                <a16:creationId xmlns:a16="http://schemas.microsoft.com/office/drawing/2014/main" id="{936D17A9-96C8-469B-9879-935938718E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1098" y="6498218"/>
            <a:ext cx="316816" cy="33811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64" name="Oval 102">
            <a:extLst>
              <a:ext uri="{FF2B5EF4-FFF2-40B4-BE49-F238E27FC236}">
                <a16:creationId xmlns:a16="http://schemas.microsoft.com/office/drawing/2014/main" id="{655FFBFB-131F-45EB-B7E1-028BDB4CBA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1098" y="6515749"/>
            <a:ext cx="316816" cy="33811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65" name="Oval 103">
            <a:extLst>
              <a:ext uri="{FF2B5EF4-FFF2-40B4-BE49-F238E27FC236}">
                <a16:creationId xmlns:a16="http://schemas.microsoft.com/office/drawing/2014/main" id="{CD4CA887-0A58-4A9C-A487-62FA0A7AB1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1098" y="6481939"/>
            <a:ext cx="316816" cy="33811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66" name="Freeform 104">
            <a:extLst>
              <a:ext uri="{FF2B5EF4-FFF2-40B4-BE49-F238E27FC236}">
                <a16:creationId xmlns:a16="http://schemas.microsoft.com/office/drawing/2014/main" id="{AFE12CE8-E390-48B6-AAA7-ACCCF81EAE65}"/>
              </a:ext>
            </a:extLst>
          </p:cNvPr>
          <p:cNvSpPr>
            <a:spLocks/>
          </p:cNvSpPr>
          <p:nvPr/>
        </p:nvSpPr>
        <p:spPr bwMode="auto">
          <a:xfrm>
            <a:off x="6877519" y="6340437"/>
            <a:ext cx="52594" cy="53846"/>
          </a:xfrm>
          <a:custGeom>
            <a:avLst/>
            <a:gdLst>
              <a:gd name="T0" fmla="*/ 98 w 100"/>
              <a:gd name="T1" fmla="*/ 75 h 102"/>
              <a:gd name="T2" fmla="*/ 81 w 100"/>
              <a:gd name="T3" fmla="*/ 21 h 102"/>
              <a:gd name="T4" fmla="*/ 19 w 100"/>
              <a:gd name="T5" fmla="*/ 21 h 102"/>
              <a:gd name="T6" fmla="*/ 21 w 100"/>
              <a:gd name="T7" fmla="*/ 82 h 102"/>
              <a:gd name="T8" fmla="*/ 76 w 100"/>
              <a:gd name="T9" fmla="*/ 99 h 102"/>
              <a:gd name="T10" fmla="*/ 76 w 100"/>
              <a:gd name="T11" fmla="*/ 99 h 102"/>
              <a:gd name="T12" fmla="*/ 76 w 100"/>
              <a:gd name="T13" fmla="*/ 99 h 102"/>
              <a:gd name="T14" fmla="*/ 99 w 100"/>
              <a:gd name="T15" fmla="*/ 76 h 102"/>
              <a:gd name="T16" fmla="*/ 99 w 100"/>
              <a:gd name="T17" fmla="*/ 76 h 102"/>
              <a:gd name="T18" fmla="*/ 99 w 100"/>
              <a:gd name="T19" fmla="*/ 76 h 102"/>
              <a:gd name="T20" fmla="*/ 98 w 100"/>
              <a:gd name="T21" fmla="*/ 75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0" h="102">
                <a:moveTo>
                  <a:pt x="98" y="75"/>
                </a:moveTo>
                <a:cubicBezTo>
                  <a:pt x="88" y="65"/>
                  <a:pt x="100" y="40"/>
                  <a:pt x="81" y="21"/>
                </a:cubicBezTo>
                <a:cubicBezTo>
                  <a:pt x="60" y="0"/>
                  <a:pt x="35" y="5"/>
                  <a:pt x="19" y="21"/>
                </a:cubicBezTo>
                <a:cubicBezTo>
                  <a:pt x="4" y="37"/>
                  <a:pt x="0" y="62"/>
                  <a:pt x="21" y="82"/>
                </a:cubicBezTo>
                <a:cubicBezTo>
                  <a:pt x="40" y="102"/>
                  <a:pt x="66" y="89"/>
                  <a:pt x="76" y="99"/>
                </a:cubicBezTo>
                <a:cubicBezTo>
                  <a:pt x="76" y="99"/>
                  <a:pt x="76" y="99"/>
                  <a:pt x="76" y="99"/>
                </a:cubicBezTo>
                <a:cubicBezTo>
                  <a:pt x="76" y="99"/>
                  <a:pt x="76" y="99"/>
                  <a:pt x="76" y="99"/>
                </a:cubicBezTo>
                <a:cubicBezTo>
                  <a:pt x="78" y="97"/>
                  <a:pt x="97" y="77"/>
                  <a:pt x="99" y="76"/>
                </a:cubicBezTo>
                <a:cubicBezTo>
                  <a:pt x="99" y="76"/>
                  <a:pt x="99" y="76"/>
                  <a:pt x="99" y="76"/>
                </a:cubicBezTo>
                <a:cubicBezTo>
                  <a:pt x="99" y="76"/>
                  <a:pt x="99" y="76"/>
                  <a:pt x="99" y="76"/>
                </a:cubicBezTo>
                <a:cubicBezTo>
                  <a:pt x="98" y="76"/>
                  <a:pt x="98" y="76"/>
                  <a:pt x="98" y="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67" name="Freeform 105">
            <a:extLst>
              <a:ext uri="{FF2B5EF4-FFF2-40B4-BE49-F238E27FC236}">
                <a16:creationId xmlns:a16="http://schemas.microsoft.com/office/drawing/2014/main" id="{304B3CC9-E8E2-47C0-810D-2397D828797A}"/>
              </a:ext>
            </a:extLst>
          </p:cNvPr>
          <p:cNvSpPr>
            <a:spLocks/>
          </p:cNvSpPr>
          <p:nvPr/>
        </p:nvSpPr>
        <p:spPr bwMode="auto">
          <a:xfrm>
            <a:off x="6910077" y="6369238"/>
            <a:ext cx="16279" cy="15027"/>
          </a:xfrm>
          <a:custGeom>
            <a:avLst/>
            <a:gdLst>
              <a:gd name="T0" fmla="*/ 28 w 30"/>
              <a:gd name="T1" fmla="*/ 28 h 28"/>
              <a:gd name="T2" fmla="*/ 3 w 30"/>
              <a:gd name="T3" fmla="*/ 3 h 28"/>
              <a:gd name="T4" fmla="*/ 2 w 30"/>
              <a:gd name="T5" fmla="*/ 3 h 28"/>
              <a:gd name="T6" fmla="*/ 0 w 30"/>
              <a:gd name="T7" fmla="*/ 1 h 28"/>
              <a:gd name="T8" fmla="*/ 4 w 30"/>
              <a:gd name="T9" fmla="*/ 1 h 28"/>
              <a:gd name="T10" fmla="*/ 30 w 30"/>
              <a:gd name="T11" fmla="*/ 26 h 28"/>
              <a:gd name="T12" fmla="*/ 28 w 30"/>
              <a:gd name="T13" fmla="*/ 28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" h="28">
                <a:moveTo>
                  <a:pt x="28" y="28"/>
                </a:moveTo>
                <a:cubicBezTo>
                  <a:pt x="3" y="3"/>
                  <a:pt x="3" y="3"/>
                  <a:pt x="3" y="3"/>
                </a:cubicBezTo>
                <a:cubicBezTo>
                  <a:pt x="2" y="3"/>
                  <a:pt x="2" y="3"/>
                  <a:pt x="2" y="3"/>
                </a:cubicBezTo>
                <a:cubicBezTo>
                  <a:pt x="0" y="1"/>
                  <a:pt x="0" y="1"/>
                  <a:pt x="0" y="1"/>
                </a:cubicBezTo>
                <a:cubicBezTo>
                  <a:pt x="1" y="0"/>
                  <a:pt x="3" y="0"/>
                  <a:pt x="4" y="1"/>
                </a:cubicBezTo>
                <a:cubicBezTo>
                  <a:pt x="30" y="26"/>
                  <a:pt x="30" y="26"/>
                  <a:pt x="30" y="26"/>
                </a:cubicBezTo>
                <a:cubicBezTo>
                  <a:pt x="28" y="28"/>
                  <a:pt x="28" y="28"/>
                  <a:pt x="28" y="28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68" name="Freeform 106">
            <a:extLst>
              <a:ext uri="{FF2B5EF4-FFF2-40B4-BE49-F238E27FC236}">
                <a16:creationId xmlns:a16="http://schemas.microsoft.com/office/drawing/2014/main" id="{E5C8D8B2-EAD0-4094-A98E-1C46ED0C3B99}"/>
              </a:ext>
            </a:extLst>
          </p:cNvPr>
          <p:cNvSpPr>
            <a:spLocks/>
          </p:cNvSpPr>
          <p:nvPr/>
        </p:nvSpPr>
        <p:spPr bwMode="auto">
          <a:xfrm>
            <a:off x="6907573" y="6374247"/>
            <a:ext cx="13775" cy="15027"/>
          </a:xfrm>
          <a:custGeom>
            <a:avLst/>
            <a:gdLst>
              <a:gd name="T0" fmla="*/ 26 w 28"/>
              <a:gd name="T1" fmla="*/ 29 h 29"/>
              <a:gd name="T2" fmla="*/ 1 w 28"/>
              <a:gd name="T3" fmla="*/ 4 h 29"/>
              <a:gd name="T4" fmla="*/ 1 w 28"/>
              <a:gd name="T5" fmla="*/ 0 h 29"/>
              <a:gd name="T6" fmla="*/ 2 w 28"/>
              <a:gd name="T7" fmla="*/ 1 h 29"/>
              <a:gd name="T8" fmla="*/ 2 w 28"/>
              <a:gd name="T9" fmla="*/ 2 h 29"/>
              <a:gd name="T10" fmla="*/ 28 w 28"/>
              <a:gd name="T11" fmla="*/ 27 h 29"/>
              <a:gd name="T12" fmla="*/ 26 w 28"/>
              <a:gd name="T13" fmla="*/ 2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8" h="29">
                <a:moveTo>
                  <a:pt x="26" y="29"/>
                </a:moveTo>
                <a:cubicBezTo>
                  <a:pt x="1" y="4"/>
                  <a:pt x="1" y="4"/>
                  <a:pt x="1" y="4"/>
                </a:cubicBezTo>
                <a:cubicBezTo>
                  <a:pt x="0" y="3"/>
                  <a:pt x="0" y="1"/>
                  <a:pt x="1" y="0"/>
                </a:cubicBezTo>
                <a:cubicBezTo>
                  <a:pt x="2" y="1"/>
                  <a:pt x="2" y="1"/>
                  <a:pt x="2" y="1"/>
                </a:cubicBezTo>
                <a:cubicBezTo>
                  <a:pt x="2" y="2"/>
                  <a:pt x="2" y="2"/>
                  <a:pt x="2" y="2"/>
                </a:cubicBezTo>
                <a:cubicBezTo>
                  <a:pt x="28" y="27"/>
                  <a:pt x="28" y="27"/>
                  <a:pt x="28" y="27"/>
                </a:cubicBezTo>
                <a:cubicBezTo>
                  <a:pt x="26" y="29"/>
                  <a:pt x="26" y="29"/>
                  <a:pt x="26" y="29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69" name="Freeform 107">
            <a:extLst>
              <a:ext uri="{FF2B5EF4-FFF2-40B4-BE49-F238E27FC236}">
                <a16:creationId xmlns:a16="http://schemas.microsoft.com/office/drawing/2014/main" id="{7F899B3C-6C6D-46AA-ACEB-925C53BC0F0C}"/>
              </a:ext>
            </a:extLst>
          </p:cNvPr>
          <p:cNvSpPr>
            <a:spLocks noEditPoints="1"/>
          </p:cNvSpPr>
          <p:nvPr/>
        </p:nvSpPr>
        <p:spPr bwMode="auto">
          <a:xfrm>
            <a:off x="6907573" y="6371743"/>
            <a:ext cx="2504" cy="3757"/>
          </a:xfrm>
          <a:custGeom>
            <a:avLst/>
            <a:gdLst>
              <a:gd name="T0" fmla="*/ 3 w 7"/>
              <a:gd name="T1" fmla="*/ 7 h 7"/>
              <a:gd name="T2" fmla="*/ 1 w 7"/>
              <a:gd name="T3" fmla="*/ 6 h 7"/>
              <a:gd name="T4" fmla="*/ 0 w 7"/>
              <a:gd name="T5" fmla="*/ 4 h 7"/>
              <a:gd name="T6" fmla="*/ 1 w 7"/>
              <a:gd name="T7" fmla="*/ 2 h 7"/>
              <a:gd name="T8" fmla="*/ 5 w 7"/>
              <a:gd name="T9" fmla="*/ 2 h 7"/>
              <a:gd name="T10" fmla="*/ 6 w 7"/>
              <a:gd name="T11" fmla="*/ 6 h 7"/>
              <a:gd name="T12" fmla="*/ 3 w 7"/>
              <a:gd name="T13" fmla="*/ 7 h 7"/>
              <a:gd name="T14" fmla="*/ 3 w 7"/>
              <a:gd name="T15" fmla="*/ 3 h 7"/>
              <a:gd name="T16" fmla="*/ 2 w 7"/>
              <a:gd name="T17" fmla="*/ 3 h 7"/>
              <a:gd name="T18" fmla="*/ 2 w 7"/>
              <a:gd name="T19" fmla="*/ 4 h 7"/>
              <a:gd name="T20" fmla="*/ 2 w 7"/>
              <a:gd name="T21" fmla="*/ 5 h 7"/>
              <a:gd name="T22" fmla="*/ 4 w 7"/>
              <a:gd name="T23" fmla="*/ 5 h 7"/>
              <a:gd name="T24" fmla="*/ 4 w 7"/>
              <a:gd name="T25" fmla="*/ 4 h 7"/>
              <a:gd name="T26" fmla="*/ 4 w 7"/>
              <a:gd name="T27" fmla="*/ 3 h 7"/>
              <a:gd name="T28" fmla="*/ 3 w 7"/>
              <a:gd name="T29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" h="7">
                <a:moveTo>
                  <a:pt x="3" y="7"/>
                </a:moveTo>
                <a:cubicBezTo>
                  <a:pt x="2" y="7"/>
                  <a:pt x="1" y="7"/>
                  <a:pt x="1" y="6"/>
                </a:cubicBezTo>
                <a:cubicBezTo>
                  <a:pt x="0" y="6"/>
                  <a:pt x="0" y="5"/>
                  <a:pt x="0" y="4"/>
                </a:cubicBezTo>
                <a:cubicBezTo>
                  <a:pt x="0" y="3"/>
                  <a:pt x="0" y="2"/>
                  <a:pt x="1" y="2"/>
                </a:cubicBezTo>
                <a:cubicBezTo>
                  <a:pt x="2" y="0"/>
                  <a:pt x="4" y="0"/>
                  <a:pt x="5" y="2"/>
                </a:cubicBezTo>
                <a:cubicBezTo>
                  <a:pt x="7" y="3"/>
                  <a:pt x="7" y="5"/>
                  <a:pt x="6" y="6"/>
                </a:cubicBezTo>
                <a:cubicBezTo>
                  <a:pt x="5" y="7"/>
                  <a:pt x="4" y="7"/>
                  <a:pt x="3" y="7"/>
                </a:cubicBezTo>
                <a:close/>
                <a:moveTo>
                  <a:pt x="3" y="3"/>
                </a:moveTo>
                <a:cubicBezTo>
                  <a:pt x="3" y="3"/>
                  <a:pt x="2" y="3"/>
                  <a:pt x="2" y="3"/>
                </a:cubicBezTo>
                <a:cubicBezTo>
                  <a:pt x="2" y="3"/>
                  <a:pt x="2" y="4"/>
                  <a:pt x="2" y="4"/>
                </a:cubicBezTo>
                <a:cubicBezTo>
                  <a:pt x="2" y="4"/>
                  <a:pt x="2" y="5"/>
                  <a:pt x="2" y="5"/>
                </a:cubicBezTo>
                <a:cubicBezTo>
                  <a:pt x="3" y="5"/>
                  <a:pt x="4" y="5"/>
                  <a:pt x="4" y="5"/>
                </a:cubicBezTo>
                <a:cubicBezTo>
                  <a:pt x="4" y="5"/>
                  <a:pt x="4" y="4"/>
                  <a:pt x="4" y="4"/>
                </a:cubicBezTo>
                <a:cubicBezTo>
                  <a:pt x="4" y="4"/>
                  <a:pt x="4" y="3"/>
                  <a:pt x="4" y="3"/>
                </a:cubicBezTo>
                <a:cubicBezTo>
                  <a:pt x="4" y="3"/>
                  <a:pt x="3" y="3"/>
                  <a:pt x="3" y="3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0" name="Freeform 108">
            <a:extLst>
              <a:ext uri="{FF2B5EF4-FFF2-40B4-BE49-F238E27FC236}">
                <a16:creationId xmlns:a16="http://schemas.microsoft.com/office/drawing/2014/main" id="{B6ACC1B6-5665-427E-8B5D-31CA013091EB}"/>
              </a:ext>
            </a:extLst>
          </p:cNvPr>
          <p:cNvSpPr>
            <a:spLocks noEditPoints="1"/>
          </p:cNvSpPr>
          <p:nvPr/>
        </p:nvSpPr>
        <p:spPr bwMode="auto">
          <a:xfrm>
            <a:off x="6908826" y="6369238"/>
            <a:ext cx="3757" cy="3757"/>
          </a:xfrm>
          <a:custGeom>
            <a:avLst/>
            <a:gdLst>
              <a:gd name="T0" fmla="*/ 3 w 7"/>
              <a:gd name="T1" fmla="*/ 7 h 7"/>
              <a:gd name="T2" fmla="*/ 1 w 7"/>
              <a:gd name="T3" fmla="*/ 6 h 7"/>
              <a:gd name="T4" fmla="*/ 1 w 7"/>
              <a:gd name="T5" fmla="*/ 1 h 7"/>
              <a:gd name="T6" fmla="*/ 6 w 7"/>
              <a:gd name="T7" fmla="*/ 1 h 7"/>
              <a:gd name="T8" fmla="*/ 6 w 7"/>
              <a:gd name="T9" fmla="*/ 6 h 7"/>
              <a:gd name="T10" fmla="*/ 3 w 7"/>
              <a:gd name="T11" fmla="*/ 7 h 7"/>
              <a:gd name="T12" fmla="*/ 3 w 7"/>
              <a:gd name="T13" fmla="*/ 2 h 7"/>
              <a:gd name="T14" fmla="*/ 2 w 7"/>
              <a:gd name="T15" fmla="*/ 3 h 7"/>
              <a:gd name="T16" fmla="*/ 2 w 7"/>
              <a:gd name="T17" fmla="*/ 5 h 7"/>
              <a:gd name="T18" fmla="*/ 4 w 7"/>
              <a:gd name="T19" fmla="*/ 5 h 7"/>
              <a:gd name="T20" fmla="*/ 4 w 7"/>
              <a:gd name="T21" fmla="*/ 3 h 7"/>
              <a:gd name="T22" fmla="*/ 3 w 7"/>
              <a:gd name="T23" fmla="*/ 2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" h="7">
                <a:moveTo>
                  <a:pt x="3" y="7"/>
                </a:moveTo>
                <a:cubicBezTo>
                  <a:pt x="2" y="7"/>
                  <a:pt x="2" y="7"/>
                  <a:pt x="1" y="6"/>
                </a:cubicBezTo>
                <a:cubicBezTo>
                  <a:pt x="0" y="5"/>
                  <a:pt x="0" y="3"/>
                  <a:pt x="1" y="1"/>
                </a:cubicBezTo>
                <a:cubicBezTo>
                  <a:pt x="2" y="0"/>
                  <a:pt x="4" y="0"/>
                  <a:pt x="6" y="1"/>
                </a:cubicBezTo>
                <a:cubicBezTo>
                  <a:pt x="7" y="3"/>
                  <a:pt x="7" y="5"/>
                  <a:pt x="6" y="6"/>
                </a:cubicBezTo>
                <a:cubicBezTo>
                  <a:pt x="5" y="7"/>
                  <a:pt x="4" y="7"/>
                  <a:pt x="3" y="7"/>
                </a:cubicBezTo>
                <a:close/>
                <a:moveTo>
                  <a:pt x="3" y="2"/>
                </a:moveTo>
                <a:cubicBezTo>
                  <a:pt x="3" y="2"/>
                  <a:pt x="3" y="3"/>
                  <a:pt x="2" y="3"/>
                </a:cubicBezTo>
                <a:cubicBezTo>
                  <a:pt x="2" y="3"/>
                  <a:pt x="2" y="4"/>
                  <a:pt x="2" y="5"/>
                </a:cubicBezTo>
                <a:cubicBezTo>
                  <a:pt x="3" y="5"/>
                  <a:pt x="4" y="5"/>
                  <a:pt x="4" y="5"/>
                </a:cubicBezTo>
                <a:cubicBezTo>
                  <a:pt x="5" y="4"/>
                  <a:pt x="5" y="3"/>
                  <a:pt x="4" y="3"/>
                </a:cubicBezTo>
                <a:cubicBezTo>
                  <a:pt x="4" y="3"/>
                  <a:pt x="4" y="2"/>
                  <a:pt x="3" y="2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1" name="Freeform 109">
            <a:extLst>
              <a:ext uri="{FF2B5EF4-FFF2-40B4-BE49-F238E27FC236}">
                <a16:creationId xmlns:a16="http://schemas.microsoft.com/office/drawing/2014/main" id="{05ABF7CD-095B-4BEC-BCFC-48F81A137074}"/>
              </a:ext>
            </a:extLst>
          </p:cNvPr>
          <p:cNvSpPr>
            <a:spLocks/>
          </p:cNvSpPr>
          <p:nvPr/>
        </p:nvSpPr>
        <p:spPr bwMode="auto">
          <a:xfrm>
            <a:off x="6928861" y="6390526"/>
            <a:ext cx="7513" cy="7513"/>
          </a:xfrm>
          <a:custGeom>
            <a:avLst/>
            <a:gdLst>
              <a:gd name="T0" fmla="*/ 0 w 14"/>
              <a:gd name="T1" fmla="*/ 13 h 14"/>
              <a:gd name="T2" fmla="*/ 10 w 14"/>
              <a:gd name="T3" fmla="*/ 11 h 14"/>
              <a:gd name="T4" fmla="*/ 12 w 14"/>
              <a:gd name="T5" fmla="*/ 0 h 14"/>
              <a:gd name="T6" fmla="*/ 0 w 14"/>
              <a:gd name="T7" fmla="*/ 13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" h="14">
                <a:moveTo>
                  <a:pt x="0" y="13"/>
                </a:moveTo>
                <a:cubicBezTo>
                  <a:pt x="3" y="14"/>
                  <a:pt x="8" y="14"/>
                  <a:pt x="10" y="11"/>
                </a:cubicBezTo>
                <a:cubicBezTo>
                  <a:pt x="13" y="8"/>
                  <a:pt x="14" y="3"/>
                  <a:pt x="12" y="0"/>
                </a:cubicBezTo>
                <a:lnTo>
                  <a:pt x="0" y="13"/>
                </a:lnTo>
                <a:close/>
              </a:path>
            </a:pathLst>
          </a:custGeom>
          <a:solidFill>
            <a:srgbClr val="E3F3F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2" name="Freeform 110">
            <a:extLst>
              <a:ext uri="{FF2B5EF4-FFF2-40B4-BE49-F238E27FC236}">
                <a16:creationId xmlns:a16="http://schemas.microsoft.com/office/drawing/2014/main" id="{F0EE73F0-FF9B-4340-9B61-EB79A60CCE5D}"/>
              </a:ext>
            </a:extLst>
          </p:cNvPr>
          <p:cNvSpPr>
            <a:spLocks/>
          </p:cNvSpPr>
          <p:nvPr/>
        </p:nvSpPr>
        <p:spPr bwMode="auto">
          <a:xfrm>
            <a:off x="6916339" y="6379256"/>
            <a:ext cx="16279" cy="16279"/>
          </a:xfrm>
          <a:custGeom>
            <a:avLst/>
            <a:gdLst>
              <a:gd name="T0" fmla="*/ 24 w 31"/>
              <a:gd name="T1" fmla="*/ 2 h 32"/>
              <a:gd name="T2" fmla="*/ 1 w 31"/>
              <a:gd name="T3" fmla="*/ 25 h 32"/>
              <a:gd name="T4" fmla="*/ 1 w 31"/>
              <a:gd name="T5" fmla="*/ 30 h 32"/>
              <a:gd name="T6" fmla="*/ 7 w 31"/>
              <a:gd name="T7" fmla="*/ 30 h 32"/>
              <a:gd name="T8" fmla="*/ 29 w 31"/>
              <a:gd name="T9" fmla="*/ 7 h 32"/>
              <a:gd name="T10" fmla="*/ 29 w 31"/>
              <a:gd name="T11" fmla="*/ 2 h 32"/>
              <a:gd name="T12" fmla="*/ 24 w 31"/>
              <a:gd name="T13" fmla="*/ 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" h="32">
                <a:moveTo>
                  <a:pt x="24" y="2"/>
                </a:moveTo>
                <a:cubicBezTo>
                  <a:pt x="1" y="25"/>
                  <a:pt x="1" y="25"/>
                  <a:pt x="1" y="25"/>
                </a:cubicBezTo>
                <a:cubicBezTo>
                  <a:pt x="0" y="26"/>
                  <a:pt x="0" y="29"/>
                  <a:pt x="1" y="30"/>
                </a:cubicBezTo>
                <a:cubicBezTo>
                  <a:pt x="3" y="32"/>
                  <a:pt x="5" y="32"/>
                  <a:pt x="7" y="30"/>
                </a:cubicBezTo>
                <a:cubicBezTo>
                  <a:pt x="29" y="7"/>
                  <a:pt x="29" y="7"/>
                  <a:pt x="29" y="7"/>
                </a:cubicBezTo>
                <a:cubicBezTo>
                  <a:pt x="31" y="6"/>
                  <a:pt x="31" y="3"/>
                  <a:pt x="29" y="2"/>
                </a:cubicBezTo>
                <a:cubicBezTo>
                  <a:pt x="28" y="0"/>
                  <a:pt x="25" y="0"/>
                  <a:pt x="24" y="2"/>
                </a:cubicBez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3" name="Freeform 111">
            <a:extLst>
              <a:ext uri="{FF2B5EF4-FFF2-40B4-BE49-F238E27FC236}">
                <a16:creationId xmlns:a16="http://schemas.microsoft.com/office/drawing/2014/main" id="{3DF50956-A037-4085-B73C-4C01D3ACA7DE}"/>
              </a:ext>
            </a:extLst>
          </p:cNvPr>
          <p:cNvSpPr>
            <a:spLocks/>
          </p:cNvSpPr>
          <p:nvPr/>
        </p:nvSpPr>
        <p:spPr bwMode="auto">
          <a:xfrm>
            <a:off x="6918844" y="6381761"/>
            <a:ext cx="16279" cy="16279"/>
          </a:xfrm>
          <a:custGeom>
            <a:avLst/>
            <a:gdLst>
              <a:gd name="T0" fmla="*/ 24 w 31"/>
              <a:gd name="T1" fmla="*/ 1 h 31"/>
              <a:gd name="T2" fmla="*/ 2 w 31"/>
              <a:gd name="T3" fmla="*/ 24 h 31"/>
              <a:gd name="T4" fmla="*/ 2 w 31"/>
              <a:gd name="T5" fmla="*/ 30 h 31"/>
              <a:gd name="T6" fmla="*/ 7 w 31"/>
              <a:gd name="T7" fmla="*/ 30 h 31"/>
              <a:gd name="T8" fmla="*/ 30 w 31"/>
              <a:gd name="T9" fmla="*/ 7 h 31"/>
              <a:gd name="T10" fmla="*/ 29 w 31"/>
              <a:gd name="T11" fmla="*/ 1 h 31"/>
              <a:gd name="T12" fmla="*/ 24 w 31"/>
              <a:gd name="T13" fmla="*/ 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" h="31">
                <a:moveTo>
                  <a:pt x="24" y="1"/>
                </a:moveTo>
                <a:cubicBezTo>
                  <a:pt x="2" y="24"/>
                  <a:pt x="2" y="24"/>
                  <a:pt x="2" y="24"/>
                </a:cubicBezTo>
                <a:cubicBezTo>
                  <a:pt x="0" y="26"/>
                  <a:pt x="0" y="28"/>
                  <a:pt x="2" y="30"/>
                </a:cubicBezTo>
                <a:cubicBezTo>
                  <a:pt x="3" y="31"/>
                  <a:pt x="6" y="31"/>
                  <a:pt x="7" y="30"/>
                </a:cubicBezTo>
                <a:cubicBezTo>
                  <a:pt x="30" y="7"/>
                  <a:pt x="30" y="7"/>
                  <a:pt x="30" y="7"/>
                </a:cubicBezTo>
                <a:cubicBezTo>
                  <a:pt x="31" y="5"/>
                  <a:pt x="31" y="3"/>
                  <a:pt x="29" y="1"/>
                </a:cubicBezTo>
                <a:cubicBezTo>
                  <a:pt x="28" y="0"/>
                  <a:pt x="26" y="0"/>
                  <a:pt x="24" y="1"/>
                </a:cubicBezTo>
                <a:close/>
              </a:path>
            </a:pathLst>
          </a:custGeom>
          <a:solidFill>
            <a:srgbClr val="E3F3F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4" name="Freeform 112">
            <a:extLst>
              <a:ext uri="{FF2B5EF4-FFF2-40B4-BE49-F238E27FC236}">
                <a16:creationId xmlns:a16="http://schemas.microsoft.com/office/drawing/2014/main" id="{D95170A1-EB97-484B-BCD3-1CDD5D7E922A}"/>
              </a:ext>
            </a:extLst>
          </p:cNvPr>
          <p:cNvSpPr>
            <a:spLocks/>
          </p:cNvSpPr>
          <p:nvPr/>
        </p:nvSpPr>
        <p:spPr bwMode="auto">
          <a:xfrm>
            <a:off x="6922600" y="6384265"/>
            <a:ext cx="15027" cy="16279"/>
          </a:xfrm>
          <a:custGeom>
            <a:avLst/>
            <a:gdLst>
              <a:gd name="T0" fmla="*/ 24 w 30"/>
              <a:gd name="T1" fmla="*/ 2 h 31"/>
              <a:gd name="T2" fmla="*/ 1 w 30"/>
              <a:gd name="T3" fmla="*/ 25 h 31"/>
              <a:gd name="T4" fmla="*/ 1 w 30"/>
              <a:gd name="T5" fmla="*/ 30 h 31"/>
              <a:gd name="T6" fmla="*/ 7 w 30"/>
              <a:gd name="T7" fmla="*/ 30 h 31"/>
              <a:gd name="T8" fmla="*/ 29 w 30"/>
              <a:gd name="T9" fmla="*/ 7 h 31"/>
              <a:gd name="T10" fmla="*/ 29 w 30"/>
              <a:gd name="T11" fmla="*/ 2 h 31"/>
              <a:gd name="T12" fmla="*/ 24 w 30"/>
              <a:gd name="T13" fmla="*/ 2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" h="31">
                <a:moveTo>
                  <a:pt x="24" y="2"/>
                </a:moveTo>
                <a:cubicBezTo>
                  <a:pt x="1" y="25"/>
                  <a:pt x="1" y="25"/>
                  <a:pt x="1" y="25"/>
                </a:cubicBezTo>
                <a:cubicBezTo>
                  <a:pt x="0" y="26"/>
                  <a:pt x="0" y="28"/>
                  <a:pt x="1" y="30"/>
                </a:cubicBezTo>
                <a:cubicBezTo>
                  <a:pt x="3" y="31"/>
                  <a:pt x="5" y="31"/>
                  <a:pt x="7" y="30"/>
                </a:cubicBezTo>
                <a:cubicBezTo>
                  <a:pt x="29" y="7"/>
                  <a:pt x="29" y="7"/>
                  <a:pt x="29" y="7"/>
                </a:cubicBezTo>
                <a:cubicBezTo>
                  <a:pt x="30" y="5"/>
                  <a:pt x="30" y="3"/>
                  <a:pt x="29" y="2"/>
                </a:cubicBezTo>
                <a:cubicBezTo>
                  <a:pt x="27" y="0"/>
                  <a:pt x="25" y="0"/>
                  <a:pt x="24" y="2"/>
                </a:cubicBez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5" name="Freeform 113">
            <a:extLst>
              <a:ext uri="{FF2B5EF4-FFF2-40B4-BE49-F238E27FC236}">
                <a16:creationId xmlns:a16="http://schemas.microsoft.com/office/drawing/2014/main" id="{F440917B-4ABB-4800-AC08-28DA28586598}"/>
              </a:ext>
            </a:extLst>
          </p:cNvPr>
          <p:cNvSpPr>
            <a:spLocks/>
          </p:cNvSpPr>
          <p:nvPr/>
        </p:nvSpPr>
        <p:spPr bwMode="auto">
          <a:xfrm>
            <a:off x="6932618" y="6301618"/>
            <a:ext cx="53846" cy="53846"/>
          </a:xfrm>
          <a:custGeom>
            <a:avLst/>
            <a:gdLst>
              <a:gd name="T0" fmla="*/ 43 w 103"/>
              <a:gd name="T1" fmla="*/ 102 h 103"/>
              <a:gd name="T2" fmla="*/ 90 w 103"/>
              <a:gd name="T3" fmla="*/ 68 h 103"/>
              <a:gd name="T4" fmla="*/ 70 w 103"/>
              <a:gd name="T5" fmla="*/ 10 h 103"/>
              <a:gd name="T6" fmla="*/ 12 w 103"/>
              <a:gd name="T7" fmla="*/ 31 h 103"/>
              <a:gd name="T8" fmla="*/ 14 w 103"/>
              <a:gd name="T9" fmla="*/ 89 h 103"/>
              <a:gd name="T10" fmla="*/ 14 w 103"/>
              <a:gd name="T11" fmla="*/ 89 h 103"/>
              <a:gd name="T12" fmla="*/ 14 w 103"/>
              <a:gd name="T13" fmla="*/ 89 h 103"/>
              <a:gd name="T14" fmla="*/ 43 w 103"/>
              <a:gd name="T15" fmla="*/ 103 h 103"/>
              <a:gd name="T16" fmla="*/ 43 w 103"/>
              <a:gd name="T17" fmla="*/ 103 h 103"/>
              <a:gd name="T18" fmla="*/ 43 w 103"/>
              <a:gd name="T19" fmla="*/ 103 h 103"/>
              <a:gd name="T20" fmla="*/ 43 w 103"/>
              <a:gd name="T21" fmla="*/ 102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3" h="103">
                <a:moveTo>
                  <a:pt x="43" y="102"/>
                </a:moveTo>
                <a:cubicBezTo>
                  <a:pt x="50" y="89"/>
                  <a:pt x="78" y="93"/>
                  <a:pt x="90" y="68"/>
                </a:cubicBezTo>
                <a:cubicBezTo>
                  <a:pt x="103" y="42"/>
                  <a:pt x="90" y="20"/>
                  <a:pt x="70" y="10"/>
                </a:cubicBezTo>
                <a:cubicBezTo>
                  <a:pt x="50" y="0"/>
                  <a:pt x="25" y="4"/>
                  <a:pt x="12" y="31"/>
                </a:cubicBezTo>
                <a:cubicBezTo>
                  <a:pt x="0" y="55"/>
                  <a:pt x="21" y="75"/>
                  <a:pt x="14" y="89"/>
                </a:cubicBezTo>
                <a:cubicBezTo>
                  <a:pt x="14" y="89"/>
                  <a:pt x="14" y="89"/>
                  <a:pt x="14" y="89"/>
                </a:cubicBezTo>
                <a:cubicBezTo>
                  <a:pt x="14" y="89"/>
                  <a:pt x="14" y="89"/>
                  <a:pt x="14" y="89"/>
                </a:cubicBezTo>
                <a:cubicBezTo>
                  <a:pt x="16" y="89"/>
                  <a:pt x="41" y="102"/>
                  <a:pt x="43" y="103"/>
                </a:cubicBezTo>
                <a:cubicBezTo>
                  <a:pt x="43" y="103"/>
                  <a:pt x="43" y="103"/>
                  <a:pt x="43" y="103"/>
                </a:cubicBezTo>
                <a:cubicBezTo>
                  <a:pt x="43" y="103"/>
                  <a:pt x="43" y="103"/>
                  <a:pt x="43" y="103"/>
                </a:cubicBezTo>
                <a:cubicBezTo>
                  <a:pt x="43" y="102"/>
                  <a:pt x="43" y="102"/>
                  <a:pt x="43" y="10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6" name="Freeform 114">
            <a:extLst>
              <a:ext uri="{FF2B5EF4-FFF2-40B4-BE49-F238E27FC236}">
                <a16:creationId xmlns:a16="http://schemas.microsoft.com/office/drawing/2014/main" id="{59FDA920-97F8-4210-817A-563678DE2514}"/>
              </a:ext>
            </a:extLst>
          </p:cNvPr>
          <p:cNvSpPr>
            <a:spLocks/>
          </p:cNvSpPr>
          <p:nvPr/>
        </p:nvSpPr>
        <p:spPr bwMode="auto">
          <a:xfrm>
            <a:off x="6950149" y="6334176"/>
            <a:ext cx="8766" cy="18784"/>
          </a:xfrm>
          <a:custGeom>
            <a:avLst/>
            <a:gdLst>
              <a:gd name="T0" fmla="*/ 2 w 18"/>
              <a:gd name="T1" fmla="*/ 36 h 36"/>
              <a:gd name="T2" fmla="*/ 0 w 18"/>
              <a:gd name="T3" fmla="*/ 35 h 36"/>
              <a:gd name="T4" fmla="*/ 16 w 18"/>
              <a:gd name="T5" fmla="*/ 3 h 36"/>
              <a:gd name="T6" fmla="*/ 15 w 18"/>
              <a:gd name="T7" fmla="*/ 2 h 36"/>
              <a:gd name="T8" fmla="*/ 16 w 18"/>
              <a:gd name="T9" fmla="*/ 0 h 36"/>
              <a:gd name="T10" fmla="*/ 18 w 18"/>
              <a:gd name="T11" fmla="*/ 4 h 36"/>
              <a:gd name="T12" fmla="*/ 2 w 18"/>
              <a:gd name="T13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" h="36">
                <a:moveTo>
                  <a:pt x="2" y="36"/>
                </a:moveTo>
                <a:cubicBezTo>
                  <a:pt x="0" y="35"/>
                  <a:pt x="0" y="35"/>
                  <a:pt x="0" y="35"/>
                </a:cubicBezTo>
                <a:cubicBezTo>
                  <a:pt x="16" y="3"/>
                  <a:pt x="16" y="3"/>
                  <a:pt x="16" y="3"/>
                </a:cubicBezTo>
                <a:cubicBezTo>
                  <a:pt x="16" y="3"/>
                  <a:pt x="16" y="2"/>
                  <a:pt x="15" y="2"/>
                </a:cubicBezTo>
                <a:cubicBezTo>
                  <a:pt x="16" y="0"/>
                  <a:pt x="16" y="0"/>
                  <a:pt x="16" y="0"/>
                </a:cubicBezTo>
                <a:cubicBezTo>
                  <a:pt x="18" y="1"/>
                  <a:pt x="18" y="2"/>
                  <a:pt x="18" y="4"/>
                </a:cubicBezTo>
                <a:cubicBezTo>
                  <a:pt x="2" y="36"/>
                  <a:pt x="2" y="36"/>
                  <a:pt x="2" y="36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7" name="Freeform 115">
            <a:extLst>
              <a:ext uri="{FF2B5EF4-FFF2-40B4-BE49-F238E27FC236}">
                <a16:creationId xmlns:a16="http://schemas.microsoft.com/office/drawing/2014/main" id="{E6C5730B-3A50-41E2-B042-D9E364283C16}"/>
              </a:ext>
            </a:extLst>
          </p:cNvPr>
          <p:cNvSpPr>
            <a:spLocks/>
          </p:cNvSpPr>
          <p:nvPr/>
        </p:nvSpPr>
        <p:spPr bwMode="auto">
          <a:xfrm>
            <a:off x="6943888" y="6331671"/>
            <a:ext cx="10018" cy="18784"/>
          </a:xfrm>
          <a:custGeom>
            <a:avLst/>
            <a:gdLst>
              <a:gd name="T0" fmla="*/ 2 w 19"/>
              <a:gd name="T1" fmla="*/ 35 h 35"/>
              <a:gd name="T2" fmla="*/ 0 w 19"/>
              <a:gd name="T3" fmla="*/ 34 h 35"/>
              <a:gd name="T4" fmla="*/ 15 w 19"/>
              <a:gd name="T5" fmla="*/ 2 h 35"/>
              <a:gd name="T6" fmla="*/ 19 w 19"/>
              <a:gd name="T7" fmla="*/ 1 h 35"/>
              <a:gd name="T8" fmla="*/ 18 w 19"/>
              <a:gd name="T9" fmla="*/ 3 h 35"/>
              <a:gd name="T10" fmla="*/ 17 w 19"/>
              <a:gd name="T11" fmla="*/ 3 h 35"/>
              <a:gd name="T12" fmla="*/ 2 w 19"/>
              <a:gd name="T13" fmla="*/ 35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" h="35">
                <a:moveTo>
                  <a:pt x="2" y="35"/>
                </a:moveTo>
                <a:cubicBezTo>
                  <a:pt x="0" y="34"/>
                  <a:pt x="0" y="34"/>
                  <a:pt x="0" y="34"/>
                </a:cubicBezTo>
                <a:cubicBezTo>
                  <a:pt x="15" y="2"/>
                  <a:pt x="15" y="2"/>
                  <a:pt x="15" y="2"/>
                </a:cubicBezTo>
                <a:cubicBezTo>
                  <a:pt x="16" y="1"/>
                  <a:pt x="18" y="0"/>
                  <a:pt x="19" y="1"/>
                </a:cubicBezTo>
                <a:cubicBezTo>
                  <a:pt x="18" y="3"/>
                  <a:pt x="18" y="3"/>
                  <a:pt x="18" y="3"/>
                </a:cubicBezTo>
                <a:cubicBezTo>
                  <a:pt x="18" y="3"/>
                  <a:pt x="18" y="3"/>
                  <a:pt x="17" y="3"/>
                </a:cubicBezTo>
                <a:cubicBezTo>
                  <a:pt x="2" y="35"/>
                  <a:pt x="2" y="35"/>
                  <a:pt x="2" y="35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8" name="Freeform 116">
            <a:extLst>
              <a:ext uri="{FF2B5EF4-FFF2-40B4-BE49-F238E27FC236}">
                <a16:creationId xmlns:a16="http://schemas.microsoft.com/office/drawing/2014/main" id="{2E93913C-05BA-4941-A495-C5E9A8033FB5}"/>
              </a:ext>
            </a:extLst>
          </p:cNvPr>
          <p:cNvSpPr>
            <a:spLocks noEditPoints="1"/>
          </p:cNvSpPr>
          <p:nvPr/>
        </p:nvSpPr>
        <p:spPr bwMode="auto">
          <a:xfrm>
            <a:off x="6952653" y="6331671"/>
            <a:ext cx="3757" cy="3757"/>
          </a:xfrm>
          <a:custGeom>
            <a:avLst/>
            <a:gdLst>
              <a:gd name="T0" fmla="*/ 4 w 8"/>
              <a:gd name="T1" fmla="*/ 7 h 7"/>
              <a:gd name="T2" fmla="*/ 2 w 8"/>
              <a:gd name="T3" fmla="*/ 7 h 7"/>
              <a:gd name="T4" fmla="*/ 1 w 8"/>
              <a:gd name="T5" fmla="*/ 5 h 7"/>
              <a:gd name="T6" fmla="*/ 1 w 8"/>
              <a:gd name="T7" fmla="*/ 3 h 7"/>
              <a:gd name="T8" fmla="*/ 5 w 8"/>
              <a:gd name="T9" fmla="*/ 1 h 7"/>
              <a:gd name="T10" fmla="*/ 7 w 8"/>
              <a:gd name="T11" fmla="*/ 6 h 7"/>
              <a:gd name="T12" fmla="*/ 4 w 8"/>
              <a:gd name="T13" fmla="*/ 7 h 7"/>
              <a:gd name="T14" fmla="*/ 4 w 8"/>
              <a:gd name="T15" fmla="*/ 3 h 7"/>
              <a:gd name="T16" fmla="*/ 3 w 8"/>
              <a:gd name="T17" fmla="*/ 3 h 7"/>
              <a:gd name="T18" fmla="*/ 3 w 8"/>
              <a:gd name="T19" fmla="*/ 4 h 7"/>
              <a:gd name="T20" fmla="*/ 3 w 8"/>
              <a:gd name="T21" fmla="*/ 5 h 7"/>
              <a:gd name="T22" fmla="*/ 5 w 8"/>
              <a:gd name="T23" fmla="*/ 5 h 7"/>
              <a:gd name="T24" fmla="*/ 4 w 8"/>
              <a:gd name="T25" fmla="*/ 3 h 7"/>
              <a:gd name="T26" fmla="*/ 4 w 8"/>
              <a:gd name="T27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" h="7">
                <a:moveTo>
                  <a:pt x="4" y="7"/>
                </a:moveTo>
                <a:cubicBezTo>
                  <a:pt x="3" y="7"/>
                  <a:pt x="3" y="7"/>
                  <a:pt x="2" y="7"/>
                </a:cubicBezTo>
                <a:cubicBezTo>
                  <a:pt x="1" y="7"/>
                  <a:pt x="1" y="6"/>
                  <a:pt x="1" y="5"/>
                </a:cubicBezTo>
                <a:cubicBezTo>
                  <a:pt x="0" y="4"/>
                  <a:pt x="0" y="3"/>
                  <a:pt x="1" y="3"/>
                </a:cubicBezTo>
                <a:cubicBezTo>
                  <a:pt x="1" y="1"/>
                  <a:pt x="4" y="0"/>
                  <a:pt x="5" y="1"/>
                </a:cubicBezTo>
                <a:cubicBezTo>
                  <a:pt x="7" y="2"/>
                  <a:pt x="8" y="4"/>
                  <a:pt x="7" y="6"/>
                </a:cubicBezTo>
                <a:cubicBezTo>
                  <a:pt x="6" y="7"/>
                  <a:pt x="5" y="7"/>
                  <a:pt x="4" y="7"/>
                </a:cubicBezTo>
                <a:close/>
                <a:moveTo>
                  <a:pt x="4" y="3"/>
                </a:moveTo>
                <a:cubicBezTo>
                  <a:pt x="3" y="3"/>
                  <a:pt x="3" y="3"/>
                  <a:pt x="3" y="3"/>
                </a:cubicBezTo>
                <a:cubicBezTo>
                  <a:pt x="3" y="4"/>
                  <a:pt x="2" y="4"/>
                  <a:pt x="3" y="4"/>
                </a:cubicBezTo>
                <a:cubicBezTo>
                  <a:pt x="3" y="5"/>
                  <a:pt x="3" y="5"/>
                  <a:pt x="3" y="5"/>
                </a:cubicBezTo>
                <a:cubicBezTo>
                  <a:pt x="4" y="5"/>
                  <a:pt x="5" y="5"/>
                  <a:pt x="5" y="5"/>
                </a:cubicBezTo>
                <a:cubicBezTo>
                  <a:pt x="5" y="4"/>
                  <a:pt x="5" y="3"/>
                  <a:pt x="4" y="3"/>
                </a:cubicBezTo>
                <a:cubicBezTo>
                  <a:pt x="4" y="3"/>
                  <a:pt x="4" y="3"/>
                  <a:pt x="4" y="3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9" name="Freeform 117">
            <a:extLst>
              <a:ext uri="{FF2B5EF4-FFF2-40B4-BE49-F238E27FC236}">
                <a16:creationId xmlns:a16="http://schemas.microsoft.com/office/drawing/2014/main" id="{4D1585F5-17E4-47F3-AA14-E2097CCDCEAE}"/>
              </a:ext>
            </a:extLst>
          </p:cNvPr>
          <p:cNvSpPr>
            <a:spLocks noEditPoints="1"/>
          </p:cNvSpPr>
          <p:nvPr/>
        </p:nvSpPr>
        <p:spPr bwMode="auto">
          <a:xfrm>
            <a:off x="6955158" y="6332923"/>
            <a:ext cx="3757" cy="2504"/>
          </a:xfrm>
          <a:custGeom>
            <a:avLst/>
            <a:gdLst>
              <a:gd name="T0" fmla="*/ 4 w 8"/>
              <a:gd name="T1" fmla="*/ 7 h 7"/>
              <a:gd name="T2" fmla="*/ 2 w 8"/>
              <a:gd name="T3" fmla="*/ 7 h 7"/>
              <a:gd name="T4" fmla="*/ 1 w 8"/>
              <a:gd name="T5" fmla="*/ 5 h 7"/>
              <a:gd name="T6" fmla="*/ 1 w 8"/>
              <a:gd name="T7" fmla="*/ 3 h 7"/>
              <a:gd name="T8" fmla="*/ 5 w 8"/>
              <a:gd name="T9" fmla="*/ 1 h 7"/>
              <a:gd name="T10" fmla="*/ 7 w 8"/>
              <a:gd name="T11" fmla="*/ 6 h 7"/>
              <a:gd name="T12" fmla="*/ 4 w 8"/>
              <a:gd name="T13" fmla="*/ 7 h 7"/>
              <a:gd name="T14" fmla="*/ 4 w 8"/>
              <a:gd name="T15" fmla="*/ 3 h 7"/>
              <a:gd name="T16" fmla="*/ 3 w 8"/>
              <a:gd name="T17" fmla="*/ 4 h 7"/>
              <a:gd name="T18" fmla="*/ 3 w 8"/>
              <a:gd name="T19" fmla="*/ 4 h 7"/>
              <a:gd name="T20" fmla="*/ 3 w 8"/>
              <a:gd name="T21" fmla="*/ 5 h 7"/>
              <a:gd name="T22" fmla="*/ 5 w 8"/>
              <a:gd name="T23" fmla="*/ 5 h 7"/>
              <a:gd name="T24" fmla="*/ 4 w 8"/>
              <a:gd name="T25" fmla="*/ 3 h 7"/>
              <a:gd name="T26" fmla="*/ 4 w 8"/>
              <a:gd name="T27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" h="7">
                <a:moveTo>
                  <a:pt x="4" y="7"/>
                </a:moveTo>
                <a:cubicBezTo>
                  <a:pt x="3" y="7"/>
                  <a:pt x="3" y="7"/>
                  <a:pt x="2" y="7"/>
                </a:cubicBezTo>
                <a:cubicBezTo>
                  <a:pt x="2" y="7"/>
                  <a:pt x="1" y="6"/>
                  <a:pt x="1" y="5"/>
                </a:cubicBezTo>
                <a:cubicBezTo>
                  <a:pt x="0" y="4"/>
                  <a:pt x="0" y="3"/>
                  <a:pt x="1" y="3"/>
                </a:cubicBezTo>
                <a:cubicBezTo>
                  <a:pt x="2" y="1"/>
                  <a:pt x="4" y="0"/>
                  <a:pt x="5" y="1"/>
                </a:cubicBezTo>
                <a:cubicBezTo>
                  <a:pt x="7" y="2"/>
                  <a:pt x="8" y="4"/>
                  <a:pt x="7" y="6"/>
                </a:cubicBezTo>
                <a:cubicBezTo>
                  <a:pt x="6" y="7"/>
                  <a:pt x="5" y="7"/>
                  <a:pt x="4" y="7"/>
                </a:cubicBezTo>
                <a:close/>
                <a:moveTo>
                  <a:pt x="4" y="3"/>
                </a:moveTo>
                <a:cubicBezTo>
                  <a:pt x="3" y="3"/>
                  <a:pt x="3" y="3"/>
                  <a:pt x="3" y="4"/>
                </a:cubicBezTo>
                <a:cubicBezTo>
                  <a:pt x="3" y="4"/>
                  <a:pt x="3" y="4"/>
                  <a:pt x="3" y="4"/>
                </a:cubicBezTo>
                <a:cubicBezTo>
                  <a:pt x="3" y="5"/>
                  <a:pt x="3" y="5"/>
                  <a:pt x="3" y="5"/>
                </a:cubicBezTo>
                <a:cubicBezTo>
                  <a:pt x="4" y="5"/>
                  <a:pt x="5" y="5"/>
                  <a:pt x="5" y="5"/>
                </a:cubicBezTo>
                <a:cubicBezTo>
                  <a:pt x="5" y="4"/>
                  <a:pt x="5" y="3"/>
                  <a:pt x="4" y="3"/>
                </a:cubicBezTo>
                <a:cubicBezTo>
                  <a:pt x="4" y="3"/>
                  <a:pt x="4" y="3"/>
                  <a:pt x="4" y="3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0" name="Freeform 118">
            <a:extLst>
              <a:ext uri="{FF2B5EF4-FFF2-40B4-BE49-F238E27FC236}">
                <a16:creationId xmlns:a16="http://schemas.microsoft.com/office/drawing/2014/main" id="{8B2E38A3-2A8C-41CF-AE77-EF1CF654B050}"/>
              </a:ext>
            </a:extLst>
          </p:cNvPr>
          <p:cNvSpPr>
            <a:spLocks/>
          </p:cNvSpPr>
          <p:nvPr/>
        </p:nvSpPr>
        <p:spPr bwMode="auto">
          <a:xfrm>
            <a:off x="6937627" y="6360472"/>
            <a:ext cx="8766" cy="6262"/>
          </a:xfrm>
          <a:custGeom>
            <a:avLst/>
            <a:gdLst>
              <a:gd name="T0" fmla="*/ 1 w 16"/>
              <a:gd name="T1" fmla="*/ 0 h 12"/>
              <a:gd name="T2" fmla="*/ 6 w 16"/>
              <a:gd name="T3" fmla="*/ 10 h 12"/>
              <a:gd name="T4" fmla="*/ 16 w 16"/>
              <a:gd name="T5" fmla="*/ 8 h 12"/>
              <a:gd name="T6" fmla="*/ 1 w 16"/>
              <a:gd name="T7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" h="12">
                <a:moveTo>
                  <a:pt x="1" y="0"/>
                </a:moveTo>
                <a:cubicBezTo>
                  <a:pt x="0" y="4"/>
                  <a:pt x="2" y="8"/>
                  <a:pt x="6" y="10"/>
                </a:cubicBezTo>
                <a:cubicBezTo>
                  <a:pt x="9" y="12"/>
                  <a:pt x="14" y="11"/>
                  <a:pt x="16" y="8"/>
                </a:cubicBezTo>
                <a:lnTo>
                  <a:pt x="1" y="0"/>
                </a:lnTo>
                <a:close/>
              </a:path>
            </a:pathLst>
          </a:custGeom>
          <a:solidFill>
            <a:srgbClr val="E3F3F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1" name="Freeform 119">
            <a:extLst>
              <a:ext uri="{FF2B5EF4-FFF2-40B4-BE49-F238E27FC236}">
                <a16:creationId xmlns:a16="http://schemas.microsoft.com/office/drawing/2014/main" id="{821DC185-DEAC-41FF-BDE5-545FCD3A2918}"/>
              </a:ext>
            </a:extLst>
          </p:cNvPr>
          <p:cNvSpPr>
            <a:spLocks/>
          </p:cNvSpPr>
          <p:nvPr/>
        </p:nvSpPr>
        <p:spPr bwMode="auto">
          <a:xfrm>
            <a:off x="6936375" y="6347950"/>
            <a:ext cx="20036" cy="11270"/>
          </a:xfrm>
          <a:custGeom>
            <a:avLst/>
            <a:gdLst>
              <a:gd name="T0" fmla="*/ 35 w 37"/>
              <a:gd name="T1" fmla="*/ 15 h 22"/>
              <a:gd name="T2" fmla="*/ 6 w 37"/>
              <a:gd name="T3" fmla="*/ 1 h 22"/>
              <a:gd name="T4" fmla="*/ 1 w 37"/>
              <a:gd name="T5" fmla="*/ 2 h 22"/>
              <a:gd name="T6" fmla="*/ 3 w 37"/>
              <a:gd name="T7" fmla="*/ 7 h 22"/>
              <a:gd name="T8" fmla="*/ 31 w 37"/>
              <a:gd name="T9" fmla="*/ 21 h 22"/>
              <a:gd name="T10" fmla="*/ 36 w 37"/>
              <a:gd name="T11" fmla="*/ 20 h 22"/>
              <a:gd name="T12" fmla="*/ 35 w 37"/>
              <a:gd name="T13" fmla="*/ 15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" h="22">
                <a:moveTo>
                  <a:pt x="35" y="15"/>
                </a:moveTo>
                <a:cubicBezTo>
                  <a:pt x="6" y="1"/>
                  <a:pt x="6" y="1"/>
                  <a:pt x="6" y="1"/>
                </a:cubicBezTo>
                <a:cubicBezTo>
                  <a:pt x="4" y="0"/>
                  <a:pt x="2" y="0"/>
                  <a:pt x="1" y="2"/>
                </a:cubicBezTo>
                <a:cubicBezTo>
                  <a:pt x="0" y="4"/>
                  <a:pt x="1" y="6"/>
                  <a:pt x="3" y="7"/>
                </a:cubicBezTo>
                <a:cubicBezTo>
                  <a:pt x="31" y="21"/>
                  <a:pt x="31" y="21"/>
                  <a:pt x="31" y="21"/>
                </a:cubicBezTo>
                <a:cubicBezTo>
                  <a:pt x="33" y="22"/>
                  <a:pt x="36" y="22"/>
                  <a:pt x="36" y="20"/>
                </a:cubicBezTo>
                <a:cubicBezTo>
                  <a:pt x="37" y="18"/>
                  <a:pt x="37" y="16"/>
                  <a:pt x="35" y="15"/>
                </a:cubicBez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2" name="Freeform 120">
            <a:extLst>
              <a:ext uri="{FF2B5EF4-FFF2-40B4-BE49-F238E27FC236}">
                <a16:creationId xmlns:a16="http://schemas.microsoft.com/office/drawing/2014/main" id="{B39E826C-5BD6-48F5-B64F-B58FA7A392CB}"/>
              </a:ext>
            </a:extLst>
          </p:cNvPr>
          <p:cNvSpPr>
            <a:spLocks/>
          </p:cNvSpPr>
          <p:nvPr/>
        </p:nvSpPr>
        <p:spPr bwMode="auto">
          <a:xfrm>
            <a:off x="6935122" y="6350454"/>
            <a:ext cx="18784" cy="12522"/>
          </a:xfrm>
          <a:custGeom>
            <a:avLst/>
            <a:gdLst>
              <a:gd name="T0" fmla="*/ 34 w 37"/>
              <a:gd name="T1" fmla="*/ 15 h 23"/>
              <a:gd name="T2" fmla="*/ 6 w 37"/>
              <a:gd name="T3" fmla="*/ 1 h 23"/>
              <a:gd name="T4" fmla="*/ 1 w 37"/>
              <a:gd name="T5" fmla="*/ 3 h 23"/>
              <a:gd name="T6" fmla="*/ 2 w 37"/>
              <a:gd name="T7" fmla="*/ 8 h 23"/>
              <a:gd name="T8" fmla="*/ 31 w 37"/>
              <a:gd name="T9" fmla="*/ 22 h 23"/>
              <a:gd name="T10" fmla="*/ 36 w 37"/>
              <a:gd name="T11" fmla="*/ 21 h 23"/>
              <a:gd name="T12" fmla="*/ 34 w 37"/>
              <a:gd name="T13" fmla="*/ 15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" h="23">
                <a:moveTo>
                  <a:pt x="34" y="15"/>
                </a:moveTo>
                <a:cubicBezTo>
                  <a:pt x="6" y="1"/>
                  <a:pt x="6" y="1"/>
                  <a:pt x="6" y="1"/>
                </a:cubicBezTo>
                <a:cubicBezTo>
                  <a:pt x="4" y="0"/>
                  <a:pt x="1" y="1"/>
                  <a:pt x="1" y="3"/>
                </a:cubicBezTo>
                <a:cubicBezTo>
                  <a:pt x="0" y="5"/>
                  <a:pt x="0" y="7"/>
                  <a:pt x="2" y="8"/>
                </a:cubicBezTo>
                <a:cubicBezTo>
                  <a:pt x="31" y="22"/>
                  <a:pt x="31" y="22"/>
                  <a:pt x="31" y="22"/>
                </a:cubicBezTo>
                <a:cubicBezTo>
                  <a:pt x="33" y="23"/>
                  <a:pt x="35" y="22"/>
                  <a:pt x="36" y="21"/>
                </a:cubicBezTo>
                <a:cubicBezTo>
                  <a:pt x="37" y="19"/>
                  <a:pt x="36" y="16"/>
                  <a:pt x="34" y="15"/>
                </a:cubicBezTo>
                <a:close/>
              </a:path>
            </a:pathLst>
          </a:custGeom>
          <a:solidFill>
            <a:srgbClr val="E3F3F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3" name="Freeform 121">
            <a:extLst>
              <a:ext uri="{FF2B5EF4-FFF2-40B4-BE49-F238E27FC236}">
                <a16:creationId xmlns:a16="http://schemas.microsoft.com/office/drawing/2014/main" id="{FDFE658C-E6A2-45EF-888A-5AEC9908AF26}"/>
              </a:ext>
            </a:extLst>
          </p:cNvPr>
          <p:cNvSpPr>
            <a:spLocks/>
          </p:cNvSpPr>
          <p:nvPr/>
        </p:nvSpPr>
        <p:spPr bwMode="auto">
          <a:xfrm>
            <a:off x="6932618" y="6354212"/>
            <a:ext cx="20036" cy="12522"/>
          </a:xfrm>
          <a:custGeom>
            <a:avLst/>
            <a:gdLst>
              <a:gd name="T0" fmla="*/ 35 w 38"/>
              <a:gd name="T1" fmla="*/ 15 h 23"/>
              <a:gd name="T2" fmla="*/ 6 w 38"/>
              <a:gd name="T3" fmla="*/ 1 h 23"/>
              <a:gd name="T4" fmla="*/ 1 w 38"/>
              <a:gd name="T5" fmla="*/ 3 h 23"/>
              <a:gd name="T6" fmla="*/ 3 w 38"/>
              <a:gd name="T7" fmla="*/ 8 h 23"/>
              <a:gd name="T8" fmla="*/ 32 w 38"/>
              <a:gd name="T9" fmla="*/ 22 h 23"/>
              <a:gd name="T10" fmla="*/ 37 w 38"/>
              <a:gd name="T11" fmla="*/ 20 h 23"/>
              <a:gd name="T12" fmla="*/ 35 w 38"/>
              <a:gd name="T13" fmla="*/ 15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" h="23">
                <a:moveTo>
                  <a:pt x="35" y="15"/>
                </a:moveTo>
                <a:cubicBezTo>
                  <a:pt x="6" y="1"/>
                  <a:pt x="6" y="1"/>
                  <a:pt x="6" y="1"/>
                </a:cubicBezTo>
                <a:cubicBezTo>
                  <a:pt x="4" y="0"/>
                  <a:pt x="2" y="1"/>
                  <a:pt x="1" y="3"/>
                </a:cubicBezTo>
                <a:cubicBezTo>
                  <a:pt x="0" y="5"/>
                  <a:pt x="1" y="7"/>
                  <a:pt x="3" y="8"/>
                </a:cubicBezTo>
                <a:cubicBezTo>
                  <a:pt x="32" y="22"/>
                  <a:pt x="32" y="22"/>
                  <a:pt x="32" y="22"/>
                </a:cubicBezTo>
                <a:cubicBezTo>
                  <a:pt x="34" y="23"/>
                  <a:pt x="36" y="22"/>
                  <a:pt x="37" y="20"/>
                </a:cubicBezTo>
                <a:cubicBezTo>
                  <a:pt x="38" y="18"/>
                  <a:pt x="37" y="16"/>
                  <a:pt x="35" y="15"/>
                </a:cubicBez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4" name="Rectangle 122">
            <a:extLst>
              <a:ext uri="{FF2B5EF4-FFF2-40B4-BE49-F238E27FC236}">
                <a16:creationId xmlns:a16="http://schemas.microsoft.com/office/drawing/2014/main" id="{826BCFB7-C736-4DAC-AAEF-278C433B85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5515" y="6535785"/>
            <a:ext cx="336851" cy="40071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5" name="Oval 123">
            <a:extLst>
              <a:ext uri="{FF2B5EF4-FFF2-40B4-BE49-F238E27FC236}">
                <a16:creationId xmlns:a16="http://schemas.microsoft.com/office/drawing/2014/main" id="{046E84D9-BDE6-4382-82F2-7736002801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5515" y="6557073"/>
            <a:ext cx="336851" cy="36315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6" name="Oval 124">
            <a:extLst>
              <a:ext uri="{FF2B5EF4-FFF2-40B4-BE49-F238E27FC236}">
                <a16:creationId xmlns:a16="http://schemas.microsoft.com/office/drawing/2014/main" id="{56927CF9-75CC-4149-A311-6DDFBDCA4B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5515" y="6517002"/>
            <a:ext cx="336851" cy="37567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7" name="Freeform 125">
            <a:extLst>
              <a:ext uri="{FF2B5EF4-FFF2-40B4-BE49-F238E27FC236}">
                <a16:creationId xmlns:a16="http://schemas.microsoft.com/office/drawing/2014/main" id="{63616BFF-CCCF-425B-84E4-5A58F8330D45}"/>
              </a:ext>
            </a:extLst>
          </p:cNvPr>
          <p:cNvSpPr>
            <a:spLocks/>
          </p:cNvSpPr>
          <p:nvPr/>
        </p:nvSpPr>
        <p:spPr bwMode="auto">
          <a:xfrm>
            <a:off x="7165533" y="6145088"/>
            <a:ext cx="316816" cy="353130"/>
          </a:xfrm>
          <a:custGeom>
            <a:avLst/>
            <a:gdLst>
              <a:gd name="T0" fmla="*/ 611 w 611"/>
              <a:gd name="T1" fmla="*/ 678 h 678"/>
              <a:gd name="T2" fmla="*/ 0 w 611"/>
              <a:gd name="T3" fmla="*/ 678 h 678"/>
              <a:gd name="T4" fmla="*/ 0 w 611"/>
              <a:gd name="T5" fmla="*/ 305 h 678"/>
              <a:gd name="T6" fmla="*/ 305 w 611"/>
              <a:gd name="T7" fmla="*/ 0 h 678"/>
              <a:gd name="T8" fmla="*/ 611 w 611"/>
              <a:gd name="T9" fmla="*/ 305 h 678"/>
              <a:gd name="T10" fmla="*/ 611 w 611"/>
              <a:gd name="T11" fmla="*/ 678 h 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11" h="678">
                <a:moveTo>
                  <a:pt x="611" y="678"/>
                </a:moveTo>
                <a:cubicBezTo>
                  <a:pt x="0" y="678"/>
                  <a:pt x="0" y="678"/>
                  <a:pt x="0" y="678"/>
                </a:cubicBezTo>
                <a:cubicBezTo>
                  <a:pt x="0" y="305"/>
                  <a:pt x="0" y="305"/>
                  <a:pt x="0" y="305"/>
                </a:cubicBezTo>
                <a:cubicBezTo>
                  <a:pt x="0" y="136"/>
                  <a:pt x="137" y="0"/>
                  <a:pt x="305" y="0"/>
                </a:cubicBezTo>
                <a:cubicBezTo>
                  <a:pt x="474" y="0"/>
                  <a:pt x="611" y="136"/>
                  <a:pt x="611" y="305"/>
                </a:cubicBezTo>
                <a:lnTo>
                  <a:pt x="611" y="678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8" name="Rectangle 126">
            <a:extLst>
              <a:ext uri="{FF2B5EF4-FFF2-40B4-BE49-F238E27FC236}">
                <a16:creationId xmlns:a16="http://schemas.microsoft.com/office/drawing/2014/main" id="{7F4AF407-B458-4AF7-9D03-08C8474DB9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533" y="6498218"/>
            <a:ext cx="316816" cy="33811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9" name="Oval 127">
            <a:extLst>
              <a:ext uri="{FF2B5EF4-FFF2-40B4-BE49-F238E27FC236}">
                <a16:creationId xmlns:a16="http://schemas.microsoft.com/office/drawing/2014/main" id="{E5CE5A1B-4470-4AF3-AB2B-6DAD92DE0B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533" y="6515749"/>
            <a:ext cx="316816" cy="33811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0" name="Oval 128">
            <a:extLst>
              <a:ext uri="{FF2B5EF4-FFF2-40B4-BE49-F238E27FC236}">
                <a16:creationId xmlns:a16="http://schemas.microsoft.com/office/drawing/2014/main" id="{584CDBFD-159E-4344-B314-03D1335BC1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533" y="6481939"/>
            <a:ext cx="316816" cy="33811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1" name="Freeform 129">
            <a:extLst>
              <a:ext uri="{FF2B5EF4-FFF2-40B4-BE49-F238E27FC236}">
                <a16:creationId xmlns:a16="http://schemas.microsoft.com/office/drawing/2014/main" id="{0E50CCBB-3E6F-4287-B927-7A092D581FCC}"/>
              </a:ext>
            </a:extLst>
          </p:cNvPr>
          <p:cNvSpPr>
            <a:spLocks/>
          </p:cNvSpPr>
          <p:nvPr/>
        </p:nvSpPr>
        <p:spPr bwMode="auto">
          <a:xfrm>
            <a:off x="7273225" y="6271564"/>
            <a:ext cx="107692" cy="112701"/>
          </a:xfrm>
          <a:custGeom>
            <a:avLst/>
            <a:gdLst>
              <a:gd name="T0" fmla="*/ 115 w 207"/>
              <a:gd name="T1" fmla="*/ 217 h 219"/>
              <a:gd name="T2" fmla="*/ 194 w 207"/>
              <a:gd name="T3" fmla="*/ 122 h 219"/>
              <a:gd name="T4" fmla="*/ 123 w 207"/>
              <a:gd name="T5" fmla="*/ 10 h 219"/>
              <a:gd name="T6" fmla="*/ 12 w 207"/>
              <a:gd name="T7" fmla="*/ 84 h 219"/>
              <a:gd name="T8" fmla="*/ 46 w 207"/>
              <a:gd name="T9" fmla="*/ 204 h 219"/>
              <a:gd name="T10" fmla="*/ 46 w 207"/>
              <a:gd name="T11" fmla="*/ 204 h 219"/>
              <a:gd name="T12" fmla="*/ 46 w 207"/>
              <a:gd name="T13" fmla="*/ 204 h 219"/>
              <a:gd name="T14" fmla="*/ 114 w 207"/>
              <a:gd name="T15" fmla="*/ 219 h 219"/>
              <a:gd name="T16" fmla="*/ 114 w 207"/>
              <a:gd name="T17" fmla="*/ 219 h 219"/>
              <a:gd name="T18" fmla="*/ 114 w 207"/>
              <a:gd name="T19" fmla="*/ 219 h 219"/>
              <a:gd name="T20" fmla="*/ 115 w 207"/>
              <a:gd name="T21" fmla="*/ 217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07" h="219">
                <a:moveTo>
                  <a:pt x="115" y="217"/>
                </a:moveTo>
                <a:cubicBezTo>
                  <a:pt x="123" y="187"/>
                  <a:pt x="182" y="179"/>
                  <a:pt x="194" y="122"/>
                </a:cubicBezTo>
                <a:cubicBezTo>
                  <a:pt x="207" y="60"/>
                  <a:pt x="170" y="20"/>
                  <a:pt x="123" y="10"/>
                </a:cubicBezTo>
                <a:cubicBezTo>
                  <a:pt x="75" y="0"/>
                  <a:pt x="25" y="22"/>
                  <a:pt x="12" y="84"/>
                </a:cubicBezTo>
                <a:cubicBezTo>
                  <a:pt x="0" y="142"/>
                  <a:pt x="53" y="173"/>
                  <a:pt x="46" y="204"/>
                </a:cubicBezTo>
                <a:cubicBezTo>
                  <a:pt x="46" y="204"/>
                  <a:pt x="46" y="204"/>
                  <a:pt x="46" y="204"/>
                </a:cubicBezTo>
                <a:cubicBezTo>
                  <a:pt x="46" y="204"/>
                  <a:pt x="46" y="204"/>
                  <a:pt x="46" y="204"/>
                </a:cubicBezTo>
                <a:cubicBezTo>
                  <a:pt x="51" y="205"/>
                  <a:pt x="110" y="218"/>
                  <a:pt x="114" y="219"/>
                </a:cubicBezTo>
                <a:cubicBezTo>
                  <a:pt x="114" y="219"/>
                  <a:pt x="114" y="219"/>
                  <a:pt x="114" y="219"/>
                </a:cubicBezTo>
                <a:cubicBezTo>
                  <a:pt x="114" y="219"/>
                  <a:pt x="114" y="219"/>
                  <a:pt x="114" y="219"/>
                </a:cubicBezTo>
                <a:cubicBezTo>
                  <a:pt x="114" y="218"/>
                  <a:pt x="115" y="218"/>
                  <a:pt x="115" y="2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2" name="Freeform 130">
            <a:extLst>
              <a:ext uri="{FF2B5EF4-FFF2-40B4-BE49-F238E27FC236}">
                <a16:creationId xmlns:a16="http://schemas.microsoft.com/office/drawing/2014/main" id="{D4305769-89AB-451F-BFB0-E178766F9A24}"/>
              </a:ext>
            </a:extLst>
          </p:cNvPr>
          <p:cNvSpPr>
            <a:spLocks/>
          </p:cNvSpPr>
          <p:nvPr/>
        </p:nvSpPr>
        <p:spPr bwMode="auto">
          <a:xfrm>
            <a:off x="7320810" y="6339185"/>
            <a:ext cx="11270" cy="43829"/>
          </a:xfrm>
          <a:custGeom>
            <a:avLst/>
            <a:gdLst>
              <a:gd name="T0" fmla="*/ 5 w 21"/>
              <a:gd name="T1" fmla="*/ 83 h 83"/>
              <a:gd name="T2" fmla="*/ 0 w 21"/>
              <a:gd name="T3" fmla="*/ 82 h 83"/>
              <a:gd name="T4" fmla="*/ 16 w 21"/>
              <a:gd name="T5" fmla="*/ 7 h 83"/>
              <a:gd name="T6" fmla="*/ 16 w 21"/>
              <a:gd name="T7" fmla="*/ 5 h 83"/>
              <a:gd name="T8" fmla="*/ 15 w 21"/>
              <a:gd name="T9" fmla="*/ 5 h 83"/>
              <a:gd name="T10" fmla="*/ 16 w 21"/>
              <a:gd name="T11" fmla="*/ 0 h 83"/>
              <a:gd name="T12" fmla="*/ 20 w 21"/>
              <a:gd name="T13" fmla="*/ 3 h 83"/>
              <a:gd name="T14" fmla="*/ 21 w 21"/>
              <a:gd name="T15" fmla="*/ 7 h 83"/>
              <a:gd name="T16" fmla="*/ 5 w 21"/>
              <a:gd name="T17" fmla="*/ 83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" h="83">
                <a:moveTo>
                  <a:pt x="5" y="83"/>
                </a:moveTo>
                <a:cubicBezTo>
                  <a:pt x="0" y="82"/>
                  <a:pt x="0" y="82"/>
                  <a:pt x="0" y="82"/>
                </a:cubicBezTo>
                <a:cubicBezTo>
                  <a:pt x="16" y="7"/>
                  <a:pt x="16" y="7"/>
                  <a:pt x="16" y="7"/>
                </a:cubicBezTo>
                <a:cubicBezTo>
                  <a:pt x="16" y="6"/>
                  <a:pt x="16" y="6"/>
                  <a:pt x="16" y="5"/>
                </a:cubicBezTo>
                <a:cubicBezTo>
                  <a:pt x="16" y="5"/>
                  <a:pt x="16" y="5"/>
                  <a:pt x="15" y="5"/>
                </a:cubicBezTo>
                <a:cubicBezTo>
                  <a:pt x="16" y="0"/>
                  <a:pt x="16" y="0"/>
                  <a:pt x="16" y="0"/>
                </a:cubicBezTo>
                <a:cubicBezTo>
                  <a:pt x="18" y="1"/>
                  <a:pt x="19" y="2"/>
                  <a:pt x="20" y="3"/>
                </a:cubicBezTo>
                <a:cubicBezTo>
                  <a:pt x="21" y="4"/>
                  <a:pt x="21" y="6"/>
                  <a:pt x="21" y="7"/>
                </a:cubicBezTo>
                <a:cubicBezTo>
                  <a:pt x="5" y="83"/>
                  <a:pt x="5" y="83"/>
                  <a:pt x="5" y="83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3" name="Freeform 131">
            <a:extLst>
              <a:ext uri="{FF2B5EF4-FFF2-40B4-BE49-F238E27FC236}">
                <a16:creationId xmlns:a16="http://schemas.microsoft.com/office/drawing/2014/main" id="{08BDF163-494D-4C85-B69E-13732CBC8B98}"/>
              </a:ext>
            </a:extLst>
          </p:cNvPr>
          <p:cNvSpPr>
            <a:spLocks/>
          </p:cNvSpPr>
          <p:nvPr/>
        </p:nvSpPr>
        <p:spPr bwMode="auto">
          <a:xfrm>
            <a:off x="7307036" y="6337932"/>
            <a:ext cx="12522" cy="41324"/>
          </a:xfrm>
          <a:custGeom>
            <a:avLst/>
            <a:gdLst>
              <a:gd name="T0" fmla="*/ 4 w 23"/>
              <a:gd name="T1" fmla="*/ 81 h 81"/>
              <a:gd name="T2" fmla="*/ 0 w 23"/>
              <a:gd name="T3" fmla="*/ 80 h 81"/>
              <a:gd name="T4" fmla="*/ 16 w 23"/>
              <a:gd name="T5" fmla="*/ 5 h 81"/>
              <a:gd name="T6" fmla="*/ 18 w 23"/>
              <a:gd name="T7" fmla="*/ 1 h 81"/>
              <a:gd name="T8" fmla="*/ 23 w 23"/>
              <a:gd name="T9" fmla="*/ 0 h 81"/>
              <a:gd name="T10" fmla="*/ 22 w 23"/>
              <a:gd name="T11" fmla="*/ 5 h 81"/>
              <a:gd name="T12" fmla="*/ 21 w 23"/>
              <a:gd name="T13" fmla="*/ 5 h 81"/>
              <a:gd name="T14" fmla="*/ 20 w 23"/>
              <a:gd name="T15" fmla="*/ 6 h 81"/>
              <a:gd name="T16" fmla="*/ 4 w 23"/>
              <a:gd name="T17" fmla="*/ 81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" h="81">
                <a:moveTo>
                  <a:pt x="4" y="81"/>
                </a:moveTo>
                <a:cubicBezTo>
                  <a:pt x="0" y="80"/>
                  <a:pt x="0" y="80"/>
                  <a:pt x="0" y="80"/>
                </a:cubicBezTo>
                <a:cubicBezTo>
                  <a:pt x="16" y="5"/>
                  <a:pt x="16" y="5"/>
                  <a:pt x="16" y="5"/>
                </a:cubicBezTo>
                <a:cubicBezTo>
                  <a:pt x="16" y="3"/>
                  <a:pt x="17" y="2"/>
                  <a:pt x="18" y="1"/>
                </a:cubicBezTo>
                <a:cubicBezTo>
                  <a:pt x="20" y="0"/>
                  <a:pt x="21" y="0"/>
                  <a:pt x="23" y="0"/>
                </a:cubicBezTo>
                <a:cubicBezTo>
                  <a:pt x="22" y="5"/>
                  <a:pt x="22" y="5"/>
                  <a:pt x="22" y="5"/>
                </a:cubicBezTo>
                <a:cubicBezTo>
                  <a:pt x="21" y="5"/>
                  <a:pt x="21" y="5"/>
                  <a:pt x="21" y="5"/>
                </a:cubicBezTo>
                <a:cubicBezTo>
                  <a:pt x="20" y="5"/>
                  <a:pt x="20" y="6"/>
                  <a:pt x="20" y="6"/>
                </a:cubicBezTo>
                <a:cubicBezTo>
                  <a:pt x="4" y="81"/>
                  <a:pt x="4" y="81"/>
                  <a:pt x="4" y="81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4" name="Freeform 132">
            <a:extLst>
              <a:ext uri="{FF2B5EF4-FFF2-40B4-BE49-F238E27FC236}">
                <a16:creationId xmlns:a16="http://schemas.microsoft.com/office/drawing/2014/main" id="{F56086BC-5145-4609-906B-0A6221A41AD1}"/>
              </a:ext>
            </a:extLst>
          </p:cNvPr>
          <p:cNvSpPr>
            <a:spLocks noEditPoints="1"/>
          </p:cNvSpPr>
          <p:nvPr/>
        </p:nvSpPr>
        <p:spPr bwMode="auto">
          <a:xfrm>
            <a:off x="7317054" y="6335428"/>
            <a:ext cx="8766" cy="7513"/>
          </a:xfrm>
          <a:custGeom>
            <a:avLst/>
            <a:gdLst>
              <a:gd name="T0" fmla="*/ 7 w 15"/>
              <a:gd name="T1" fmla="*/ 15 h 15"/>
              <a:gd name="T2" fmla="*/ 6 w 15"/>
              <a:gd name="T3" fmla="*/ 15 h 15"/>
              <a:gd name="T4" fmla="*/ 1 w 15"/>
              <a:gd name="T5" fmla="*/ 12 h 15"/>
              <a:gd name="T6" fmla="*/ 0 w 15"/>
              <a:gd name="T7" fmla="*/ 6 h 15"/>
              <a:gd name="T8" fmla="*/ 9 w 15"/>
              <a:gd name="T9" fmla="*/ 0 h 15"/>
              <a:gd name="T10" fmla="*/ 13 w 15"/>
              <a:gd name="T11" fmla="*/ 4 h 15"/>
              <a:gd name="T12" fmla="*/ 14 w 15"/>
              <a:gd name="T13" fmla="*/ 9 h 15"/>
              <a:gd name="T14" fmla="*/ 7 w 15"/>
              <a:gd name="T15" fmla="*/ 15 h 15"/>
              <a:gd name="T16" fmla="*/ 7 w 15"/>
              <a:gd name="T17" fmla="*/ 5 h 15"/>
              <a:gd name="T18" fmla="*/ 5 w 15"/>
              <a:gd name="T19" fmla="*/ 7 h 15"/>
              <a:gd name="T20" fmla="*/ 5 w 15"/>
              <a:gd name="T21" fmla="*/ 9 h 15"/>
              <a:gd name="T22" fmla="*/ 7 w 15"/>
              <a:gd name="T23" fmla="*/ 10 h 15"/>
              <a:gd name="T24" fmla="*/ 10 w 15"/>
              <a:gd name="T25" fmla="*/ 8 h 15"/>
              <a:gd name="T26" fmla="*/ 9 w 15"/>
              <a:gd name="T27" fmla="*/ 6 h 15"/>
              <a:gd name="T28" fmla="*/ 8 w 15"/>
              <a:gd name="T29" fmla="*/ 5 h 15"/>
              <a:gd name="T30" fmla="*/ 7 w 15"/>
              <a:gd name="T31" fmla="*/ 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" h="15">
                <a:moveTo>
                  <a:pt x="7" y="15"/>
                </a:moveTo>
                <a:cubicBezTo>
                  <a:pt x="7" y="15"/>
                  <a:pt x="6" y="15"/>
                  <a:pt x="6" y="15"/>
                </a:cubicBezTo>
                <a:cubicBezTo>
                  <a:pt x="4" y="14"/>
                  <a:pt x="2" y="13"/>
                  <a:pt x="1" y="12"/>
                </a:cubicBezTo>
                <a:cubicBezTo>
                  <a:pt x="0" y="10"/>
                  <a:pt x="0" y="8"/>
                  <a:pt x="0" y="6"/>
                </a:cubicBezTo>
                <a:cubicBezTo>
                  <a:pt x="1" y="2"/>
                  <a:pt x="5" y="0"/>
                  <a:pt x="9" y="0"/>
                </a:cubicBezTo>
                <a:cubicBezTo>
                  <a:pt x="11" y="1"/>
                  <a:pt x="12" y="2"/>
                  <a:pt x="13" y="4"/>
                </a:cubicBezTo>
                <a:cubicBezTo>
                  <a:pt x="14" y="5"/>
                  <a:pt x="15" y="7"/>
                  <a:pt x="14" y="9"/>
                </a:cubicBezTo>
                <a:cubicBezTo>
                  <a:pt x="14" y="12"/>
                  <a:pt x="11" y="15"/>
                  <a:pt x="7" y="15"/>
                </a:cubicBezTo>
                <a:close/>
                <a:moveTo>
                  <a:pt x="7" y="5"/>
                </a:moveTo>
                <a:cubicBezTo>
                  <a:pt x="6" y="5"/>
                  <a:pt x="5" y="6"/>
                  <a:pt x="5" y="7"/>
                </a:cubicBezTo>
                <a:cubicBezTo>
                  <a:pt x="4" y="8"/>
                  <a:pt x="5" y="8"/>
                  <a:pt x="5" y="9"/>
                </a:cubicBezTo>
                <a:cubicBezTo>
                  <a:pt x="5" y="10"/>
                  <a:pt x="6" y="10"/>
                  <a:pt x="7" y="10"/>
                </a:cubicBezTo>
                <a:cubicBezTo>
                  <a:pt x="8" y="10"/>
                  <a:pt x="9" y="9"/>
                  <a:pt x="10" y="8"/>
                </a:cubicBezTo>
                <a:cubicBezTo>
                  <a:pt x="10" y="7"/>
                  <a:pt x="10" y="7"/>
                  <a:pt x="9" y="6"/>
                </a:cubicBezTo>
                <a:cubicBezTo>
                  <a:pt x="9" y="6"/>
                  <a:pt x="8" y="5"/>
                  <a:pt x="8" y="5"/>
                </a:cubicBezTo>
                <a:cubicBezTo>
                  <a:pt x="7" y="5"/>
                  <a:pt x="7" y="5"/>
                  <a:pt x="7" y="5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5" name="Freeform 133">
            <a:extLst>
              <a:ext uri="{FF2B5EF4-FFF2-40B4-BE49-F238E27FC236}">
                <a16:creationId xmlns:a16="http://schemas.microsoft.com/office/drawing/2014/main" id="{CBDA9BAE-83F0-4DDC-BB63-305DDF5BC721}"/>
              </a:ext>
            </a:extLst>
          </p:cNvPr>
          <p:cNvSpPr>
            <a:spLocks noEditPoints="1"/>
          </p:cNvSpPr>
          <p:nvPr/>
        </p:nvSpPr>
        <p:spPr bwMode="auto">
          <a:xfrm>
            <a:off x="7322063" y="6336680"/>
            <a:ext cx="8766" cy="7513"/>
          </a:xfrm>
          <a:custGeom>
            <a:avLst/>
            <a:gdLst>
              <a:gd name="T0" fmla="*/ 8 w 16"/>
              <a:gd name="T1" fmla="*/ 15 h 15"/>
              <a:gd name="T2" fmla="*/ 6 w 16"/>
              <a:gd name="T3" fmla="*/ 15 h 15"/>
              <a:gd name="T4" fmla="*/ 2 w 16"/>
              <a:gd name="T5" fmla="*/ 12 h 15"/>
              <a:gd name="T6" fmla="*/ 1 w 16"/>
              <a:gd name="T7" fmla="*/ 6 h 15"/>
              <a:gd name="T8" fmla="*/ 9 w 16"/>
              <a:gd name="T9" fmla="*/ 0 h 15"/>
              <a:gd name="T10" fmla="*/ 15 w 16"/>
              <a:gd name="T11" fmla="*/ 9 h 15"/>
              <a:gd name="T12" fmla="*/ 8 w 16"/>
              <a:gd name="T13" fmla="*/ 15 h 15"/>
              <a:gd name="T14" fmla="*/ 8 w 16"/>
              <a:gd name="T15" fmla="*/ 5 h 15"/>
              <a:gd name="T16" fmla="*/ 5 w 16"/>
              <a:gd name="T17" fmla="*/ 7 h 15"/>
              <a:gd name="T18" fmla="*/ 6 w 16"/>
              <a:gd name="T19" fmla="*/ 9 h 15"/>
              <a:gd name="T20" fmla="*/ 7 w 16"/>
              <a:gd name="T21" fmla="*/ 10 h 15"/>
              <a:gd name="T22" fmla="*/ 10 w 16"/>
              <a:gd name="T23" fmla="*/ 8 h 15"/>
              <a:gd name="T24" fmla="*/ 8 w 16"/>
              <a:gd name="T25" fmla="*/ 5 h 15"/>
              <a:gd name="T26" fmla="*/ 8 w 16"/>
              <a:gd name="T27" fmla="*/ 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" h="15">
                <a:moveTo>
                  <a:pt x="8" y="15"/>
                </a:moveTo>
                <a:cubicBezTo>
                  <a:pt x="7" y="15"/>
                  <a:pt x="7" y="15"/>
                  <a:pt x="6" y="15"/>
                </a:cubicBezTo>
                <a:cubicBezTo>
                  <a:pt x="4" y="14"/>
                  <a:pt x="3" y="13"/>
                  <a:pt x="2" y="12"/>
                </a:cubicBezTo>
                <a:cubicBezTo>
                  <a:pt x="1" y="10"/>
                  <a:pt x="0" y="8"/>
                  <a:pt x="1" y="6"/>
                </a:cubicBezTo>
                <a:cubicBezTo>
                  <a:pt x="2" y="2"/>
                  <a:pt x="5" y="0"/>
                  <a:pt x="9" y="0"/>
                </a:cubicBezTo>
                <a:cubicBezTo>
                  <a:pt x="13" y="1"/>
                  <a:pt x="16" y="5"/>
                  <a:pt x="15" y="9"/>
                </a:cubicBezTo>
                <a:cubicBezTo>
                  <a:pt x="14" y="12"/>
                  <a:pt x="11" y="15"/>
                  <a:pt x="8" y="15"/>
                </a:cubicBezTo>
                <a:close/>
                <a:moveTo>
                  <a:pt x="8" y="5"/>
                </a:moveTo>
                <a:cubicBezTo>
                  <a:pt x="7" y="5"/>
                  <a:pt x="6" y="6"/>
                  <a:pt x="5" y="7"/>
                </a:cubicBezTo>
                <a:cubicBezTo>
                  <a:pt x="5" y="8"/>
                  <a:pt x="5" y="8"/>
                  <a:pt x="6" y="9"/>
                </a:cubicBezTo>
                <a:cubicBezTo>
                  <a:pt x="6" y="10"/>
                  <a:pt x="7" y="10"/>
                  <a:pt x="7" y="10"/>
                </a:cubicBezTo>
                <a:cubicBezTo>
                  <a:pt x="9" y="10"/>
                  <a:pt x="10" y="10"/>
                  <a:pt x="10" y="8"/>
                </a:cubicBezTo>
                <a:cubicBezTo>
                  <a:pt x="11" y="7"/>
                  <a:pt x="10" y="5"/>
                  <a:pt x="8" y="5"/>
                </a:cubicBezTo>
                <a:cubicBezTo>
                  <a:pt x="8" y="5"/>
                  <a:pt x="8" y="5"/>
                  <a:pt x="8" y="5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6" name="Freeform 134">
            <a:extLst>
              <a:ext uri="{FF2B5EF4-FFF2-40B4-BE49-F238E27FC236}">
                <a16:creationId xmlns:a16="http://schemas.microsoft.com/office/drawing/2014/main" id="{A662EB2F-F9E0-49D8-9B82-4E78DB86D552}"/>
              </a:ext>
            </a:extLst>
          </p:cNvPr>
          <p:cNvSpPr>
            <a:spLocks/>
          </p:cNvSpPr>
          <p:nvPr/>
        </p:nvSpPr>
        <p:spPr bwMode="auto">
          <a:xfrm>
            <a:off x="7300774" y="6404301"/>
            <a:ext cx="18784" cy="10018"/>
          </a:xfrm>
          <a:custGeom>
            <a:avLst/>
            <a:gdLst>
              <a:gd name="T0" fmla="*/ 0 w 37"/>
              <a:gd name="T1" fmla="*/ 0 h 19"/>
              <a:gd name="T2" fmla="*/ 15 w 37"/>
              <a:gd name="T3" fmla="*/ 17 h 19"/>
              <a:gd name="T4" fmla="*/ 37 w 37"/>
              <a:gd name="T5" fmla="*/ 7 h 19"/>
              <a:gd name="T6" fmla="*/ 0 w 37"/>
              <a:gd name="T7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7" h="19">
                <a:moveTo>
                  <a:pt x="0" y="0"/>
                </a:moveTo>
                <a:cubicBezTo>
                  <a:pt x="0" y="8"/>
                  <a:pt x="7" y="16"/>
                  <a:pt x="15" y="17"/>
                </a:cubicBezTo>
                <a:cubicBezTo>
                  <a:pt x="24" y="19"/>
                  <a:pt x="33" y="15"/>
                  <a:pt x="37" y="7"/>
                </a:cubicBezTo>
                <a:lnTo>
                  <a:pt x="0" y="0"/>
                </a:lnTo>
                <a:close/>
              </a:path>
            </a:pathLst>
          </a:custGeom>
          <a:solidFill>
            <a:srgbClr val="E3F3F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7" name="Freeform 135">
            <a:extLst>
              <a:ext uri="{FF2B5EF4-FFF2-40B4-BE49-F238E27FC236}">
                <a16:creationId xmlns:a16="http://schemas.microsoft.com/office/drawing/2014/main" id="{2EAB6301-A6E2-4929-97A2-670756F4845C}"/>
              </a:ext>
            </a:extLst>
          </p:cNvPr>
          <p:cNvSpPr>
            <a:spLocks/>
          </p:cNvSpPr>
          <p:nvPr/>
        </p:nvSpPr>
        <p:spPr bwMode="auto">
          <a:xfrm>
            <a:off x="7292009" y="6376752"/>
            <a:ext cx="45080" cy="17531"/>
          </a:xfrm>
          <a:custGeom>
            <a:avLst/>
            <a:gdLst>
              <a:gd name="T0" fmla="*/ 78 w 86"/>
              <a:gd name="T1" fmla="*/ 15 h 32"/>
              <a:gd name="T2" fmla="*/ 10 w 86"/>
              <a:gd name="T3" fmla="*/ 0 h 32"/>
              <a:gd name="T4" fmla="*/ 1 w 86"/>
              <a:gd name="T5" fmla="*/ 7 h 32"/>
              <a:gd name="T6" fmla="*/ 7 w 86"/>
              <a:gd name="T7" fmla="*/ 17 h 32"/>
              <a:gd name="T8" fmla="*/ 75 w 86"/>
              <a:gd name="T9" fmla="*/ 31 h 32"/>
              <a:gd name="T10" fmla="*/ 85 w 86"/>
              <a:gd name="T11" fmla="*/ 24 h 32"/>
              <a:gd name="T12" fmla="*/ 78 w 86"/>
              <a:gd name="T13" fmla="*/ 15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" h="32">
                <a:moveTo>
                  <a:pt x="78" y="15"/>
                </a:moveTo>
                <a:cubicBezTo>
                  <a:pt x="10" y="0"/>
                  <a:pt x="10" y="0"/>
                  <a:pt x="10" y="0"/>
                </a:cubicBezTo>
                <a:cubicBezTo>
                  <a:pt x="6" y="0"/>
                  <a:pt x="2" y="2"/>
                  <a:pt x="1" y="7"/>
                </a:cubicBezTo>
                <a:cubicBezTo>
                  <a:pt x="0" y="11"/>
                  <a:pt x="3" y="16"/>
                  <a:pt x="7" y="17"/>
                </a:cubicBezTo>
                <a:cubicBezTo>
                  <a:pt x="75" y="31"/>
                  <a:pt x="75" y="31"/>
                  <a:pt x="75" y="31"/>
                </a:cubicBezTo>
                <a:cubicBezTo>
                  <a:pt x="79" y="32"/>
                  <a:pt x="84" y="29"/>
                  <a:pt x="85" y="24"/>
                </a:cubicBezTo>
                <a:cubicBezTo>
                  <a:pt x="86" y="20"/>
                  <a:pt x="83" y="16"/>
                  <a:pt x="78" y="15"/>
                </a:cubicBez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8" name="Freeform 136">
            <a:extLst>
              <a:ext uri="{FF2B5EF4-FFF2-40B4-BE49-F238E27FC236}">
                <a16:creationId xmlns:a16="http://schemas.microsoft.com/office/drawing/2014/main" id="{95B526E5-5517-4416-B341-8C550FF02EF7}"/>
              </a:ext>
            </a:extLst>
          </p:cNvPr>
          <p:cNvSpPr>
            <a:spLocks/>
          </p:cNvSpPr>
          <p:nvPr/>
        </p:nvSpPr>
        <p:spPr bwMode="auto">
          <a:xfrm>
            <a:off x="7289505" y="6385517"/>
            <a:ext cx="45080" cy="16279"/>
          </a:xfrm>
          <a:custGeom>
            <a:avLst/>
            <a:gdLst>
              <a:gd name="T0" fmla="*/ 79 w 86"/>
              <a:gd name="T1" fmla="*/ 15 h 32"/>
              <a:gd name="T2" fmla="*/ 11 w 86"/>
              <a:gd name="T3" fmla="*/ 1 h 32"/>
              <a:gd name="T4" fmla="*/ 1 w 86"/>
              <a:gd name="T5" fmla="*/ 7 h 32"/>
              <a:gd name="T6" fmla="*/ 8 w 86"/>
              <a:gd name="T7" fmla="*/ 17 h 32"/>
              <a:gd name="T8" fmla="*/ 76 w 86"/>
              <a:gd name="T9" fmla="*/ 31 h 32"/>
              <a:gd name="T10" fmla="*/ 85 w 86"/>
              <a:gd name="T11" fmla="*/ 24 h 32"/>
              <a:gd name="T12" fmla="*/ 79 w 86"/>
              <a:gd name="T13" fmla="*/ 15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" h="32">
                <a:moveTo>
                  <a:pt x="79" y="15"/>
                </a:moveTo>
                <a:cubicBezTo>
                  <a:pt x="11" y="1"/>
                  <a:pt x="11" y="1"/>
                  <a:pt x="11" y="1"/>
                </a:cubicBezTo>
                <a:cubicBezTo>
                  <a:pt x="7" y="0"/>
                  <a:pt x="2" y="2"/>
                  <a:pt x="1" y="7"/>
                </a:cubicBezTo>
                <a:cubicBezTo>
                  <a:pt x="0" y="11"/>
                  <a:pt x="3" y="16"/>
                  <a:pt x="8" y="17"/>
                </a:cubicBezTo>
                <a:cubicBezTo>
                  <a:pt x="76" y="31"/>
                  <a:pt x="76" y="31"/>
                  <a:pt x="76" y="31"/>
                </a:cubicBezTo>
                <a:cubicBezTo>
                  <a:pt x="80" y="32"/>
                  <a:pt x="84" y="29"/>
                  <a:pt x="85" y="24"/>
                </a:cubicBezTo>
                <a:cubicBezTo>
                  <a:pt x="86" y="20"/>
                  <a:pt x="83" y="16"/>
                  <a:pt x="79" y="15"/>
                </a:cubicBezTo>
                <a:close/>
              </a:path>
            </a:pathLst>
          </a:custGeom>
          <a:solidFill>
            <a:srgbClr val="E3F3F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9" name="Freeform 137">
            <a:extLst>
              <a:ext uri="{FF2B5EF4-FFF2-40B4-BE49-F238E27FC236}">
                <a16:creationId xmlns:a16="http://schemas.microsoft.com/office/drawing/2014/main" id="{3960131D-30B5-4D65-93DA-513F99B70592}"/>
              </a:ext>
            </a:extLst>
          </p:cNvPr>
          <p:cNvSpPr>
            <a:spLocks/>
          </p:cNvSpPr>
          <p:nvPr/>
        </p:nvSpPr>
        <p:spPr bwMode="auto">
          <a:xfrm>
            <a:off x="7288252" y="6394283"/>
            <a:ext cx="45080" cy="16279"/>
          </a:xfrm>
          <a:custGeom>
            <a:avLst/>
            <a:gdLst>
              <a:gd name="T0" fmla="*/ 79 w 86"/>
              <a:gd name="T1" fmla="*/ 15 h 32"/>
              <a:gd name="T2" fmla="*/ 11 w 86"/>
              <a:gd name="T3" fmla="*/ 1 h 32"/>
              <a:gd name="T4" fmla="*/ 1 w 86"/>
              <a:gd name="T5" fmla="*/ 7 h 32"/>
              <a:gd name="T6" fmla="*/ 7 w 86"/>
              <a:gd name="T7" fmla="*/ 17 h 32"/>
              <a:gd name="T8" fmla="*/ 75 w 86"/>
              <a:gd name="T9" fmla="*/ 31 h 32"/>
              <a:gd name="T10" fmla="*/ 85 w 86"/>
              <a:gd name="T11" fmla="*/ 25 h 32"/>
              <a:gd name="T12" fmla="*/ 79 w 86"/>
              <a:gd name="T13" fmla="*/ 15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" h="32">
                <a:moveTo>
                  <a:pt x="79" y="15"/>
                </a:moveTo>
                <a:cubicBezTo>
                  <a:pt x="11" y="1"/>
                  <a:pt x="11" y="1"/>
                  <a:pt x="11" y="1"/>
                </a:cubicBezTo>
                <a:cubicBezTo>
                  <a:pt x="6" y="0"/>
                  <a:pt x="2" y="2"/>
                  <a:pt x="1" y="7"/>
                </a:cubicBezTo>
                <a:cubicBezTo>
                  <a:pt x="0" y="11"/>
                  <a:pt x="3" y="16"/>
                  <a:pt x="7" y="17"/>
                </a:cubicBezTo>
                <a:cubicBezTo>
                  <a:pt x="75" y="31"/>
                  <a:pt x="75" y="31"/>
                  <a:pt x="75" y="31"/>
                </a:cubicBezTo>
                <a:cubicBezTo>
                  <a:pt x="80" y="32"/>
                  <a:pt x="84" y="29"/>
                  <a:pt x="85" y="25"/>
                </a:cubicBezTo>
                <a:cubicBezTo>
                  <a:pt x="86" y="20"/>
                  <a:pt x="83" y="16"/>
                  <a:pt x="79" y="15"/>
                </a:cubicBez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0" name="Freeform 138">
            <a:extLst>
              <a:ext uri="{FF2B5EF4-FFF2-40B4-BE49-F238E27FC236}">
                <a16:creationId xmlns:a16="http://schemas.microsoft.com/office/drawing/2014/main" id="{2E821094-8529-4310-A0DB-928AE2F2DB80}"/>
              </a:ext>
            </a:extLst>
          </p:cNvPr>
          <p:cNvSpPr>
            <a:spLocks/>
          </p:cNvSpPr>
          <p:nvPr/>
        </p:nvSpPr>
        <p:spPr bwMode="auto">
          <a:xfrm>
            <a:off x="7268216" y="6280329"/>
            <a:ext cx="37567" cy="38820"/>
          </a:xfrm>
          <a:custGeom>
            <a:avLst/>
            <a:gdLst>
              <a:gd name="T0" fmla="*/ 70 w 74"/>
              <a:gd name="T1" fmla="*/ 44 h 74"/>
              <a:gd name="T2" fmla="*/ 30 w 74"/>
              <a:gd name="T3" fmla="*/ 70 h 74"/>
              <a:gd name="T4" fmla="*/ 4 w 74"/>
              <a:gd name="T5" fmla="*/ 30 h 74"/>
              <a:gd name="T6" fmla="*/ 44 w 74"/>
              <a:gd name="T7" fmla="*/ 3 h 74"/>
              <a:gd name="T8" fmla="*/ 70 w 74"/>
              <a:gd name="T9" fmla="*/ 4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4" h="74">
                <a:moveTo>
                  <a:pt x="70" y="44"/>
                </a:moveTo>
                <a:cubicBezTo>
                  <a:pt x="66" y="62"/>
                  <a:pt x="48" y="74"/>
                  <a:pt x="30" y="70"/>
                </a:cubicBezTo>
                <a:cubicBezTo>
                  <a:pt x="12" y="66"/>
                  <a:pt x="0" y="48"/>
                  <a:pt x="4" y="30"/>
                </a:cubicBezTo>
                <a:cubicBezTo>
                  <a:pt x="8" y="11"/>
                  <a:pt x="26" y="0"/>
                  <a:pt x="44" y="3"/>
                </a:cubicBezTo>
                <a:cubicBezTo>
                  <a:pt x="62" y="7"/>
                  <a:pt x="74" y="25"/>
                  <a:pt x="70" y="4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1" name="Freeform 139">
            <a:extLst>
              <a:ext uri="{FF2B5EF4-FFF2-40B4-BE49-F238E27FC236}">
                <a16:creationId xmlns:a16="http://schemas.microsoft.com/office/drawing/2014/main" id="{8168E9B5-2FA9-42D6-B2D4-30FB497F4770}"/>
              </a:ext>
            </a:extLst>
          </p:cNvPr>
          <p:cNvSpPr>
            <a:spLocks/>
          </p:cNvSpPr>
          <p:nvPr/>
        </p:nvSpPr>
        <p:spPr bwMode="auto">
          <a:xfrm>
            <a:off x="7293261" y="6265303"/>
            <a:ext cx="30054" cy="30054"/>
          </a:xfrm>
          <a:custGeom>
            <a:avLst/>
            <a:gdLst>
              <a:gd name="T0" fmla="*/ 55 w 58"/>
              <a:gd name="T1" fmla="*/ 35 h 58"/>
              <a:gd name="T2" fmla="*/ 24 w 58"/>
              <a:gd name="T3" fmla="*/ 55 h 58"/>
              <a:gd name="T4" fmla="*/ 3 w 58"/>
              <a:gd name="T5" fmla="*/ 24 h 58"/>
              <a:gd name="T6" fmla="*/ 34 w 58"/>
              <a:gd name="T7" fmla="*/ 3 h 58"/>
              <a:gd name="T8" fmla="*/ 55 w 58"/>
              <a:gd name="T9" fmla="*/ 35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" h="58">
                <a:moveTo>
                  <a:pt x="55" y="35"/>
                </a:moveTo>
                <a:cubicBezTo>
                  <a:pt x="52" y="49"/>
                  <a:pt x="38" y="58"/>
                  <a:pt x="24" y="55"/>
                </a:cubicBezTo>
                <a:cubicBezTo>
                  <a:pt x="9" y="52"/>
                  <a:pt x="0" y="38"/>
                  <a:pt x="3" y="24"/>
                </a:cubicBezTo>
                <a:cubicBezTo>
                  <a:pt x="6" y="10"/>
                  <a:pt x="20" y="0"/>
                  <a:pt x="34" y="3"/>
                </a:cubicBezTo>
                <a:cubicBezTo>
                  <a:pt x="49" y="6"/>
                  <a:pt x="58" y="21"/>
                  <a:pt x="55" y="3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2" name="Freeform 140">
            <a:extLst>
              <a:ext uri="{FF2B5EF4-FFF2-40B4-BE49-F238E27FC236}">
                <a16:creationId xmlns:a16="http://schemas.microsoft.com/office/drawing/2014/main" id="{73246999-7CE4-4E3F-90C5-726F84ACDF3D}"/>
              </a:ext>
            </a:extLst>
          </p:cNvPr>
          <p:cNvSpPr>
            <a:spLocks/>
          </p:cNvSpPr>
          <p:nvPr/>
        </p:nvSpPr>
        <p:spPr bwMode="auto">
          <a:xfrm>
            <a:off x="7317054" y="6246519"/>
            <a:ext cx="51342" cy="51342"/>
          </a:xfrm>
          <a:custGeom>
            <a:avLst/>
            <a:gdLst>
              <a:gd name="T0" fmla="*/ 94 w 99"/>
              <a:gd name="T1" fmla="*/ 59 h 99"/>
              <a:gd name="T2" fmla="*/ 40 w 99"/>
              <a:gd name="T3" fmla="*/ 94 h 99"/>
              <a:gd name="T4" fmla="*/ 5 w 99"/>
              <a:gd name="T5" fmla="*/ 40 h 99"/>
              <a:gd name="T6" fmla="*/ 59 w 99"/>
              <a:gd name="T7" fmla="*/ 5 h 99"/>
              <a:gd name="T8" fmla="*/ 94 w 99"/>
              <a:gd name="T9" fmla="*/ 5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9" h="99">
                <a:moveTo>
                  <a:pt x="94" y="59"/>
                </a:moveTo>
                <a:cubicBezTo>
                  <a:pt x="89" y="83"/>
                  <a:pt x="65" y="99"/>
                  <a:pt x="40" y="94"/>
                </a:cubicBezTo>
                <a:cubicBezTo>
                  <a:pt x="16" y="89"/>
                  <a:pt x="0" y="65"/>
                  <a:pt x="5" y="40"/>
                </a:cubicBezTo>
                <a:cubicBezTo>
                  <a:pt x="10" y="15"/>
                  <a:pt x="34" y="0"/>
                  <a:pt x="59" y="5"/>
                </a:cubicBezTo>
                <a:cubicBezTo>
                  <a:pt x="83" y="10"/>
                  <a:pt x="99" y="34"/>
                  <a:pt x="94" y="5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3" name="Freeform 141">
            <a:extLst>
              <a:ext uri="{FF2B5EF4-FFF2-40B4-BE49-F238E27FC236}">
                <a16:creationId xmlns:a16="http://schemas.microsoft.com/office/drawing/2014/main" id="{0AEDF4A4-B029-4D5A-BE58-5C95886241FB}"/>
              </a:ext>
            </a:extLst>
          </p:cNvPr>
          <p:cNvSpPr>
            <a:spLocks/>
          </p:cNvSpPr>
          <p:nvPr/>
        </p:nvSpPr>
        <p:spPr bwMode="auto">
          <a:xfrm>
            <a:off x="7354621" y="6285338"/>
            <a:ext cx="21288" cy="21288"/>
          </a:xfrm>
          <a:custGeom>
            <a:avLst/>
            <a:gdLst>
              <a:gd name="T0" fmla="*/ 40 w 42"/>
              <a:gd name="T1" fmla="*/ 24 h 41"/>
              <a:gd name="T2" fmla="*/ 17 w 42"/>
              <a:gd name="T3" fmla="*/ 39 h 41"/>
              <a:gd name="T4" fmla="*/ 3 w 42"/>
              <a:gd name="T5" fmla="*/ 17 h 41"/>
              <a:gd name="T6" fmla="*/ 25 w 42"/>
              <a:gd name="T7" fmla="*/ 2 h 41"/>
              <a:gd name="T8" fmla="*/ 40 w 42"/>
              <a:gd name="T9" fmla="*/ 24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2" h="41">
                <a:moveTo>
                  <a:pt x="40" y="24"/>
                </a:moveTo>
                <a:cubicBezTo>
                  <a:pt x="37" y="35"/>
                  <a:pt x="27" y="41"/>
                  <a:pt x="17" y="39"/>
                </a:cubicBezTo>
                <a:cubicBezTo>
                  <a:pt x="7" y="37"/>
                  <a:pt x="0" y="27"/>
                  <a:pt x="3" y="17"/>
                </a:cubicBezTo>
                <a:cubicBezTo>
                  <a:pt x="5" y="6"/>
                  <a:pt x="15" y="0"/>
                  <a:pt x="25" y="2"/>
                </a:cubicBezTo>
                <a:cubicBezTo>
                  <a:pt x="35" y="4"/>
                  <a:pt x="42" y="14"/>
                  <a:pt x="40" y="2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4" name="Freeform 142">
            <a:extLst>
              <a:ext uri="{FF2B5EF4-FFF2-40B4-BE49-F238E27FC236}">
                <a16:creationId xmlns:a16="http://schemas.microsoft.com/office/drawing/2014/main" id="{7D531AC2-2350-4084-A670-F5B44C88FDB8}"/>
              </a:ext>
            </a:extLst>
          </p:cNvPr>
          <p:cNvSpPr>
            <a:spLocks/>
          </p:cNvSpPr>
          <p:nvPr/>
        </p:nvSpPr>
        <p:spPr bwMode="auto">
          <a:xfrm>
            <a:off x="7360882" y="6296609"/>
            <a:ext cx="46333" cy="46333"/>
          </a:xfrm>
          <a:custGeom>
            <a:avLst/>
            <a:gdLst>
              <a:gd name="T0" fmla="*/ 84 w 88"/>
              <a:gd name="T1" fmla="*/ 52 h 88"/>
              <a:gd name="T2" fmla="*/ 36 w 88"/>
              <a:gd name="T3" fmla="*/ 83 h 88"/>
              <a:gd name="T4" fmla="*/ 5 w 88"/>
              <a:gd name="T5" fmla="*/ 36 h 88"/>
              <a:gd name="T6" fmla="*/ 53 w 88"/>
              <a:gd name="T7" fmla="*/ 5 h 88"/>
              <a:gd name="T8" fmla="*/ 84 w 88"/>
              <a:gd name="T9" fmla="*/ 52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8" h="88">
                <a:moveTo>
                  <a:pt x="84" y="52"/>
                </a:moveTo>
                <a:cubicBezTo>
                  <a:pt x="79" y="74"/>
                  <a:pt x="58" y="88"/>
                  <a:pt x="36" y="83"/>
                </a:cubicBezTo>
                <a:cubicBezTo>
                  <a:pt x="14" y="79"/>
                  <a:pt x="0" y="57"/>
                  <a:pt x="5" y="36"/>
                </a:cubicBezTo>
                <a:cubicBezTo>
                  <a:pt x="10" y="14"/>
                  <a:pt x="31" y="0"/>
                  <a:pt x="53" y="5"/>
                </a:cubicBezTo>
                <a:cubicBezTo>
                  <a:pt x="74" y="9"/>
                  <a:pt x="88" y="30"/>
                  <a:pt x="84" y="5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5" name="Freeform 143">
            <a:extLst>
              <a:ext uri="{FF2B5EF4-FFF2-40B4-BE49-F238E27FC236}">
                <a16:creationId xmlns:a16="http://schemas.microsoft.com/office/drawing/2014/main" id="{8C2ED431-A1B7-474D-8016-35B3D6B309CF}"/>
              </a:ext>
            </a:extLst>
          </p:cNvPr>
          <p:cNvSpPr>
            <a:spLocks/>
          </p:cNvSpPr>
          <p:nvPr/>
        </p:nvSpPr>
        <p:spPr bwMode="auto">
          <a:xfrm>
            <a:off x="10388783" y="5837039"/>
            <a:ext cx="1801965" cy="236673"/>
          </a:xfrm>
          <a:custGeom>
            <a:avLst/>
            <a:gdLst>
              <a:gd name="T0" fmla="*/ 1439 w 1439"/>
              <a:gd name="T1" fmla="*/ 189 h 189"/>
              <a:gd name="T2" fmla="*/ 425 w 1439"/>
              <a:gd name="T3" fmla="*/ 189 h 189"/>
              <a:gd name="T4" fmla="*/ 425 w 1439"/>
              <a:gd name="T5" fmla="*/ 7 h 189"/>
              <a:gd name="T6" fmla="*/ 0 w 1439"/>
              <a:gd name="T7" fmla="*/ 7 h 189"/>
              <a:gd name="T8" fmla="*/ 0 w 1439"/>
              <a:gd name="T9" fmla="*/ 0 h 189"/>
              <a:gd name="T10" fmla="*/ 433 w 1439"/>
              <a:gd name="T11" fmla="*/ 0 h 189"/>
              <a:gd name="T12" fmla="*/ 433 w 1439"/>
              <a:gd name="T13" fmla="*/ 182 h 189"/>
              <a:gd name="T14" fmla="*/ 1439 w 1439"/>
              <a:gd name="T15" fmla="*/ 182 h 189"/>
              <a:gd name="T16" fmla="*/ 1439 w 1439"/>
              <a:gd name="T17" fmla="*/ 189 h 189"/>
              <a:gd name="T18" fmla="*/ 1439 w 1439"/>
              <a:gd name="T19" fmla="*/ 18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39" h="189">
                <a:moveTo>
                  <a:pt x="1439" y="189"/>
                </a:moveTo>
                <a:lnTo>
                  <a:pt x="425" y="189"/>
                </a:lnTo>
                <a:lnTo>
                  <a:pt x="425" y="7"/>
                </a:lnTo>
                <a:lnTo>
                  <a:pt x="0" y="7"/>
                </a:lnTo>
                <a:lnTo>
                  <a:pt x="0" y="0"/>
                </a:lnTo>
                <a:lnTo>
                  <a:pt x="433" y="0"/>
                </a:lnTo>
                <a:lnTo>
                  <a:pt x="433" y="182"/>
                </a:lnTo>
                <a:lnTo>
                  <a:pt x="1439" y="182"/>
                </a:lnTo>
                <a:lnTo>
                  <a:pt x="1439" y="189"/>
                </a:lnTo>
                <a:lnTo>
                  <a:pt x="1439" y="189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6" name="Freeform 144">
            <a:extLst>
              <a:ext uri="{FF2B5EF4-FFF2-40B4-BE49-F238E27FC236}">
                <a16:creationId xmlns:a16="http://schemas.microsoft.com/office/drawing/2014/main" id="{58B49FD7-CD24-4933-B81C-3DB74D294AF0}"/>
              </a:ext>
            </a:extLst>
          </p:cNvPr>
          <p:cNvSpPr>
            <a:spLocks/>
          </p:cNvSpPr>
          <p:nvPr/>
        </p:nvSpPr>
        <p:spPr bwMode="auto">
          <a:xfrm>
            <a:off x="10391287" y="5857074"/>
            <a:ext cx="1799460" cy="237924"/>
          </a:xfrm>
          <a:custGeom>
            <a:avLst/>
            <a:gdLst>
              <a:gd name="T0" fmla="*/ 1437 w 1437"/>
              <a:gd name="T1" fmla="*/ 190 h 190"/>
              <a:gd name="T2" fmla="*/ 405 w 1437"/>
              <a:gd name="T3" fmla="*/ 190 h 190"/>
              <a:gd name="T4" fmla="*/ 405 w 1437"/>
              <a:gd name="T5" fmla="*/ 7 h 190"/>
              <a:gd name="T6" fmla="*/ 0 w 1437"/>
              <a:gd name="T7" fmla="*/ 7 h 190"/>
              <a:gd name="T8" fmla="*/ 0 w 1437"/>
              <a:gd name="T9" fmla="*/ 0 h 190"/>
              <a:gd name="T10" fmla="*/ 413 w 1437"/>
              <a:gd name="T11" fmla="*/ 0 h 190"/>
              <a:gd name="T12" fmla="*/ 413 w 1437"/>
              <a:gd name="T13" fmla="*/ 182 h 190"/>
              <a:gd name="T14" fmla="*/ 1437 w 1437"/>
              <a:gd name="T15" fmla="*/ 182 h 190"/>
              <a:gd name="T16" fmla="*/ 1437 w 1437"/>
              <a:gd name="T17" fmla="*/ 190 h 190"/>
              <a:gd name="T18" fmla="*/ 1437 w 1437"/>
              <a:gd name="T19" fmla="*/ 190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37" h="190">
                <a:moveTo>
                  <a:pt x="1437" y="190"/>
                </a:moveTo>
                <a:lnTo>
                  <a:pt x="405" y="190"/>
                </a:lnTo>
                <a:lnTo>
                  <a:pt x="405" y="7"/>
                </a:lnTo>
                <a:lnTo>
                  <a:pt x="0" y="7"/>
                </a:lnTo>
                <a:lnTo>
                  <a:pt x="0" y="0"/>
                </a:lnTo>
                <a:lnTo>
                  <a:pt x="413" y="0"/>
                </a:lnTo>
                <a:lnTo>
                  <a:pt x="413" y="182"/>
                </a:lnTo>
                <a:lnTo>
                  <a:pt x="1437" y="182"/>
                </a:lnTo>
                <a:lnTo>
                  <a:pt x="1437" y="190"/>
                </a:lnTo>
                <a:lnTo>
                  <a:pt x="1437" y="19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7" name="Freeform 145">
            <a:extLst>
              <a:ext uri="{FF2B5EF4-FFF2-40B4-BE49-F238E27FC236}">
                <a16:creationId xmlns:a16="http://schemas.microsoft.com/office/drawing/2014/main" id="{07D72D08-9275-4617-8D4C-0862F385D696}"/>
              </a:ext>
            </a:extLst>
          </p:cNvPr>
          <p:cNvSpPr>
            <a:spLocks/>
          </p:cNvSpPr>
          <p:nvPr/>
        </p:nvSpPr>
        <p:spPr bwMode="auto">
          <a:xfrm>
            <a:off x="10392540" y="5877110"/>
            <a:ext cx="1798208" cy="239177"/>
          </a:xfrm>
          <a:custGeom>
            <a:avLst/>
            <a:gdLst>
              <a:gd name="T0" fmla="*/ 1436 w 1436"/>
              <a:gd name="T1" fmla="*/ 191 h 191"/>
              <a:gd name="T2" fmla="*/ 386 w 1436"/>
              <a:gd name="T3" fmla="*/ 191 h 191"/>
              <a:gd name="T4" fmla="*/ 386 w 1436"/>
              <a:gd name="T5" fmla="*/ 8 h 191"/>
              <a:gd name="T6" fmla="*/ 0 w 1436"/>
              <a:gd name="T7" fmla="*/ 8 h 191"/>
              <a:gd name="T8" fmla="*/ 0 w 1436"/>
              <a:gd name="T9" fmla="*/ 0 h 191"/>
              <a:gd name="T10" fmla="*/ 394 w 1436"/>
              <a:gd name="T11" fmla="*/ 0 h 191"/>
              <a:gd name="T12" fmla="*/ 394 w 1436"/>
              <a:gd name="T13" fmla="*/ 183 h 191"/>
              <a:gd name="T14" fmla="*/ 1436 w 1436"/>
              <a:gd name="T15" fmla="*/ 183 h 191"/>
              <a:gd name="T16" fmla="*/ 1436 w 1436"/>
              <a:gd name="T17" fmla="*/ 191 h 191"/>
              <a:gd name="T18" fmla="*/ 1436 w 1436"/>
              <a:gd name="T19" fmla="*/ 191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36" h="191">
                <a:moveTo>
                  <a:pt x="1436" y="191"/>
                </a:moveTo>
                <a:lnTo>
                  <a:pt x="386" y="191"/>
                </a:lnTo>
                <a:lnTo>
                  <a:pt x="386" y="8"/>
                </a:lnTo>
                <a:lnTo>
                  <a:pt x="0" y="8"/>
                </a:lnTo>
                <a:lnTo>
                  <a:pt x="0" y="0"/>
                </a:lnTo>
                <a:lnTo>
                  <a:pt x="394" y="0"/>
                </a:lnTo>
                <a:lnTo>
                  <a:pt x="394" y="183"/>
                </a:lnTo>
                <a:lnTo>
                  <a:pt x="1436" y="183"/>
                </a:lnTo>
                <a:lnTo>
                  <a:pt x="1436" y="191"/>
                </a:lnTo>
                <a:lnTo>
                  <a:pt x="1436" y="191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8" name="Freeform 146">
            <a:extLst>
              <a:ext uri="{FF2B5EF4-FFF2-40B4-BE49-F238E27FC236}">
                <a16:creationId xmlns:a16="http://schemas.microsoft.com/office/drawing/2014/main" id="{2FA336F2-BB3C-4F67-87CF-D19D5D00FCB4}"/>
              </a:ext>
            </a:extLst>
          </p:cNvPr>
          <p:cNvSpPr>
            <a:spLocks/>
          </p:cNvSpPr>
          <p:nvPr/>
        </p:nvSpPr>
        <p:spPr bwMode="auto">
          <a:xfrm>
            <a:off x="10395044" y="5897146"/>
            <a:ext cx="1795703" cy="239177"/>
          </a:xfrm>
          <a:custGeom>
            <a:avLst/>
            <a:gdLst>
              <a:gd name="T0" fmla="*/ 1434 w 1434"/>
              <a:gd name="T1" fmla="*/ 191 h 191"/>
              <a:gd name="T2" fmla="*/ 366 w 1434"/>
              <a:gd name="T3" fmla="*/ 191 h 191"/>
              <a:gd name="T4" fmla="*/ 366 w 1434"/>
              <a:gd name="T5" fmla="*/ 8 h 191"/>
              <a:gd name="T6" fmla="*/ 0 w 1434"/>
              <a:gd name="T7" fmla="*/ 8 h 191"/>
              <a:gd name="T8" fmla="*/ 0 w 1434"/>
              <a:gd name="T9" fmla="*/ 0 h 191"/>
              <a:gd name="T10" fmla="*/ 374 w 1434"/>
              <a:gd name="T11" fmla="*/ 0 h 191"/>
              <a:gd name="T12" fmla="*/ 374 w 1434"/>
              <a:gd name="T13" fmla="*/ 184 h 191"/>
              <a:gd name="T14" fmla="*/ 1434 w 1434"/>
              <a:gd name="T15" fmla="*/ 184 h 191"/>
              <a:gd name="T16" fmla="*/ 1434 w 1434"/>
              <a:gd name="T17" fmla="*/ 191 h 191"/>
              <a:gd name="T18" fmla="*/ 1434 w 1434"/>
              <a:gd name="T19" fmla="*/ 191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34" h="191">
                <a:moveTo>
                  <a:pt x="1434" y="191"/>
                </a:moveTo>
                <a:lnTo>
                  <a:pt x="366" y="191"/>
                </a:lnTo>
                <a:lnTo>
                  <a:pt x="366" y="8"/>
                </a:lnTo>
                <a:lnTo>
                  <a:pt x="0" y="8"/>
                </a:lnTo>
                <a:lnTo>
                  <a:pt x="0" y="0"/>
                </a:lnTo>
                <a:lnTo>
                  <a:pt x="374" y="0"/>
                </a:lnTo>
                <a:lnTo>
                  <a:pt x="374" y="184"/>
                </a:lnTo>
                <a:lnTo>
                  <a:pt x="1434" y="184"/>
                </a:lnTo>
                <a:lnTo>
                  <a:pt x="1434" y="191"/>
                </a:lnTo>
                <a:lnTo>
                  <a:pt x="1434" y="191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9" name="Rectangle 147">
            <a:extLst>
              <a:ext uri="{FF2B5EF4-FFF2-40B4-BE49-F238E27FC236}">
                <a16:creationId xmlns:a16="http://schemas.microsoft.com/office/drawing/2014/main" id="{C18B8640-8ED5-46BB-AA3A-AC4BC34CCD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09891" y="6053675"/>
            <a:ext cx="85152" cy="9391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0" name="Freeform 148">
            <a:extLst>
              <a:ext uri="{FF2B5EF4-FFF2-40B4-BE49-F238E27FC236}">
                <a16:creationId xmlns:a16="http://schemas.microsoft.com/office/drawing/2014/main" id="{6BEF03FD-0DCF-4CD6-88F7-FEFAB69A6C95}"/>
              </a:ext>
            </a:extLst>
          </p:cNvPr>
          <p:cNvSpPr>
            <a:spLocks/>
          </p:cNvSpPr>
          <p:nvPr/>
        </p:nvSpPr>
        <p:spPr bwMode="auto">
          <a:xfrm>
            <a:off x="11021161" y="6063693"/>
            <a:ext cx="27549" cy="11270"/>
          </a:xfrm>
          <a:custGeom>
            <a:avLst/>
            <a:gdLst>
              <a:gd name="T0" fmla="*/ 54 w 54"/>
              <a:gd name="T1" fmla="*/ 10 h 20"/>
              <a:gd name="T2" fmla="*/ 44 w 54"/>
              <a:gd name="T3" fmla="*/ 20 h 20"/>
              <a:gd name="T4" fmla="*/ 10 w 54"/>
              <a:gd name="T5" fmla="*/ 20 h 20"/>
              <a:gd name="T6" fmla="*/ 0 w 54"/>
              <a:gd name="T7" fmla="*/ 10 h 20"/>
              <a:gd name="T8" fmla="*/ 10 w 54"/>
              <a:gd name="T9" fmla="*/ 0 h 20"/>
              <a:gd name="T10" fmla="*/ 44 w 54"/>
              <a:gd name="T11" fmla="*/ 0 h 20"/>
              <a:gd name="T12" fmla="*/ 54 w 54"/>
              <a:gd name="T13" fmla="*/ 1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4" h="20">
                <a:moveTo>
                  <a:pt x="54" y="10"/>
                </a:moveTo>
                <a:cubicBezTo>
                  <a:pt x="54" y="16"/>
                  <a:pt x="49" y="20"/>
                  <a:pt x="44" y="20"/>
                </a:cubicBezTo>
                <a:cubicBezTo>
                  <a:pt x="10" y="20"/>
                  <a:pt x="10" y="20"/>
                  <a:pt x="10" y="20"/>
                </a:cubicBezTo>
                <a:cubicBezTo>
                  <a:pt x="4" y="20"/>
                  <a:pt x="0" y="16"/>
                  <a:pt x="0" y="10"/>
                </a:cubicBezTo>
                <a:cubicBezTo>
                  <a:pt x="0" y="5"/>
                  <a:pt x="4" y="0"/>
                  <a:pt x="10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9" y="0"/>
                  <a:pt x="54" y="5"/>
                  <a:pt x="54" y="10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1" name="Oval 149">
            <a:extLst>
              <a:ext uri="{FF2B5EF4-FFF2-40B4-BE49-F238E27FC236}">
                <a16:creationId xmlns:a16="http://schemas.microsoft.com/office/drawing/2014/main" id="{A062843B-8F88-4FDA-B76E-1B0ACEF1E7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21161" y="6063693"/>
            <a:ext cx="10018" cy="11270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2" name="Freeform 150">
            <a:extLst>
              <a:ext uri="{FF2B5EF4-FFF2-40B4-BE49-F238E27FC236}">
                <a16:creationId xmlns:a16="http://schemas.microsoft.com/office/drawing/2014/main" id="{CE4602B9-E520-4B49-B32C-21AF192E5ACE}"/>
              </a:ext>
            </a:extLst>
          </p:cNvPr>
          <p:cNvSpPr>
            <a:spLocks/>
          </p:cNvSpPr>
          <p:nvPr/>
        </p:nvSpPr>
        <p:spPr bwMode="auto">
          <a:xfrm>
            <a:off x="11021161" y="6083729"/>
            <a:ext cx="27549" cy="11270"/>
          </a:xfrm>
          <a:custGeom>
            <a:avLst/>
            <a:gdLst>
              <a:gd name="T0" fmla="*/ 54 w 54"/>
              <a:gd name="T1" fmla="*/ 10 h 20"/>
              <a:gd name="T2" fmla="*/ 44 w 54"/>
              <a:gd name="T3" fmla="*/ 20 h 20"/>
              <a:gd name="T4" fmla="*/ 10 w 54"/>
              <a:gd name="T5" fmla="*/ 20 h 20"/>
              <a:gd name="T6" fmla="*/ 0 w 54"/>
              <a:gd name="T7" fmla="*/ 10 h 20"/>
              <a:gd name="T8" fmla="*/ 10 w 54"/>
              <a:gd name="T9" fmla="*/ 0 h 20"/>
              <a:gd name="T10" fmla="*/ 44 w 54"/>
              <a:gd name="T11" fmla="*/ 0 h 20"/>
              <a:gd name="T12" fmla="*/ 54 w 54"/>
              <a:gd name="T13" fmla="*/ 1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4" h="20">
                <a:moveTo>
                  <a:pt x="54" y="10"/>
                </a:moveTo>
                <a:cubicBezTo>
                  <a:pt x="54" y="16"/>
                  <a:pt x="49" y="20"/>
                  <a:pt x="44" y="20"/>
                </a:cubicBezTo>
                <a:cubicBezTo>
                  <a:pt x="10" y="20"/>
                  <a:pt x="10" y="20"/>
                  <a:pt x="10" y="20"/>
                </a:cubicBezTo>
                <a:cubicBezTo>
                  <a:pt x="4" y="20"/>
                  <a:pt x="0" y="16"/>
                  <a:pt x="0" y="10"/>
                </a:cubicBezTo>
                <a:cubicBezTo>
                  <a:pt x="0" y="5"/>
                  <a:pt x="4" y="0"/>
                  <a:pt x="10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9" y="0"/>
                  <a:pt x="54" y="5"/>
                  <a:pt x="54" y="10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3" name="Oval 151">
            <a:extLst>
              <a:ext uri="{FF2B5EF4-FFF2-40B4-BE49-F238E27FC236}">
                <a16:creationId xmlns:a16="http://schemas.microsoft.com/office/drawing/2014/main" id="{F207FBFA-8DA6-4659-B13D-D9355F5495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21161" y="6083729"/>
            <a:ext cx="10018" cy="11270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4" name="Freeform 152">
            <a:extLst>
              <a:ext uri="{FF2B5EF4-FFF2-40B4-BE49-F238E27FC236}">
                <a16:creationId xmlns:a16="http://schemas.microsoft.com/office/drawing/2014/main" id="{E3BB9161-A5BF-4EC2-830A-ED610A59C62A}"/>
              </a:ext>
            </a:extLst>
          </p:cNvPr>
          <p:cNvSpPr>
            <a:spLocks/>
          </p:cNvSpPr>
          <p:nvPr/>
        </p:nvSpPr>
        <p:spPr bwMode="auto">
          <a:xfrm>
            <a:off x="11021161" y="6105017"/>
            <a:ext cx="27549" cy="10018"/>
          </a:xfrm>
          <a:custGeom>
            <a:avLst/>
            <a:gdLst>
              <a:gd name="T0" fmla="*/ 54 w 54"/>
              <a:gd name="T1" fmla="*/ 10 h 20"/>
              <a:gd name="T2" fmla="*/ 44 w 54"/>
              <a:gd name="T3" fmla="*/ 20 h 20"/>
              <a:gd name="T4" fmla="*/ 10 w 54"/>
              <a:gd name="T5" fmla="*/ 20 h 20"/>
              <a:gd name="T6" fmla="*/ 0 w 54"/>
              <a:gd name="T7" fmla="*/ 10 h 20"/>
              <a:gd name="T8" fmla="*/ 10 w 54"/>
              <a:gd name="T9" fmla="*/ 0 h 20"/>
              <a:gd name="T10" fmla="*/ 44 w 54"/>
              <a:gd name="T11" fmla="*/ 0 h 20"/>
              <a:gd name="T12" fmla="*/ 54 w 54"/>
              <a:gd name="T13" fmla="*/ 1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4" h="20">
                <a:moveTo>
                  <a:pt x="54" y="10"/>
                </a:moveTo>
                <a:cubicBezTo>
                  <a:pt x="54" y="15"/>
                  <a:pt x="49" y="20"/>
                  <a:pt x="44" y="20"/>
                </a:cubicBezTo>
                <a:cubicBezTo>
                  <a:pt x="10" y="20"/>
                  <a:pt x="10" y="20"/>
                  <a:pt x="10" y="20"/>
                </a:cubicBezTo>
                <a:cubicBezTo>
                  <a:pt x="4" y="20"/>
                  <a:pt x="0" y="15"/>
                  <a:pt x="0" y="10"/>
                </a:cubicBezTo>
                <a:cubicBezTo>
                  <a:pt x="0" y="4"/>
                  <a:pt x="4" y="0"/>
                  <a:pt x="10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9" y="0"/>
                  <a:pt x="54" y="4"/>
                  <a:pt x="54" y="10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5" name="Oval 153">
            <a:extLst>
              <a:ext uri="{FF2B5EF4-FFF2-40B4-BE49-F238E27FC236}">
                <a16:creationId xmlns:a16="http://schemas.microsoft.com/office/drawing/2014/main" id="{44527E8F-110C-47F5-A2AD-05757AFF52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38692" y="6105017"/>
            <a:ext cx="10018" cy="10018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6" name="Freeform 154">
            <a:extLst>
              <a:ext uri="{FF2B5EF4-FFF2-40B4-BE49-F238E27FC236}">
                <a16:creationId xmlns:a16="http://schemas.microsoft.com/office/drawing/2014/main" id="{72BC8B67-E3D7-4430-800A-D1EF27B09A5A}"/>
              </a:ext>
            </a:extLst>
          </p:cNvPr>
          <p:cNvSpPr>
            <a:spLocks/>
          </p:cNvSpPr>
          <p:nvPr/>
        </p:nvSpPr>
        <p:spPr bwMode="auto">
          <a:xfrm>
            <a:off x="11021161" y="6125052"/>
            <a:ext cx="27549" cy="11270"/>
          </a:xfrm>
          <a:custGeom>
            <a:avLst/>
            <a:gdLst>
              <a:gd name="T0" fmla="*/ 54 w 54"/>
              <a:gd name="T1" fmla="*/ 10 h 20"/>
              <a:gd name="T2" fmla="*/ 44 w 54"/>
              <a:gd name="T3" fmla="*/ 20 h 20"/>
              <a:gd name="T4" fmla="*/ 10 w 54"/>
              <a:gd name="T5" fmla="*/ 20 h 20"/>
              <a:gd name="T6" fmla="*/ 0 w 54"/>
              <a:gd name="T7" fmla="*/ 10 h 20"/>
              <a:gd name="T8" fmla="*/ 10 w 54"/>
              <a:gd name="T9" fmla="*/ 0 h 20"/>
              <a:gd name="T10" fmla="*/ 44 w 54"/>
              <a:gd name="T11" fmla="*/ 0 h 20"/>
              <a:gd name="T12" fmla="*/ 54 w 54"/>
              <a:gd name="T13" fmla="*/ 1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4" h="20">
                <a:moveTo>
                  <a:pt x="54" y="10"/>
                </a:moveTo>
                <a:cubicBezTo>
                  <a:pt x="54" y="16"/>
                  <a:pt x="49" y="20"/>
                  <a:pt x="44" y="20"/>
                </a:cubicBezTo>
                <a:cubicBezTo>
                  <a:pt x="10" y="20"/>
                  <a:pt x="10" y="20"/>
                  <a:pt x="10" y="20"/>
                </a:cubicBezTo>
                <a:cubicBezTo>
                  <a:pt x="4" y="20"/>
                  <a:pt x="0" y="16"/>
                  <a:pt x="0" y="10"/>
                </a:cubicBezTo>
                <a:cubicBezTo>
                  <a:pt x="0" y="5"/>
                  <a:pt x="4" y="0"/>
                  <a:pt x="10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9" y="0"/>
                  <a:pt x="54" y="5"/>
                  <a:pt x="54" y="10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7" name="Oval 155">
            <a:extLst>
              <a:ext uri="{FF2B5EF4-FFF2-40B4-BE49-F238E27FC236}">
                <a16:creationId xmlns:a16="http://schemas.microsoft.com/office/drawing/2014/main" id="{07EAD909-4F21-4E61-8E62-A4BB3D9B9E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21161" y="6125052"/>
            <a:ext cx="10018" cy="11270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8" name="Rectangle 156">
            <a:extLst>
              <a:ext uri="{FF2B5EF4-FFF2-40B4-BE49-F238E27FC236}">
                <a16:creationId xmlns:a16="http://schemas.microsoft.com/office/drawing/2014/main" id="{76AD7B5E-D1EC-4F28-84B1-300C359FC4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54971" y="6063693"/>
            <a:ext cx="28802" cy="31306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9" name="Freeform 157">
            <a:extLst>
              <a:ext uri="{FF2B5EF4-FFF2-40B4-BE49-F238E27FC236}">
                <a16:creationId xmlns:a16="http://schemas.microsoft.com/office/drawing/2014/main" id="{74542C17-4080-4804-BE32-1CE01670297B}"/>
              </a:ext>
            </a:extLst>
          </p:cNvPr>
          <p:cNvSpPr>
            <a:spLocks/>
          </p:cNvSpPr>
          <p:nvPr/>
        </p:nvSpPr>
        <p:spPr bwMode="auto">
          <a:xfrm>
            <a:off x="10104526" y="2348316"/>
            <a:ext cx="1756884" cy="569767"/>
          </a:xfrm>
          <a:custGeom>
            <a:avLst/>
            <a:gdLst>
              <a:gd name="T0" fmla="*/ 3380 w 3380"/>
              <a:gd name="T1" fmla="*/ 548 h 1096"/>
              <a:gd name="T2" fmla="*/ 2832 w 3380"/>
              <a:gd name="T3" fmla="*/ 1096 h 1096"/>
              <a:gd name="T4" fmla="*/ 548 w 3380"/>
              <a:gd name="T5" fmla="*/ 1096 h 1096"/>
              <a:gd name="T6" fmla="*/ 0 w 3380"/>
              <a:gd name="T7" fmla="*/ 548 h 1096"/>
              <a:gd name="T8" fmla="*/ 548 w 3380"/>
              <a:gd name="T9" fmla="*/ 0 h 1096"/>
              <a:gd name="T10" fmla="*/ 2832 w 3380"/>
              <a:gd name="T11" fmla="*/ 0 h 1096"/>
              <a:gd name="T12" fmla="*/ 3380 w 3380"/>
              <a:gd name="T13" fmla="*/ 548 h 10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380" h="1096">
                <a:moveTo>
                  <a:pt x="3380" y="548"/>
                </a:moveTo>
                <a:cubicBezTo>
                  <a:pt x="3380" y="850"/>
                  <a:pt x="3134" y="1096"/>
                  <a:pt x="2832" y="1096"/>
                </a:cubicBezTo>
                <a:cubicBezTo>
                  <a:pt x="548" y="1096"/>
                  <a:pt x="548" y="1096"/>
                  <a:pt x="548" y="1096"/>
                </a:cubicBezTo>
                <a:cubicBezTo>
                  <a:pt x="245" y="1096"/>
                  <a:pt x="0" y="850"/>
                  <a:pt x="0" y="548"/>
                </a:cubicBezTo>
                <a:cubicBezTo>
                  <a:pt x="0" y="245"/>
                  <a:pt x="245" y="0"/>
                  <a:pt x="548" y="0"/>
                </a:cubicBezTo>
                <a:cubicBezTo>
                  <a:pt x="2832" y="0"/>
                  <a:pt x="2832" y="0"/>
                  <a:pt x="2832" y="0"/>
                </a:cubicBezTo>
                <a:cubicBezTo>
                  <a:pt x="3134" y="0"/>
                  <a:pt x="3380" y="245"/>
                  <a:pt x="3380" y="548"/>
                </a:cubicBez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0" name="Freeform 158">
            <a:extLst>
              <a:ext uri="{FF2B5EF4-FFF2-40B4-BE49-F238E27FC236}">
                <a16:creationId xmlns:a16="http://schemas.microsoft.com/office/drawing/2014/main" id="{78180697-5997-4D88-BA4B-10361A7BC9EB}"/>
              </a:ext>
            </a:extLst>
          </p:cNvPr>
          <p:cNvSpPr>
            <a:spLocks/>
          </p:cNvSpPr>
          <p:nvPr/>
        </p:nvSpPr>
        <p:spPr bwMode="auto">
          <a:xfrm>
            <a:off x="11222770" y="2504845"/>
            <a:ext cx="98927" cy="215384"/>
          </a:xfrm>
          <a:custGeom>
            <a:avLst/>
            <a:gdLst>
              <a:gd name="T0" fmla="*/ 30 w 189"/>
              <a:gd name="T1" fmla="*/ 0 h 414"/>
              <a:gd name="T2" fmla="*/ 0 w 189"/>
              <a:gd name="T3" fmla="*/ 408 h 414"/>
              <a:gd name="T4" fmla="*/ 189 w 189"/>
              <a:gd name="T5" fmla="*/ 414 h 414"/>
              <a:gd name="T6" fmla="*/ 115 w 189"/>
              <a:gd name="T7" fmla="*/ 0 h 414"/>
              <a:gd name="T8" fmla="*/ 30 w 189"/>
              <a:gd name="T9" fmla="*/ 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" h="414">
                <a:moveTo>
                  <a:pt x="30" y="0"/>
                </a:moveTo>
                <a:cubicBezTo>
                  <a:pt x="0" y="408"/>
                  <a:pt x="0" y="408"/>
                  <a:pt x="0" y="408"/>
                </a:cubicBezTo>
                <a:cubicBezTo>
                  <a:pt x="53" y="410"/>
                  <a:pt x="136" y="413"/>
                  <a:pt x="189" y="414"/>
                </a:cubicBezTo>
                <a:cubicBezTo>
                  <a:pt x="115" y="0"/>
                  <a:pt x="115" y="0"/>
                  <a:pt x="115" y="0"/>
                </a:cubicBezTo>
                <a:lnTo>
                  <a:pt x="30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1" name="Freeform 159">
            <a:extLst>
              <a:ext uri="{FF2B5EF4-FFF2-40B4-BE49-F238E27FC236}">
                <a16:creationId xmlns:a16="http://schemas.microsoft.com/office/drawing/2014/main" id="{E3723878-466B-4444-AB98-49649FB65B8B}"/>
              </a:ext>
            </a:extLst>
          </p:cNvPr>
          <p:cNvSpPr>
            <a:spLocks/>
          </p:cNvSpPr>
          <p:nvPr/>
        </p:nvSpPr>
        <p:spPr bwMode="auto">
          <a:xfrm>
            <a:off x="11234041" y="2507350"/>
            <a:ext cx="30054" cy="117710"/>
          </a:xfrm>
          <a:custGeom>
            <a:avLst/>
            <a:gdLst>
              <a:gd name="T0" fmla="*/ 44 w 58"/>
              <a:gd name="T1" fmla="*/ 15 h 227"/>
              <a:gd name="T2" fmla="*/ 28 w 58"/>
              <a:gd name="T3" fmla="*/ 13 h 227"/>
              <a:gd name="T4" fmla="*/ 0 w 58"/>
              <a:gd name="T5" fmla="*/ 197 h 227"/>
              <a:gd name="T6" fmla="*/ 28 w 58"/>
              <a:gd name="T7" fmla="*/ 227 h 227"/>
              <a:gd name="T8" fmla="*/ 57 w 58"/>
              <a:gd name="T9" fmla="*/ 199 h 227"/>
              <a:gd name="T10" fmla="*/ 44 w 58"/>
              <a:gd name="T11" fmla="*/ 15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8" h="227">
                <a:moveTo>
                  <a:pt x="44" y="15"/>
                </a:moveTo>
                <a:cubicBezTo>
                  <a:pt x="43" y="1"/>
                  <a:pt x="28" y="0"/>
                  <a:pt x="28" y="13"/>
                </a:cubicBezTo>
                <a:cubicBezTo>
                  <a:pt x="26" y="49"/>
                  <a:pt x="15" y="124"/>
                  <a:pt x="0" y="197"/>
                </a:cubicBezTo>
                <a:cubicBezTo>
                  <a:pt x="11" y="209"/>
                  <a:pt x="28" y="227"/>
                  <a:pt x="28" y="227"/>
                </a:cubicBezTo>
                <a:cubicBezTo>
                  <a:pt x="28" y="227"/>
                  <a:pt x="50" y="207"/>
                  <a:pt x="57" y="199"/>
                </a:cubicBezTo>
                <a:cubicBezTo>
                  <a:pt x="58" y="126"/>
                  <a:pt x="46" y="62"/>
                  <a:pt x="44" y="15"/>
                </a:cubicBez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2" name="Freeform 160">
            <a:extLst>
              <a:ext uri="{FF2B5EF4-FFF2-40B4-BE49-F238E27FC236}">
                <a16:creationId xmlns:a16="http://schemas.microsoft.com/office/drawing/2014/main" id="{2D89E887-0DE9-46E4-A8A3-F1C76F6E8630}"/>
              </a:ext>
            </a:extLst>
          </p:cNvPr>
          <p:cNvSpPr>
            <a:spLocks/>
          </p:cNvSpPr>
          <p:nvPr/>
        </p:nvSpPr>
        <p:spPr bwMode="auto">
          <a:xfrm>
            <a:off x="11246563" y="2503593"/>
            <a:ext cx="12522" cy="11270"/>
          </a:xfrm>
          <a:custGeom>
            <a:avLst/>
            <a:gdLst>
              <a:gd name="T0" fmla="*/ 10 w 10"/>
              <a:gd name="T1" fmla="*/ 1 h 9"/>
              <a:gd name="T2" fmla="*/ 2 w 10"/>
              <a:gd name="T3" fmla="*/ 0 h 9"/>
              <a:gd name="T4" fmla="*/ 0 w 10"/>
              <a:gd name="T5" fmla="*/ 9 h 9"/>
              <a:gd name="T6" fmla="*/ 10 w 10"/>
              <a:gd name="T7" fmla="*/ 9 h 9"/>
              <a:gd name="T8" fmla="*/ 10 w 10"/>
              <a:gd name="T9" fmla="*/ 1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" h="9">
                <a:moveTo>
                  <a:pt x="10" y="1"/>
                </a:moveTo>
                <a:lnTo>
                  <a:pt x="2" y="0"/>
                </a:lnTo>
                <a:lnTo>
                  <a:pt x="0" y="9"/>
                </a:lnTo>
                <a:lnTo>
                  <a:pt x="10" y="9"/>
                </a:lnTo>
                <a:lnTo>
                  <a:pt x="10" y="1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3" name="Freeform 161">
            <a:extLst>
              <a:ext uri="{FF2B5EF4-FFF2-40B4-BE49-F238E27FC236}">
                <a16:creationId xmlns:a16="http://schemas.microsoft.com/office/drawing/2014/main" id="{9EB2793B-F468-47DA-8976-1C3AEDF7BE42}"/>
              </a:ext>
            </a:extLst>
          </p:cNvPr>
          <p:cNvSpPr>
            <a:spLocks/>
          </p:cNvSpPr>
          <p:nvPr/>
        </p:nvSpPr>
        <p:spPr bwMode="auto">
          <a:xfrm>
            <a:off x="11214005" y="2504845"/>
            <a:ext cx="123972" cy="350625"/>
          </a:xfrm>
          <a:custGeom>
            <a:avLst/>
            <a:gdLst>
              <a:gd name="T0" fmla="*/ 238 w 240"/>
              <a:gd name="T1" fmla="*/ 394 h 675"/>
              <a:gd name="T2" fmla="*/ 231 w 240"/>
              <a:gd name="T3" fmla="*/ 0 h 675"/>
              <a:gd name="T4" fmla="*/ 134 w 240"/>
              <a:gd name="T5" fmla="*/ 0 h 675"/>
              <a:gd name="T6" fmla="*/ 63 w 240"/>
              <a:gd name="T7" fmla="*/ 210 h 675"/>
              <a:gd name="T8" fmla="*/ 49 w 240"/>
              <a:gd name="T9" fmla="*/ 0 h 675"/>
              <a:gd name="T10" fmla="*/ 10 w 240"/>
              <a:gd name="T11" fmla="*/ 0 h 675"/>
              <a:gd name="T12" fmla="*/ 4 w 240"/>
              <a:gd name="T13" fmla="*/ 408 h 675"/>
              <a:gd name="T14" fmla="*/ 13 w 240"/>
              <a:gd name="T15" fmla="*/ 664 h 675"/>
              <a:gd name="T16" fmla="*/ 84 w 240"/>
              <a:gd name="T17" fmla="*/ 670 h 675"/>
              <a:gd name="T18" fmla="*/ 105 w 240"/>
              <a:gd name="T19" fmla="*/ 510 h 675"/>
              <a:gd name="T20" fmla="*/ 121 w 240"/>
              <a:gd name="T21" fmla="*/ 670 h 675"/>
              <a:gd name="T22" fmla="*/ 216 w 240"/>
              <a:gd name="T23" fmla="*/ 675 h 675"/>
              <a:gd name="T24" fmla="*/ 238 w 240"/>
              <a:gd name="T25" fmla="*/ 394 h 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0" h="675">
                <a:moveTo>
                  <a:pt x="238" y="394"/>
                </a:moveTo>
                <a:cubicBezTo>
                  <a:pt x="240" y="372"/>
                  <a:pt x="231" y="0"/>
                  <a:pt x="231" y="0"/>
                </a:cubicBezTo>
                <a:cubicBezTo>
                  <a:pt x="134" y="0"/>
                  <a:pt x="134" y="0"/>
                  <a:pt x="134" y="0"/>
                </a:cubicBezTo>
                <a:cubicBezTo>
                  <a:pt x="134" y="0"/>
                  <a:pt x="70" y="187"/>
                  <a:pt x="63" y="210"/>
                </a:cubicBezTo>
                <a:cubicBezTo>
                  <a:pt x="49" y="0"/>
                  <a:pt x="49" y="0"/>
                  <a:pt x="49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10" y="0"/>
                  <a:pt x="8" y="356"/>
                  <a:pt x="4" y="408"/>
                </a:cubicBezTo>
                <a:cubicBezTo>
                  <a:pt x="0" y="461"/>
                  <a:pt x="13" y="664"/>
                  <a:pt x="13" y="664"/>
                </a:cubicBezTo>
                <a:cubicBezTo>
                  <a:pt x="84" y="670"/>
                  <a:pt x="84" y="670"/>
                  <a:pt x="84" y="670"/>
                </a:cubicBezTo>
                <a:cubicBezTo>
                  <a:pt x="105" y="510"/>
                  <a:pt x="105" y="510"/>
                  <a:pt x="105" y="510"/>
                </a:cubicBezTo>
                <a:cubicBezTo>
                  <a:pt x="121" y="670"/>
                  <a:pt x="121" y="670"/>
                  <a:pt x="121" y="670"/>
                </a:cubicBezTo>
                <a:cubicBezTo>
                  <a:pt x="216" y="675"/>
                  <a:pt x="216" y="675"/>
                  <a:pt x="216" y="675"/>
                </a:cubicBezTo>
                <a:cubicBezTo>
                  <a:pt x="216" y="675"/>
                  <a:pt x="237" y="416"/>
                  <a:pt x="238" y="39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4" name="Freeform 162">
            <a:extLst>
              <a:ext uri="{FF2B5EF4-FFF2-40B4-BE49-F238E27FC236}">
                <a16:creationId xmlns:a16="http://schemas.microsoft.com/office/drawing/2014/main" id="{033BE381-1991-4361-A970-4F07FBB70D70}"/>
              </a:ext>
            </a:extLst>
          </p:cNvPr>
          <p:cNvSpPr>
            <a:spLocks/>
          </p:cNvSpPr>
          <p:nvPr/>
        </p:nvSpPr>
        <p:spPr bwMode="auto">
          <a:xfrm>
            <a:off x="11229032" y="2449747"/>
            <a:ext cx="53846" cy="55098"/>
          </a:xfrm>
          <a:custGeom>
            <a:avLst/>
            <a:gdLst>
              <a:gd name="T0" fmla="*/ 8 w 103"/>
              <a:gd name="T1" fmla="*/ 26 h 104"/>
              <a:gd name="T2" fmla="*/ 41 w 103"/>
              <a:gd name="T3" fmla="*/ 2 h 104"/>
              <a:gd name="T4" fmla="*/ 75 w 103"/>
              <a:gd name="T5" fmla="*/ 28 h 104"/>
              <a:gd name="T6" fmla="*/ 103 w 103"/>
              <a:gd name="T7" fmla="*/ 104 h 104"/>
              <a:gd name="T8" fmla="*/ 18 w 103"/>
              <a:gd name="T9" fmla="*/ 104 h 104"/>
              <a:gd name="T10" fmla="*/ 13 w 103"/>
              <a:gd name="T11" fmla="*/ 72 h 104"/>
              <a:gd name="T12" fmla="*/ 12 w 103"/>
              <a:gd name="T13" fmla="*/ 63 h 104"/>
              <a:gd name="T14" fmla="*/ 9 w 103"/>
              <a:gd name="T15" fmla="*/ 57 h 104"/>
              <a:gd name="T16" fmla="*/ 10 w 103"/>
              <a:gd name="T17" fmla="*/ 50 h 104"/>
              <a:gd name="T18" fmla="*/ 0 w 103"/>
              <a:gd name="T19" fmla="*/ 50 h 104"/>
              <a:gd name="T20" fmla="*/ 8 w 103"/>
              <a:gd name="T21" fmla="*/ 26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3" h="104">
                <a:moveTo>
                  <a:pt x="8" y="26"/>
                </a:moveTo>
                <a:cubicBezTo>
                  <a:pt x="13" y="13"/>
                  <a:pt x="24" y="3"/>
                  <a:pt x="41" y="2"/>
                </a:cubicBezTo>
                <a:cubicBezTo>
                  <a:pt x="61" y="0"/>
                  <a:pt x="68" y="6"/>
                  <a:pt x="75" y="28"/>
                </a:cubicBezTo>
                <a:cubicBezTo>
                  <a:pt x="78" y="40"/>
                  <a:pt x="99" y="89"/>
                  <a:pt x="103" y="104"/>
                </a:cubicBezTo>
                <a:cubicBezTo>
                  <a:pt x="18" y="104"/>
                  <a:pt x="18" y="104"/>
                  <a:pt x="18" y="104"/>
                </a:cubicBezTo>
                <a:cubicBezTo>
                  <a:pt x="17" y="95"/>
                  <a:pt x="16" y="82"/>
                  <a:pt x="13" y="72"/>
                </a:cubicBezTo>
                <a:cubicBezTo>
                  <a:pt x="11" y="69"/>
                  <a:pt x="10" y="65"/>
                  <a:pt x="12" y="63"/>
                </a:cubicBezTo>
                <a:cubicBezTo>
                  <a:pt x="10" y="62"/>
                  <a:pt x="8" y="60"/>
                  <a:pt x="9" y="57"/>
                </a:cubicBezTo>
                <a:cubicBezTo>
                  <a:pt x="10" y="55"/>
                  <a:pt x="10" y="50"/>
                  <a:pt x="10" y="50"/>
                </a:cubicBezTo>
                <a:cubicBezTo>
                  <a:pt x="0" y="50"/>
                  <a:pt x="0" y="50"/>
                  <a:pt x="0" y="50"/>
                </a:cubicBezTo>
                <a:cubicBezTo>
                  <a:pt x="0" y="50"/>
                  <a:pt x="3" y="39"/>
                  <a:pt x="8" y="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5" name="Freeform 163">
            <a:extLst>
              <a:ext uri="{FF2B5EF4-FFF2-40B4-BE49-F238E27FC236}">
                <a16:creationId xmlns:a16="http://schemas.microsoft.com/office/drawing/2014/main" id="{1ED566F5-A6B7-4949-92AE-F02A5A6A0F15}"/>
              </a:ext>
            </a:extLst>
          </p:cNvPr>
          <p:cNvSpPr>
            <a:spLocks/>
          </p:cNvSpPr>
          <p:nvPr/>
        </p:nvSpPr>
        <p:spPr bwMode="auto">
          <a:xfrm>
            <a:off x="11236545" y="2464774"/>
            <a:ext cx="5009" cy="3757"/>
          </a:xfrm>
          <a:custGeom>
            <a:avLst/>
            <a:gdLst>
              <a:gd name="T0" fmla="*/ 0 w 8"/>
              <a:gd name="T1" fmla="*/ 3 h 8"/>
              <a:gd name="T2" fmla="*/ 3 w 8"/>
              <a:gd name="T3" fmla="*/ 8 h 8"/>
              <a:gd name="T4" fmla="*/ 8 w 8"/>
              <a:gd name="T5" fmla="*/ 5 h 8"/>
              <a:gd name="T6" fmla="*/ 5 w 8"/>
              <a:gd name="T7" fmla="*/ 0 h 8"/>
              <a:gd name="T8" fmla="*/ 0 w 8"/>
              <a:gd name="T9" fmla="*/ 3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8">
                <a:moveTo>
                  <a:pt x="0" y="3"/>
                </a:moveTo>
                <a:cubicBezTo>
                  <a:pt x="0" y="5"/>
                  <a:pt x="1" y="7"/>
                  <a:pt x="3" y="8"/>
                </a:cubicBezTo>
                <a:cubicBezTo>
                  <a:pt x="5" y="8"/>
                  <a:pt x="7" y="7"/>
                  <a:pt x="8" y="5"/>
                </a:cubicBezTo>
                <a:cubicBezTo>
                  <a:pt x="8" y="3"/>
                  <a:pt x="7" y="1"/>
                  <a:pt x="5" y="0"/>
                </a:cubicBezTo>
                <a:cubicBezTo>
                  <a:pt x="3" y="0"/>
                  <a:pt x="1" y="1"/>
                  <a:pt x="0" y="3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6" name="Freeform 164">
            <a:extLst>
              <a:ext uri="{FF2B5EF4-FFF2-40B4-BE49-F238E27FC236}">
                <a16:creationId xmlns:a16="http://schemas.microsoft.com/office/drawing/2014/main" id="{86A1719C-49F2-448F-9597-C4F368F81BCB}"/>
              </a:ext>
            </a:extLst>
          </p:cNvPr>
          <p:cNvSpPr>
            <a:spLocks/>
          </p:cNvSpPr>
          <p:nvPr/>
        </p:nvSpPr>
        <p:spPr bwMode="auto">
          <a:xfrm>
            <a:off x="11241554" y="2464774"/>
            <a:ext cx="3757" cy="3757"/>
          </a:xfrm>
          <a:custGeom>
            <a:avLst/>
            <a:gdLst>
              <a:gd name="T0" fmla="*/ 0 w 8"/>
              <a:gd name="T1" fmla="*/ 4 h 9"/>
              <a:gd name="T2" fmla="*/ 3 w 8"/>
              <a:gd name="T3" fmla="*/ 8 h 9"/>
              <a:gd name="T4" fmla="*/ 8 w 8"/>
              <a:gd name="T5" fmla="*/ 5 h 9"/>
              <a:gd name="T6" fmla="*/ 5 w 8"/>
              <a:gd name="T7" fmla="*/ 1 h 9"/>
              <a:gd name="T8" fmla="*/ 0 w 8"/>
              <a:gd name="T9" fmla="*/ 4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9">
                <a:moveTo>
                  <a:pt x="0" y="4"/>
                </a:moveTo>
                <a:cubicBezTo>
                  <a:pt x="0" y="6"/>
                  <a:pt x="1" y="8"/>
                  <a:pt x="3" y="8"/>
                </a:cubicBezTo>
                <a:cubicBezTo>
                  <a:pt x="5" y="9"/>
                  <a:pt x="7" y="7"/>
                  <a:pt x="8" y="5"/>
                </a:cubicBezTo>
                <a:cubicBezTo>
                  <a:pt x="8" y="3"/>
                  <a:pt x="7" y="1"/>
                  <a:pt x="5" y="1"/>
                </a:cubicBezTo>
                <a:cubicBezTo>
                  <a:pt x="3" y="0"/>
                  <a:pt x="1" y="1"/>
                  <a:pt x="0" y="4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7" name="Freeform 165">
            <a:extLst>
              <a:ext uri="{FF2B5EF4-FFF2-40B4-BE49-F238E27FC236}">
                <a16:creationId xmlns:a16="http://schemas.microsoft.com/office/drawing/2014/main" id="{56506E0A-9732-4395-89FB-56C938F20C4D}"/>
              </a:ext>
            </a:extLst>
          </p:cNvPr>
          <p:cNvSpPr>
            <a:spLocks/>
          </p:cNvSpPr>
          <p:nvPr/>
        </p:nvSpPr>
        <p:spPr bwMode="auto">
          <a:xfrm>
            <a:off x="11245311" y="2445990"/>
            <a:ext cx="26297" cy="18784"/>
          </a:xfrm>
          <a:custGeom>
            <a:avLst/>
            <a:gdLst>
              <a:gd name="T0" fmla="*/ 36 w 50"/>
              <a:gd name="T1" fmla="*/ 12 h 38"/>
              <a:gd name="T2" fmla="*/ 19 w 50"/>
              <a:gd name="T3" fmla="*/ 2 h 38"/>
              <a:gd name="T4" fmla="*/ 6 w 50"/>
              <a:gd name="T5" fmla="*/ 0 h 38"/>
              <a:gd name="T6" fmla="*/ 10 w 50"/>
              <a:gd name="T7" fmla="*/ 18 h 38"/>
              <a:gd name="T8" fmla="*/ 34 w 50"/>
              <a:gd name="T9" fmla="*/ 20 h 38"/>
              <a:gd name="T10" fmla="*/ 45 w 50"/>
              <a:gd name="T11" fmla="*/ 37 h 38"/>
              <a:gd name="T12" fmla="*/ 36 w 50"/>
              <a:gd name="T13" fmla="*/ 12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0" h="38">
                <a:moveTo>
                  <a:pt x="36" y="12"/>
                </a:moveTo>
                <a:cubicBezTo>
                  <a:pt x="35" y="4"/>
                  <a:pt x="26" y="0"/>
                  <a:pt x="19" y="2"/>
                </a:cubicBezTo>
                <a:cubicBezTo>
                  <a:pt x="12" y="5"/>
                  <a:pt x="6" y="4"/>
                  <a:pt x="6" y="0"/>
                </a:cubicBezTo>
                <a:cubicBezTo>
                  <a:pt x="0" y="6"/>
                  <a:pt x="3" y="15"/>
                  <a:pt x="10" y="18"/>
                </a:cubicBezTo>
                <a:cubicBezTo>
                  <a:pt x="16" y="21"/>
                  <a:pt x="31" y="20"/>
                  <a:pt x="34" y="20"/>
                </a:cubicBezTo>
                <a:cubicBezTo>
                  <a:pt x="33" y="24"/>
                  <a:pt x="40" y="38"/>
                  <a:pt x="45" y="37"/>
                </a:cubicBezTo>
                <a:cubicBezTo>
                  <a:pt x="50" y="30"/>
                  <a:pt x="47" y="11"/>
                  <a:pt x="36" y="12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8" name="Freeform 166">
            <a:extLst>
              <a:ext uri="{FF2B5EF4-FFF2-40B4-BE49-F238E27FC236}">
                <a16:creationId xmlns:a16="http://schemas.microsoft.com/office/drawing/2014/main" id="{7D00A467-851B-4EA1-8964-807D1617912C}"/>
              </a:ext>
            </a:extLst>
          </p:cNvPr>
          <p:cNvSpPr>
            <a:spLocks/>
          </p:cNvSpPr>
          <p:nvPr/>
        </p:nvSpPr>
        <p:spPr bwMode="auto">
          <a:xfrm>
            <a:off x="11310427" y="2653861"/>
            <a:ext cx="93918" cy="77638"/>
          </a:xfrm>
          <a:custGeom>
            <a:avLst/>
            <a:gdLst>
              <a:gd name="T0" fmla="*/ 75 w 75"/>
              <a:gd name="T1" fmla="*/ 0 h 62"/>
              <a:gd name="T2" fmla="*/ 75 w 75"/>
              <a:gd name="T3" fmla="*/ 62 h 62"/>
              <a:gd name="T4" fmla="*/ 1 w 75"/>
              <a:gd name="T5" fmla="*/ 62 h 62"/>
              <a:gd name="T6" fmla="*/ 0 w 75"/>
              <a:gd name="T7" fmla="*/ 0 h 62"/>
              <a:gd name="T8" fmla="*/ 75 w 75"/>
              <a:gd name="T9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5" h="62">
                <a:moveTo>
                  <a:pt x="75" y="0"/>
                </a:moveTo>
                <a:lnTo>
                  <a:pt x="75" y="62"/>
                </a:lnTo>
                <a:lnTo>
                  <a:pt x="1" y="62"/>
                </a:lnTo>
                <a:lnTo>
                  <a:pt x="0" y="0"/>
                </a:lnTo>
                <a:lnTo>
                  <a:pt x="75" y="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9" name="Rectangle 167">
            <a:extLst>
              <a:ext uri="{FF2B5EF4-FFF2-40B4-BE49-F238E27FC236}">
                <a16:creationId xmlns:a16="http://schemas.microsoft.com/office/drawing/2014/main" id="{6A0D8A50-754C-40A9-928D-66F4790410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19193" y="2661374"/>
            <a:ext cx="77638" cy="6261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0" name="Rectangle 168">
            <a:extLst>
              <a:ext uri="{FF2B5EF4-FFF2-40B4-BE49-F238E27FC236}">
                <a16:creationId xmlns:a16="http://schemas.microsoft.com/office/drawing/2014/main" id="{6D03A181-D028-4EBE-97A2-0B99BB0D98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05418" y="2675149"/>
            <a:ext cx="18784" cy="35063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1" name="Rectangle 169">
            <a:extLst>
              <a:ext uri="{FF2B5EF4-FFF2-40B4-BE49-F238E27FC236}">
                <a16:creationId xmlns:a16="http://schemas.microsoft.com/office/drawing/2014/main" id="{114288B6-7D6C-4669-812D-CBA38C4DBD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40480" y="2670140"/>
            <a:ext cx="6262" cy="45080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2" name="Rectangle 170">
            <a:extLst>
              <a:ext uri="{FF2B5EF4-FFF2-40B4-BE49-F238E27FC236}">
                <a16:creationId xmlns:a16="http://schemas.microsoft.com/office/drawing/2014/main" id="{AACFE67F-F084-4D29-9A2C-9AB1709A8F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58012" y="2670140"/>
            <a:ext cx="6262" cy="45080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3" name="Rectangle 171">
            <a:extLst>
              <a:ext uri="{FF2B5EF4-FFF2-40B4-BE49-F238E27FC236}">
                <a16:creationId xmlns:a16="http://schemas.microsoft.com/office/drawing/2014/main" id="{5A81A32C-7CF8-40BE-AF14-72F81CC51F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75543" y="2670140"/>
            <a:ext cx="6262" cy="45080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4" name="Freeform 172">
            <a:extLst>
              <a:ext uri="{FF2B5EF4-FFF2-40B4-BE49-F238E27FC236}">
                <a16:creationId xmlns:a16="http://schemas.microsoft.com/office/drawing/2014/main" id="{207A1F6B-26D8-4196-891D-9102CC715E7E}"/>
              </a:ext>
            </a:extLst>
          </p:cNvPr>
          <p:cNvSpPr>
            <a:spLocks/>
          </p:cNvSpPr>
          <p:nvPr/>
        </p:nvSpPr>
        <p:spPr bwMode="auto">
          <a:xfrm>
            <a:off x="11347994" y="2720230"/>
            <a:ext cx="10018" cy="10018"/>
          </a:xfrm>
          <a:custGeom>
            <a:avLst/>
            <a:gdLst>
              <a:gd name="T0" fmla="*/ 18 w 20"/>
              <a:gd name="T1" fmla="*/ 1 h 19"/>
              <a:gd name="T2" fmla="*/ 18 w 20"/>
              <a:gd name="T3" fmla="*/ 7 h 19"/>
              <a:gd name="T4" fmla="*/ 8 w 20"/>
              <a:gd name="T5" fmla="*/ 18 h 19"/>
              <a:gd name="T6" fmla="*/ 2 w 20"/>
              <a:gd name="T7" fmla="*/ 18 h 19"/>
              <a:gd name="T8" fmla="*/ 2 w 20"/>
              <a:gd name="T9" fmla="*/ 18 h 19"/>
              <a:gd name="T10" fmla="*/ 2 w 20"/>
              <a:gd name="T11" fmla="*/ 11 h 19"/>
              <a:gd name="T12" fmla="*/ 12 w 20"/>
              <a:gd name="T13" fmla="*/ 1 h 19"/>
              <a:gd name="T14" fmla="*/ 18 w 20"/>
              <a:gd name="T15" fmla="*/ 1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" h="19">
                <a:moveTo>
                  <a:pt x="18" y="1"/>
                </a:moveTo>
                <a:cubicBezTo>
                  <a:pt x="20" y="3"/>
                  <a:pt x="20" y="6"/>
                  <a:pt x="18" y="7"/>
                </a:cubicBezTo>
                <a:cubicBezTo>
                  <a:pt x="8" y="18"/>
                  <a:pt x="8" y="18"/>
                  <a:pt x="8" y="18"/>
                </a:cubicBezTo>
                <a:cubicBezTo>
                  <a:pt x="7" y="19"/>
                  <a:pt x="4" y="19"/>
                  <a:pt x="2" y="18"/>
                </a:cubicBezTo>
                <a:cubicBezTo>
                  <a:pt x="2" y="18"/>
                  <a:pt x="2" y="18"/>
                  <a:pt x="2" y="18"/>
                </a:cubicBezTo>
                <a:cubicBezTo>
                  <a:pt x="0" y="16"/>
                  <a:pt x="0" y="13"/>
                  <a:pt x="2" y="11"/>
                </a:cubicBezTo>
                <a:cubicBezTo>
                  <a:pt x="12" y="1"/>
                  <a:pt x="12" y="1"/>
                  <a:pt x="12" y="1"/>
                </a:cubicBezTo>
                <a:cubicBezTo>
                  <a:pt x="14" y="0"/>
                  <a:pt x="17" y="0"/>
                  <a:pt x="18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5" name="Freeform 173">
            <a:extLst>
              <a:ext uri="{FF2B5EF4-FFF2-40B4-BE49-F238E27FC236}">
                <a16:creationId xmlns:a16="http://schemas.microsoft.com/office/drawing/2014/main" id="{3D1BF2AF-2DE4-4825-8D55-E161C6127979}"/>
              </a:ext>
            </a:extLst>
          </p:cNvPr>
          <p:cNvSpPr>
            <a:spLocks/>
          </p:cNvSpPr>
          <p:nvPr/>
        </p:nvSpPr>
        <p:spPr bwMode="auto">
          <a:xfrm>
            <a:off x="11353003" y="2720230"/>
            <a:ext cx="18784" cy="12522"/>
          </a:xfrm>
          <a:custGeom>
            <a:avLst/>
            <a:gdLst>
              <a:gd name="T0" fmla="*/ 35 w 35"/>
              <a:gd name="T1" fmla="*/ 4 h 23"/>
              <a:gd name="T2" fmla="*/ 31 w 35"/>
              <a:gd name="T3" fmla="*/ 0 h 23"/>
              <a:gd name="T4" fmla="*/ 4 w 35"/>
              <a:gd name="T5" fmla="*/ 0 h 23"/>
              <a:gd name="T6" fmla="*/ 0 w 35"/>
              <a:gd name="T7" fmla="*/ 4 h 23"/>
              <a:gd name="T8" fmla="*/ 0 w 35"/>
              <a:gd name="T9" fmla="*/ 18 h 23"/>
              <a:gd name="T10" fmla="*/ 4 w 35"/>
              <a:gd name="T11" fmla="*/ 23 h 23"/>
              <a:gd name="T12" fmla="*/ 31 w 35"/>
              <a:gd name="T13" fmla="*/ 23 h 23"/>
              <a:gd name="T14" fmla="*/ 35 w 35"/>
              <a:gd name="T15" fmla="*/ 18 h 23"/>
              <a:gd name="T16" fmla="*/ 35 w 35"/>
              <a:gd name="T17" fmla="*/ 4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5" h="23">
                <a:moveTo>
                  <a:pt x="35" y="4"/>
                </a:moveTo>
                <a:cubicBezTo>
                  <a:pt x="35" y="2"/>
                  <a:pt x="33" y="0"/>
                  <a:pt x="31" y="0"/>
                </a:cubicBez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21"/>
                  <a:pt x="2" y="23"/>
                  <a:pt x="4" y="23"/>
                </a:cubicBezTo>
                <a:cubicBezTo>
                  <a:pt x="31" y="23"/>
                  <a:pt x="31" y="23"/>
                  <a:pt x="31" y="23"/>
                </a:cubicBezTo>
                <a:cubicBezTo>
                  <a:pt x="33" y="23"/>
                  <a:pt x="35" y="21"/>
                  <a:pt x="35" y="18"/>
                </a:cubicBezTo>
                <a:lnTo>
                  <a:pt x="35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6" name="Freeform 174">
            <a:extLst>
              <a:ext uri="{FF2B5EF4-FFF2-40B4-BE49-F238E27FC236}">
                <a16:creationId xmlns:a16="http://schemas.microsoft.com/office/drawing/2014/main" id="{2374ED75-1550-4B4F-8572-C1D7726B4358}"/>
              </a:ext>
            </a:extLst>
          </p:cNvPr>
          <p:cNvSpPr>
            <a:spLocks/>
          </p:cNvSpPr>
          <p:nvPr/>
        </p:nvSpPr>
        <p:spPr bwMode="auto">
          <a:xfrm>
            <a:off x="11358012" y="2727743"/>
            <a:ext cx="5009" cy="8766"/>
          </a:xfrm>
          <a:custGeom>
            <a:avLst/>
            <a:gdLst>
              <a:gd name="T0" fmla="*/ 0 w 9"/>
              <a:gd name="T1" fmla="*/ 4 h 17"/>
              <a:gd name="T2" fmla="*/ 4 w 9"/>
              <a:gd name="T3" fmla="*/ 0 h 17"/>
              <a:gd name="T4" fmla="*/ 9 w 9"/>
              <a:gd name="T5" fmla="*/ 4 h 17"/>
              <a:gd name="T6" fmla="*/ 9 w 9"/>
              <a:gd name="T7" fmla="*/ 13 h 17"/>
              <a:gd name="T8" fmla="*/ 4 w 9"/>
              <a:gd name="T9" fmla="*/ 17 h 17"/>
              <a:gd name="T10" fmla="*/ 4 w 9"/>
              <a:gd name="T11" fmla="*/ 17 h 17"/>
              <a:gd name="T12" fmla="*/ 0 w 9"/>
              <a:gd name="T13" fmla="*/ 13 h 17"/>
              <a:gd name="T14" fmla="*/ 0 w 9"/>
              <a:gd name="T15" fmla="*/ 4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7">
                <a:moveTo>
                  <a:pt x="0" y="4"/>
                </a:moveTo>
                <a:cubicBezTo>
                  <a:pt x="0" y="2"/>
                  <a:pt x="2" y="0"/>
                  <a:pt x="4" y="0"/>
                </a:cubicBezTo>
                <a:cubicBezTo>
                  <a:pt x="7" y="0"/>
                  <a:pt x="9" y="2"/>
                  <a:pt x="9" y="4"/>
                </a:cubicBezTo>
                <a:cubicBezTo>
                  <a:pt x="9" y="13"/>
                  <a:pt x="9" y="13"/>
                  <a:pt x="9" y="13"/>
                </a:cubicBezTo>
                <a:cubicBezTo>
                  <a:pt x="9" y="15"/>
                  <a:pt x="7" y="17"/>
                  <a:pt x="4" y="17"/>
                </a:cubicBezTo>
                <a:cubicBezTo>
                  <a:pt x="4" y="17"/>
                  <a:pt x="4" y="17"/>
                  <a:pt x="4" y="17"/>
                </a:cubicBezTo>
                <a:cubicBezTo>
                  <a:pt x="2" y="17"/>
                  <a:pt x="0" y="15"/>
                  <a:pt x="0" y="13"/>
                </a:cubicBezTo>
                <a:lnTo>
                  <a:pt x="0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7" name="Freeform 175">
            <a:extLst>
              <a:ext uri="{FF2B5EF4-FFF2-40B4-BE49-F238E27FC236}">
                <a16:creationId xmlns:a16="http://schemas.microsoft.com/office/drawing/2014/main" id="{A874C14E-D4D9-4563-8BD9-BAC376BF0682}"/>
              </a:ext>
            </a:extLst>
          </p:cNvPr>
          <p:cNvSpPr>
            <a:spLocks/>
          </p:cNvSpPr>
          <p:nvPr/>
        </p:nvSpPr>
        <p:spPr bwMode="auto">
          <a:xfrm>
            <a:off x="11353003" y="2727743"/>
            <a:ext cx="5009" cy="8766"/>
          </a:xfrm>
          <a:custGeom>
            <a:avLst/>
            <a:gdLst>
              <a:gd name="T0" fmla="*/ 0 w 9"/>
              <a:gd name="T1" fmla="*/ 4 h 17"/>
              <a:gd name="T2" fmla="*/ 4 w 9"/>
              <a:gd name="T3" fmla="*/ 0 h 17"/>
              <a:gd name="T4" fmla="*/ 9 w 9"/>
              <a:gd name="T5" fmla="*/ 4 h 17"/>
              <a:gd name="T6" fmla="*/ 9 w 9"/>
              <a:gd name="T7" fmla="*/ 13 h 17"/>
              <a:gd name="T8" fmla="*/ 4 w 9"/>
              <a:gd name="T9" fmla="*/ 17 h 17"/>
              <a:gd name="T10" fmla="*/ 4 w 9"/>
              <a:gd name="T11" fmla="*/ 17 h 17"/>
              <a:gd name="T12" fmla="*/ 0 w 9"/>
              <a:gd name="T13" fmla="*/ 13 h 17"/>
              <a:gd name="T14" fmla="*/ 0 w 9"/>
              <a:gd name="T15" fmla="*/ 4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7">
                <a:moveTo>
                  <a:pt x="0" y="4"/>
                </a:moveTo>
                <a:cubicBezTo>
                  <a:pt x="0" y="2"/>
                  <a:pt x="2" y="0"/>
                  <a:pt x="4" y="0"/>
                </a:cubicBezTo>
                <a:cubicBezTo>
                  <a:pt x="7" y="0"/>
                  <a:pt x="9" y="2"/>
                  <a:pt x="9" y="4"/>
                </a:cubicBezTo>
                <a:cubicBezTo>
                  <a:pt x="9" y="13"/>
                  <a:pt x="9" y="13"/>
                  <a:pt x="9" y="13"/>
                </a:cubicBezTo>
                <a:cubicBezTo>
                  <a:pt x="9" y="15"/>
                  <a:pt x="7" y="17"/>
                  <a:pt x="4" y="17"/>
                </a:cubicBezTo>
                <a:cubicBezTo>
                  <a:pt x="4" y="17"/>
                  <a:pt x="4" y="17"/>
                  <a:pt x="4" y="17"/>
                </a:cubicBezTo>
                <a:cubicBezTo>
                  <a:pt x="2" y="17"/>
                  <a:pt x="0" y="15"/>
                  <a:pt x="0" y="13"/>
                </a:cubicBezTo>
                <a:lnTo>
                  <a:pt x="0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8" name="Freeform 176">
            <a:extLst>
              <a:ext uri="{FF2B5EF4-FFF2-40B4-BE49-F238E27FC236}">
                <a16:creationId xmlns:a16="http://schemas.microsoft.com/office/drawing/2014/main" id="{8641A004-E144-4140-ABD7-142384F21C5D}"/>
              </a:ext>
            </a:extLst>
          </p:cNvPr>
          <p:cNvSpPr>
            <a:spLocks/>
          </p:cNvSpPr>
          <p:nvPr/>
        </p:nvSpPr>
        <p:spPr bwMode="auto">
          <a:xfrm>
            <a:off x="11363021" y="2727743"/>
            <a:ext cx="3757" cy="8766"/>
          </a:xfrm>
          <a:custGeom>
            <a:avLst/>
            <a:gdLst>
              <a:gd name="T0" fmla="*/ 4 w 8"/>
              <a:gd name="T1" fmla="*/ 0 h 17"/>
              <a:gd name="T2" fmla="*/ 8 w 8"/>
              <a:gd name="T3" fmla="*/ 4 h 17"/>
              <a:gd name="T4" fmla="*/ 8 w 8"/>
              <a:gd name="T5" fmla="*/ 13 h 17"/>
              <a:gd name="T6" fmla="*/ 4 w 8"/>
              <a:gd name="T7" fmla="*/ 17 h 17"/>
              <a:gd name="T8" fmla="*/ 4 w 8"/>
              <a:gd name="T9" fmla="*/ 17 h 17"/>
              <a:gd name="T10" fmla="*/ 0 w 8"/>
              <a:gd name="T11" fmla="*/ 13 h 17"/>
              <a:gd name="T12" fmla="*/ 0 w 8"/>
              <a:gd name="T13" fmla="*/ 4 h 17"/>
              <a:gd name="T14" fmla="*/ 4 w 8"/>
              <a:gd name="T15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" h="17">
                <a:moveTo>
                  <a:pt x="4" y="0"/>
                </a:moveTo>
                <a:cubicBezTo>
                  <a:pt x="6" y="0"/>
                  <a:pt x="8" y="2"/>
                  <a:pt x="8" y="4"/>
                </a:cubicBezTo>
                <a:cubicBezTo>
                  <a:pt x="8" y="13"/>
                  <a:pt x="8" y="13"/>
                  <a:pt x="8" y="13"/>
                </a:cubicBezTo>
                <a:cubicBezTo>
                  <a:pt x="8" y="15"/>
                  <a:pt x="6" y="17"/>
                  <a:pt x="4" y="17"/>
                </a:cubicBezTo>
                <a:cubicBezTo>
                  <a:pt x="4" y="17"/>
                  <a:pt x="4" y="17"/>
                  <a:pt x="4" y="17"/>
                </a:cubicBezTo>
                <a:cubicBezTo>
                  <a:pt x="2" y="17"/>
                  <a:pt x="0" y="15"/>
                  <a:pt x="0" y="13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9" name="Freeform 177">
            <a:extLst>
              <a:ext uri="{FF2B5EF4-FFF2-40B4-BE49-F238E27FC236}">
                <a16:creationId xmlns:a16="http://schemas.microsoft.com/office/drawing/2014/main" id="{C35C271E-46E4-4FE7-8832-48F70398434B}"/>
              </a:ext>
            </a:extLst>
          </p:cNvPr>
          <p:cNvSpPr>
            <a:spLocks/>
          </p:cNvSpPr>
          <p:nvPr/>
        </p:nvSpPr>
        <p:spPr bwMode="auto">
          <a:xfrm>
            <a:off x="11366778" y="2727743"/>
            <a:ext cx="5009" cy="8766"/>
          </a:xfrm>
          <a:custGeom>
            <a:avLst/>
            <a:gdLst>
              <a:gd name="T0" fmla="*/ 0 w 9"/>
              <a:gd name="T1" fmla="*/ 4 h 17"/>
              <a:gd name="T2" fmla="*/ 5 w 9"/>
              <a:gd name="T3" fmla="*/ 0 h 17"/>
              <a:gd name="T4" fmla="*/ 9 w 9"/>
              <a:gd name="T5" fmla="*/ 4 h 17"/>
              <a:gd name="T6" fmla="*/ 9 w 9"/>
              <a:gd name="T7" fmla="*/ 13 h 17"/>
              <a:gd name="T8" fmla="*/ 5 w 9"/>
              <a:gd name="T9" fmla="*/ 17 h 17"/>
              <a:gd name="T10" fmla="*/ 0 w 9"/>
              <a:gd name="T11" fmla="*/ 13 h 17"/>
              <a:gd name="T12" fmla="*/ 0 w 9"/>
              <a:gd name="T13" fmla="*/ 4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" h="17">
                <a:moveTo>
                  <a:pt x="0" y="4"/>
                </a:moveTo>
                <a:cubicBezTo>
                  <a:pt x="0" y="2"/>
                  <a:pt x="2" y="0"/>
                  <a:pt x="5" y="0"/>
                </a:cubicBezTo>
                <a:cubicBezTo>
                  <a:pt x="7" y="0"/>
                  <a:pt x="9" y="2"/>
                  <a:pt x="9" y="4"/>
                </a:cubicBezTo>
                <a:cubicBezTo>
                  <a:pt x="9" y="13"/>
                  <a:pt x="9" y="13"/>
                  <a:pt x="9" y="13"/>
                </a:cubicBezTo>
                <a:cubicBezTo>
                  <a:pt x="9" y="15"/>
                  <a:pt x="7" y="17"/>
                  <a:pt x="5" y="17"/>
                </a:cubicBezTo>
                <a:cubicBezTo>
                  <a:pt x="2" y="17"/>
                  <a:pt x="0" y="15"/>
                  <a:pt x="0" y="13"/>
                </a:cubicBezTo>
                <a:lnTo>
                  <a:pt x="0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0" name="Freeform 178">
            <a:extLst>
              <a:ext uri="{FF2B5EF4-FFF2-40B4-BE49-F238E27FC236}">
                <a16:creationId xmlns:a16="http://schemas.microsoft.com/office/drawing/2014/main" id="{E48C49E3-851A-4D6B-9BD5-380105FA5AB5}"/>
              </a:ext>
            </a:extLst>
          </p:cNvPr>
          <p:cNvSpPr>
            <a:spLocks/>
          </p:cNvSpPr>
          <p:nvPr/>
        </p:nvSpPr>
        <p:spPr bwMode="auto">
          <a:xfrm>
            <a:off x="11294148" y="2504845"/>
            <a:ext cx="85152" cy="211628"/>
          </a:xfrm>
          <a:custGeom>
            <a:avLst/>
            <a:gdLst>
              <a:gd name="T0" fmla="*/ 76 w 164"/>
              <a:gd name="T1" fmla="*/ 0 h 409"/>
              <a:gd name="T2" fmla="*/ 145 w 164"/>
              <a:gd name="T3" fmla="*/ 409 h 409"/>
              <a:gd name="T4" fmla="*/ 118 w 164"/>
              <a:gd name="T5" fmla="*/ 409 h 409"/>
              <a:gd name="T6" fmla="*/ 23 w 164"/>
              <a:gd name="T7" fmla="*/ 69 h 409"/>
              <a:gd name="T8" fmla="*/ 76 w 164"/>
              <a:gd name="T9" fmla="*/ 0 h 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4" h="409">
                <a:moveTo>
                  <a:pt x="76" y="0"/>
                </a:moveTo>
                <a:cubicBezTo>
                  <a:pt x="118" y="0"/>
                  <a:pt x="164" y="292"/>
                  <a:pt x="145" y="409"/>
                </a:cubicBezTo>
                <a:cubicBezTo>
                  <a:pt x="118" y="409"/>
                  <a:pt x="118" y="409"/>
                  <a:pt x="118" y="409"/>
                </a:cubicBezTo>
                <a:cubicBezTo>
                  <a:pt x="120" y="301"/>
                  <a:pt x="82" y="157"/>
                  <a:pt x="23" y="69"/>
                </a:cubicBezTo>
                <a:cubicBezTo>
                  <a:pt x="0" y="34"/>
                  <a:pt x="53" y="0"/>
                  <a:pt x="76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1" name="Freeform 179">
            <a:extLst>
              <a:ext uri="{FF2B5EF4-FFF2-40B4-BE49-F238E27FC236}">
                <a16:creationId xmlns:a16="http://schemas.microsoft.com/office/drawing/2014/main" id="{F81A1D83-1A28-4DD5-B5EA-D0DC5051553D}"/>
              </a:ext>
            </a:extLst>
          </p:cNvPr>
          <p:cNvSpPr>
            <a:spLocks/>
          </p:cNvSpPr>
          <p:nvPr/>
        </p:nvSpPr>
        <p:spPr bwMode="auto">
          <a:xfrm>
            <a:off x="11345489" y="2653861"/>
            <a:ext cx="28802" cy="77638"/>
          </a:xfrm>
          <a:custGeom>
            <a:avLst/>
            <a:gdLst>
              <a:gd name="T0" fmla="*/ 15 w 55"/>
              <a:gd name="T1" fmla="*/ 146 h 150"/>
              <a:gd name="T2" fmla="*/ 15 w 55"/>
              <a:gd name="T3" fmla="*/ 143 h 150"/>
              <a:gd name="T4" fmla="*/ 12 w 55"/>
              <a:gd name="T5" fmla="*/ 146 h 150"/>
              <a:gd name="T6" fmla="*/ 6 w 55"/>
              <a:gd name="T7" fmla="*/ 146 h 150"/>
              <a:gd name="T8" fmla="*/ 6 w 55"/>
              <a:gd name="T9" fmla="*/ 146 h 150"/>
              <a:gd name="T10" fmla="*/ 6 w 55"/>
              <a:gd name="T11" fmla="*/ 139 h 150"/>
              <a:gd name="T12" fmla="*/ 16 w 55"/>
              <a:gd name="T13" fmla="*/ 129 h 150"/>
              <a:gd name="T14" fmla="*/ 19 w 55"/>
              <a:gd name="T15" fmla="*/ 128 h 150"/>
              <a:gd name="T16" fmla="*/ 19 w 55"/>
              <a:gd name="T17" fmla="*/ 128 h 150"/>
              <a:gd name="T18" fmla="*/ 46 w 55"/>
              <a:gd name="T19" fmla="*/ 128 h 150"/>
              <a:gd name="T20" fmla="*/ 50 w 55"/>
              <a:gd name="T21" fmla="*/ 132 h 150"/>
              <a:gd name="T22" fmla="*/ 50 w 55"/>
              <a:gd name="T23" fmla="*/ 146 h 150"/>
              <a:gd name="T24" fmla="*/ 50 w 55"/>
              <a:gd name="T25" fmla="*/ 150 h 150"/>
              <a:gd name="T26" fmla="*/ 54 w 55"/>
              <a:gd name="T27" fmla="*/ 150 h 150"/>
              <a:gd name="T28" fmla="*/ 54 w 55"/>
              <a:gd name="T29" fmla="*/ 132 h 150"/>
              <a:gd name="T30" fmla="*/ 49 w 55"/>
              <a:gd name="T31" fmla="*/ 125 h 150"/>
              <a:gd name="T32" fmla="*/ 50 w 55"/>
              <a:gd name="T33" fmla="*/ 123 h 150"/>
              <a:gd name="T34" fmla="*/ 52 w 55"/>
              <a:gd name="T35" fmla="*/ 0 h 150"/>
              <a:gd name="T36" fmla="*/ 48 w 55"/>
              <a:gd name="T37" fmla="*/ 0 h 150"/>
              <a:gd name="T38" fmla="*/ 46 w 55"/>
              <a:gd name="T39" fmla="*/ 122 h 150"/>
              <a:gd name="T40" fmla="*/ 19 w 55"/>
              <a:gd name="T41" fmla="*/ 122 h 150"/>
              <a:gd name="T42" fmla="*/ 7 w 55"/>
              <a:gd name="T43" fmla="*/ 0 h 150"/>
              <a:gd name="T44" fmla="*/ 4 w 55"/>
              <a:gd name="T45" fmla="*/ 0 h 150"/>
              <a:gd name="T46" fmla="*/ 15 w 55"/>
              <a:gd name="T47" fmla="*/ 122 h 150"/>
              <a:gd name="T48" fmla="*/ 15 w 55"/>
              <a:gd name="T49" fmla="*/ 125 h 150"/>
              <a:gd name="T50" fmla="*/ 13 w 55"/>
              <a:gd name="T51" fmla="*/ 126 h 150"/>
              <a:gd name="T52" fmla="*/ 3 w 55"/>
              <a:gd name="T53" fmla="*/ 137 h 150"/>
              <a:gd name="T54" fmla="*/ 3 w 55"/>
              <a:gd name="T55" fmla="*/ 148 h 150"/>
              <a:gd name="T56" fmla="*/ 3 w 55"/>
              <a:gd name="T57" fmla="*/ 148 h 150"/>
              <a:gd name="T58" fmla="*/ 6 w 55"/>
              <a:gd name="T59" fmla="*/ 150 h 150"/>
              <a:gd name="T60" fmla="*/ 15 w 55"/>
              <a:gd name="T61" fmla="*/ 150 h 150"/>
              <a:gd name="T62" fmla="*/ 15 w 55"/>
              <a:gd name="T63" fmla="*/ 146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5" h="150">
                <a:moveTo>
                  <a:pt x="15" y="146"/>
                </a:moveTo>
                <a:cubicBezTo>
                  <a:pt x="15" y="143"/>
                  <a:pt x="15" y="143"/>
                  <a:pt x="15" y="143"/>
                </a:cubicBezTo>
                <a:cubicBezTo>
                  <a:pt x="12" y="146"/>
                  <a:pt x="12" y="146"/>
                  <a:pt x="12" y="146"/>
                </a:cubicBezTo>
                <a:cubicBezTo>
                  <a:pt x="11" y="147"/>
                  <a:pt x="8" y="147"/>
                  <a:pt x="6" y="146"/>
                </a:cubicBezTo>
                <a:cubicBezTo>
                  <a:pt x="6" y="146"/>
                  <a:pt x="6" y="146"/>
                  <a:pt x="6" y="146"/>
                </a:cubicBezTo>
                <a:cubicBezTo>
                  <a:pt x="4" y="144"/>
                  <a:pt x="4" y="141"/>
                  <a:pt x="6" y="139"/>
                </a:cubicBezTo>
                <a:cubicBezTo>
                  <a:pt x="16" y="129"/>
                  <a:pt x="16" y="129"/>
                  <a:pt x="16" y="129"/>
                </a:cubicBezTo>
                <a:cubicBezTo>
                  <a:pt x="17" y="128"/>
                  <a:pt x="18" y="128"/>
                  <a:pt x="19" y="128"/>
                </a:cubicBezTo>
                <a:cubicBezTo>
                  <a:pt x="19" y="128"/>
                  <a:pt x="19" y="128"/>
                  <a:pt x="19" y="128"/>
                </a:cubicBezTo>
                <a:cubicBezTo>
                  <a:pt x="46" y="128"/>
                  <a:pt x="46" y="128"/>
                  <a:pt x="46" y="128"/>
                </a:cubicBezTo>
                <a:cubicBezTo>
                  <a:pt x="48" y="128"/>
                  <a:pt x="50" y="130"/>
                  <a:pt x="50" y="132"/>
                </a:cubicBezTo>
                <a:cubicBezTo>
                  <a:pt x="50" y="146"/>
                  <a:pt x="50" y="146"/>
                  <a:pt x="50" y="146"/>
                </a:cubicBezTo>
                <a:cubicBezTo>
                  <a:pt x="50" y="150"/>
                  <a:pt x="50" y="150"/>
                  <a:pt x="50" y="150"/>
                </a:cubicBezTo>
                <a:cubicBezTo>
                  <a:pt x="54" y="150"/>
                  <a:pt x="54" y="150"/>
                  <a:pt x="54" y="150"/>
                </a:cubicBezTo>
                <a:cubicBezTo>
                  <a:pt x="54" y="132"/>
                  <a:pt x="54" y="132"/>
                  <a:pt x="54" y="132"/>
                </a:cubicBezTo>
                <a:cubicBezTo>
                  <a:pt x="54" y="129"/>
                  <a:pt x="52" y="126"/>
                  <a:pt x="49" y="125"/>
                </a:cubicBezTo>
                <a:cubicBezTo>
                  <a:pt x="50" y="123"/>
                  <a:pt x="50" y="123"/>
                  <a:pt x="50" y="123"/>
                </a:cubicBezTo>
                <a:cubicBezTo>
                  <a:pt x="55" y="91"/>
                  <a:pt x="55" y="47"/>
                  <a:pt x="52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51" y="47"/>
                  <a:pt x="51" y="91"/>
                  <a:pt x="46" y="122"/>
                </a:cubicBezTo>
                <a:cubicBezTo>
                  <a:pt x="19" y="122"/>
                  <a:pt x="19" y="122"/>
                  <a:pt x="19" y="122"/>
                </a:cubicBezTo>
                <a:cubicBezTo>
                  <a:pt x="20" y="85"/>
                  <a:pt x="16" y="43"/>
                  <a:pt x="7" y="0"/>
                </a:cubicBezTo>
                <a:cubicBezTo>
                  <a:pt x="4" y="0"/>
                  <a:pt x="4" y="0"/>
                  <a:pt x="4" y="0"/>
                </a:cubicBezTo>
                <a:cubicBezTo>
                  <a:pt x="12" y="42"/>
                  <a:pt x="16" y="84"/>
                  <a:pt x="15" y="122"/>
                </a:cubicBezTo>
                <a:cubicBezTo>
                  <a:pt x="15" y="125"/>
                  <a:pt x="15" y="125"/>
                  <a:pt x="15" y="125"/>
                </a:cubicBezTo>
                <a:cubicBezTo>
                  <a:pt x="15" y="125"/>
                  <a:pt x="14" y="126"/>
                  <a:pt x="13" y="126"/>
                </a:cubicBezTo>
                <a:cubicBezTo>
                  <a:pt x="3" y="137"/>
                  <a:pt x="3" y="137"/>
                  <a:pt x="3" y="137"/>
                </a:cubicBezTo>
                <a:cubicBezTo>
                  <a:pt x="0" y="140"/>
                  <a:pt x="0" y="145"/>
                  <a:pt x="3" y="148"/>
                </a:cubicBezTo>
                <a:cubicBezTo>
                  <a:pt x="3" y="148"/>
                  <a:pt x="3" y="148"/>
                  <a:pt x="3" y="148"/>
                </a:cubicBezTo>
                <a:cubicBezTo>
                  <a:pt x="4" y="149"/>
                  <a:pt x="5" y="150"/>
                  <a:pt x="6" y="150"/>
                </a:cubicBezTo>
                <a:cubicBezTo>
                  <a:pt x="15" y="150"/>
                  <a:pt x="15" y="150"/>
                  <a:pt x="15" y="150"/>
                </a:cubicBezTo>
                <a:lnTo>
                  <a:pt x="15" y="146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2" name="Freeform 180">
            <a:extLst>
              <a:ext uri="{FF2B5EF4-FFF2-40B4-BE49-F238E27FC236}">
                <a16:creationId xmlns:a16="http://schemas.microsoft.com/office/drawing/2014/main" id="{D33BD875-4015-4970-899C-233807F9A1B0}"/>
              </a:ext>
            </a:extLst>
          </p:cNvPr>
          <p:cNvSpPr>
            <a:spLocks/>
          </p:cNvSpPr>
          <p:nvPr/>
        </p:nvSpPr>
        <p:spPr bwMode="auto">
          <a:xfrm>
            <a:off x="11121340" y="2563700"/>
            <a:ext cx="5009" cy="12522"/>
          </a:xfrm>
          <a:custGeom>
            <a:avLst/>
            <a:gdLst>
              <a:gd name="T0" fmla="*/ 4 w 10"/>
              <a:gd name="T1" fmla="*/ 24 h 24"/>
              <a:gd name="T2" fmla="*/ 0 w 10"/>
              <a:gd name="T3" fmla="*/ 19 h 24"/>
              <a:gd name="T4" fmla="*/ 1 w 10"/>
              <a:gd name="T5" fmla="*/ 5 h 24"/>
              <a:gd name="T6" fmla="*/ 6 w 10"/>
              <a:gd name="T7" fmla="*/ 0 h 24"/>
              <a:gd name="T8" fmla="*/ 6 w 10"/>
              <a:gd name="T9" fmla="*/ 0 h 24"/>
              <a:gd name="T10" fmla="*/ 10 w 10"/>
              <a:gd name="T11" fmla="*/ 5 h 24"/>
              <a:gd name="T12" fmla="*/ 9 w 10"/>
              <a:gd name="T13" fmla="*/ 19 h 24"/>
              <a:gd name="T14" fmla="*/ 4 w 10"/>
              <a:gd name="T15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" h="24">
                <a:moveTo>
                  <a:pt x="4" y="24"/>
                </a:moveTo>
                <a:cubicBezTo>
                  <a:pt x="2" y="23"/>
                  <a:pt x="0" y="21"/>
                  <a:pt x="0" y="19"/>
                </a:cubicBezTo>
                <a:cubicBezTo>
                  <a:pt x="1" y="5"/>
                  <a:pt x="1" y="5"/>
                  <a:pt x="1" y="5"/>
                </a:cubicBezTo>
                <a:cubicBezTo>
                  <a:pt x="1" y="2"/>
                  <a:pt x="3" y="0"/>
                  <a:pt x="6" y="0"/>
                </a:cubicBezTo>
                <a:cubicBezTo>
                  <a:pt x="6" y="0"/>
                  <a:pt x="6" y="0"/>
                  <a:pt x="6" y="0"/>
                </a:cubicBezTo>
                <a:cubicBezTo>
                  <a:pt x="8" y="1"/>
                  <a:pt x="10" y="3"/>
                  <a:pt x="10" y="5"/>
                </a:cubicBezTo>
                <a:cubicBezTo>
                  <a:pt x="9" y="19"/>
                  <a:pt x="9" y="19"/>
                  <a:pt x="9" y="19"/>
                </a:cubicBezTo>
                <a:cubicBezTo>
                  <a:pt x="9" y="22"/>
                  <a:pt x="7" y="24"/>
                  <a:pt x="4" y="2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3" name="Freeform 181">
            <a:extLst>
              <a:ext uri="{FF2B5EF4-FFF2-40B4-BE49-F238E27FC236}">
                <a16:creationId xmlns:a16="http://schemas.microsoft.com/office/drawing/2014/main" id="{D2F02FC9-95A6-4F4A-9897-1323F114E16F}"/>
              </a:ext>
            </a:extLst>
          </p:cNvPr>
          <p:cNvSpPr>
            <a:spLocks/>
          </p:cNvSpPr>
          <p:nvPr/>
        </p:nvSpPr>
        <p:spPr bwMode="auto">
          <a:xfrm>
            <a:off x="11096295" y="2557439"/>
            <a:ext cx="30054" cy="27549"/>
          </a:xfrm>
          <a:custGeom>
            <a:avLst/>
            <a:gdLst>
              <a:gd name="T0" fmla="*/ 29 w 57"/>
              <a:gd name="T1" fmla="*/ 50 h 52"/>
              <a:gd name="T2" fmla="*/ 35 w 57"/>
              <a:gd name="T3" fmla="*/ 51 h 52"/>
              <a:gd name="T4" fmla="*/ 55 w 57"/>
              <a:gd name="T5" fmla="*/ 34 h 52"/>
              <a:gd name="T6" fmla="*/ 56 w 57"/>
              <a:gd name="T7" fmla="*/ 27 h 52"/>
              <a:gd name="T8" fmla="*/ 13 w 57"/>
              <a:gd name="T9" fmla="*/ 4 h 52"/>
              <a:gd name="T10" fmla="*/ 20 w 57"/>
              <a:gd name="T11" fmla="*/ 40 h 52"/>
              <a:gd name="T12" fmla="*/ 29 w 57"/>
              <a:gd name="T13" fmla="*/ 5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7" h="52">
                <a:moveTo>
                  <a:pt x="29" y="50"/>
                </a:moveTo>
                <a:cubicBezTo>
                  <a:pt x="31" y="52"/>
                  <a:pt x="34" y="52"/>
                  <a:pt x="35" y="51"/>
                </a:cubicBezTo>
                <a:cubicBezTo>
                  <a:pt x="55" y="34"/>
                  <a:pt x="55" y="34"/>
                  <a:pt x="55" y="34"/>
                </a:cubicBezTo>
                <a:cubicBezTo>
                  <a:pt x="57" y="32"/>
                  <a:pt x="57" y="29"/>
                  <a:pt x="56" y="27"/>
                </a:cubicBezTo>
                <a:cubicBezTo>
                  <a:pt x="56" y="27"/>
                  <a:pt x="32" y="19"/>
                  <a:pt x="13" y="4"/>
                </a:cubicBezTo>
                <a:cubicBezTo>
                  <a:pt x="8" y="0"/>
                  <a:pt x="0" y="17"/>
                  <a:pt x="20" y="40"/>
                </a:cubicBezTo>
                <a:lnTo>
                  <a:pt x="29" y="5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4" name="Freeform 182">
            <a:extLst>
              <a:ext uri="{FF2B5EF4-FFF2-40B4-BE49-F238E27FC236}">
                <a16:creationId xmlns:a16="http://schemas.microsoft.com/office/drawing/2014/main" id="{2165D8E5-12F9-4674-B5C2-DB1DD1D9B38B}"/>
              </a:ext>
            </a:extLst>
          </p:cNvPr>
          <p:cNvSpPr>
            <a:spLocks/>
          </p:cNvSpPr>
          <p:nvPr/>
        </p:nvSpPr>
        <p:spPr bwMode="auto">
          <a:xfrm>
            <a:off x="11116331" y="2504845"/>
            <a:ext cx="123972" cy="150268"/>
          </a:xfrm>
          <a:custGeom>
            <a:avLst/>
            <a:gdLst>
              <a:gd name="T0" fmla="*/ 228 w 237"/>
              <a:gd name="T1" fmla="*/ 95 h 289"/>
              <a:gd name="T2" fmla="*/ 131 w 237"/>
              <a:gd name="T3" fmla="*/ 281 h 289"/>
              <a:gd name="T4" fmla="*/ 0 w 237"/>
              <a:gd name="T5" fmla="*/ 158 h 289"/>
              <a:gd name="T6" fmla="*/ 20 w 237"/>
              <a:gd name="T7" fmla="*/ 141 h 289"/>
              <a:gd name="T8" fmla="*/ 117 w 237"/>
              <a:gd name="T9" fmla="*/ 213 h 289"/>
              <a:gd name="T10" fmla="*/ 196 w 237"/>
              <a:gd name="T11" fmla="*/ 0 h 289"/>
              <a:gd name="T12" fmla="*/ 228 w 237"/>
              <a:gd name="T13" fmla="*/ 95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7" h="289">
                <a:moveTo>
                  <a:pt x="228" y="95"/>
                </a:moveTo>
                <a:cubicBezTo>
                  <a:pt x="218" y="121"/>
                  <a:pt x="160" y="273"/>
                  <a:pt x="131" y="281"/>
                </a:cubicBezTo>
                <a:cubicBezTo>
                  <a:pt x="102" y="289"/>
                  <a:pt x="27" y="208"/>
                  <a:pt x="0" y="158"/>
                </a:cubicBezTo>
                <a:cubicBezTo>
                  <a:pt x="20" y="141"/>
                  <a:pt x="20" y="141"/>
                  <a:pt x="20" y="141"/>
                </a:cubicBezTo>
                <a:cubicBezTo>
                  <a:pt x="50" y="183"/>
                  <a:pt x="104" y="218"/>
                  <a:pt x="117" y="213"/>
                </a:cubicBezTo>
                <a:cubicBezTo>
                  <a:pt x="129" y="208"/>
                  <a:pt x="175" y="0"/>
                  <a:pt x="196" y="0"/>
                </a:cubicBezTo>
                <a:cubicBezTo>
                  <a:pt x="217" y="0"/>
                  <a:pt x="237" y="72"/>
                  <a:pt x="228" y="9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5" name="Freeform 183">
            <a:extLst>
              <a:ext uri="{FF2B5EF4-FFF2-40B4-BE49-F238E27FC236}">
                <a16:creationId xmlns:a16="http://schemas.microsoft.com/office/drawing/2014/main" id="{A1CDA5CD-CF7D-4376-B303-6633FFA4F8DE}"/>
              </a:ext>
            </a:extLst>
          </p:cNvPr>
          <p:cNvSpPr>
            <a:spLocks/>
          </p:cNvSpPr>
          <p:nvPr/>
        </p:nvSpPr>
        <p:spPr bwMode="auto">
          <a:xfrm>
            <a:off x="10724381" y="2821660"/>
            <a:ext cx="7513" cy="11270"/>
          </a:xfrm>
          <a:custGeom>
            <a:avLst/>
            <a:gdLst>
              <a:gd name="T0" fmla="*/ 3 w 15"/>
              <a:gd name="T1" fmla="*/ 1 h 23"/>
              <a:gd name="T2" fmla="*/ 1 w 15"/>
              <a:gd name="T3" fmla="*/ 7 h 23"/>
              <a:gd name="T4" fmla="*/ 6 w 15"/>
              <a:gd name="T5" fmla="*/ 20 h 23"/>
              <a:gd name="T6" fmla="*/ 12 w 15"/>
              <a:gd name="T7" fmla="*/ 22 h 23"/>
              <a:gd name="T8" fmla="*/ 12 w 15"/>
              <a:gd name="T9" fmla="*/ 22 h 23"/>
              <a:gd name="T10" fmla="*/ 14 w 15"/>
              <a:gd name="T11" fmla="*/ 16 h 23"/>
              <a:gd name="T12" fmla="*/ 9 w 15"/>
              <a:gd name="T13" fmla="*/ 3 h 23"/>
              <a:gd name="T14" fmla="*/ 3 w 15"/>
              <a:gd name="T15" fmla="*/ 1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23">
                <a:moveTo>
                  <a:pt x="3" y="1"/>
                </a:moveTo>
                <a:cubicBezTo>
                  <a:pt x="1" y="2"/>
                  <a:pt x="0" y="4"/>
                  <a:pt x="1" y="7"/>
                </a:cubicBezTo>
                <a:cubicBezTo>
                  <a:pt x="6" y="20"/>
                  <a:pt x="6" y="20"/>
                  <a:pt x="6" y="20"/>
                </a:cubicBezTo>
                <a:cubicBezTo>
                  <a:pt x="7" y="22"/>
                  <a:pt x="10" y="23"/>
                  <a:pt x="12" y="22"/>
                </a:cubicBezTo>
                <a:cubicBezTo>
                  <a:pt x="12" y="22"/>
                  <a:pt x="12" y="22"/>
                  <a:pt x="12" y="22"/>
                </a:cubicBezTo>
                <a:cubicBezTo>
                  <a:pt x="14" y="21"/>
                  <a:pt x="15" y="19"/>
                  <a:pt x="14" y="16"/>
                </a:cubicBezTo>
                <a:cubicBezTo>
                  <a:pt x="9" y="3"/>
                  <a:pt x="9" y="3"/>
                  <a:pt x="9" y="3"/>
                </a:cubicBezTo>
                <a:cubicBezTo>
                  <a:pt x="8" y="1"/>
                  <a:pt x="5" y="0"/>
                  <a:pt x="3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6" name="Freeform 184">
            <a:extLst>
              <a:ext uri="{FF2B5EF4-FFF2-40B4-BE49-F238E27FC236}">
                <a16:creationId xmlns:a16="http://schemas.microsoft.com/office/drawing/2014/main" id="{65F7781B-00B2-422D-9BFF-C8401D8D79BF}"/>
              </a:ext>
            </a:extLst>
          </p:cNvPr>
          <p:cNvSpPr>
            <a:spLocks/>
          </p:cNvSpPr>
          <p:nvPr/>
        </p:nvSpPr>
        <p:spPr bwMode="auto">
          <a:xfrm>
            <a:off x="10708103" y="2815399"/>
            <a:ext cx="21288" cy="17531"/>
          </a:xfrm>
          <a:custGeom>
            <a:avLst/>
            <a:gdLst>
              <a:gd name="T0" fmla="*/ 6 w 40"/>
              <a:gd name="T1" fmla="*/ 4 h 33"/>
              <a:gd name="T2" fmla="*/ 12 w 40"/>
              <a:gd name="T3" fmla="*/ 1 h 33"/>
              <a:gd name="T4" fmla="*/ 36 w 40"/>
              <a:gd name="T5" fmla="*/ 11 h 33"/>
              <a:gd name="T6" fmla="*/ 39 w 40"/>
              <a:gd name="T7" fmla="*/ 17 h 33"/>
              <a:gd name="T8" fmla="*/ 34 w 40"/>
              <a:gd name="T9" fmla="*/ 29 h 33"/>
              <a:gd name="T10" fmla="*/ 28 w 40"/>
              <a:gd name="T11" fmla="*/ 32 h 33"/>
              <a:gd name="T12" fmla="*/ 4 w 40"/>
              <a:gd name="T13" fmla="*/ 22 h 33"/>
              <a:gd name="T14" fmla="*/ 1 w 40"/>
              <a:gd name="T15" fmla="*/ 16 h 33"/>
              <a:gd name="T16" fmla="*/ 6 w 40"/>
              <a:gd name="T17" fmla="*/ 4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" h="33">
                <a:moveTo>
                  <a:pt x="6" y="4"/>
                </a:moveTo>
                <a:cubicBezTo>
                  <a:pt x="7" y="1"/>
                  <a:pt x="10" y="0"/>
                  <a:pt x="12" y="1"/>
                </a:cubicBezTo>
                <a:cubicBezTo>
                  <a:pt x="36" y="11"/>
                  <a:pt x="36" y="11"/>
                  <a:pt x="36" y="11"/>
                </a:cubicBezTo>
                <a:cubicBezTo>
                  <a:pt x="39" y="12"/>
                  <a:pt x="40" y="14"/>
                  <a:pt x="39" y="17"/>
                </a:cubicBezTo>
                <a:cubicBezTo>
                  <a:pt x="34" y="29"/>
                  <a:pt x="34" y="29"/>
                  <a:pt x="34" y="29"/>
                </a:cubicBezTo>
                <a:cubicBezTo>
                  <a:pt x="33" y="32"/>
                  <a:pt x="30" y="33"/>
                  <a:pt x="28" y="32"/>
                </a:cubicBezTo>
                <a:cubicBezTo>
                  <a:pt x="4" y="22"/>
                  <a:pt x="4" y="22"/>
                  <a:pt x="4" y="22"/>
                </a:cubicBezTo>
                <a:cubicBezTo>
                  <a:pt x="1" y="21"/>
                  <a:pt x="0" y="18"/>
                  <a:pt x="1" y="16"/>
                </a:cubicBezTo>
                <a:lnTo>
                  <a:pt x="6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7" name="Freeform 185">
            <a:extLst>
              <a:ext uri="{FF2B5EF4-FFF2-40B4-BE49-F238E27FC236}">
                <a16:creationId xmlns:a16="http://schemas.microsoft.com/office/drawing/2014/main" id="{C30B550C-0EFA-4B8A-BF94-4B69A312588E}"/>
              </a:ext>
            </a:extLst>
          </p:cNvPr>
          <p:cNvSpPr>
            <a:spLocks/>
          </p:cNvSpPr>
          <p:nvPr/>
        </p:nvSpPr>
        <p:spPr bwMode="auto">
          <a:xfrm>
            <a:off x="10715616" y="2825417"/>
            <a:ext cx="6262" cy="10018"/>
          </a:xfrm>
          <a:custGeom>
            <a:avLst/>
            <a:gdLst>
              <a:gd name="T0" fmla="*/ 13 w 14"/>
              <a:gd name="T1" fmla="*/ 7 h 19"/>
              <a:gd name="T2" fmla="*/ 10 w 14"/>
              <a:gd name="T3" fmla="*/ 1 h 19"/>
              <a:gd name="T4" fmla="*/ 4 w 14"/>
              <a:gd name="T5" fmla="*/ 4 h 19"/>
              <a:gd name="T6" fmla="*/ 1 w 14"/>
              <a:gd name="T7" fmla="*/ 12 h 19"/>
              <a:gd name="T8" fmla="*/ 4 w 14"/>
              <a:gd name="T9" fmla="*/ 18 h 19"/>
              <a:gd name="T10" fmla="*/ 4 w 14"/>
              <a:gd name="T11" fmla="*/ 18 h 19"/>
              <a:gd name="T12" fmla="*/ 9 w 14"/>
              <a:gd name="T13" fmla="*/ 15 h 19"/>
              <a:gd name="T14" fmla="*/ 13 w 14"/>
              <a:gd name="T15" fmla="*/ 7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" h="19">
                <a:moveTo>
                  <a:pt x="13" y="7"/>
                </a:moveTo>
                <a:cubicBezTo>
                  <a:pt x="14" y="5"/>
                  <a:pt x="12" y="2"/>
                  <a:pt x="10" y="1"/>
                </a:cubicBezTo>
                <a:cubicBezTo>
                  <a:pt x="8" y="0"/>
                  <a:pt x="5" y="1"/>
                  <a:pt x="4" y="4"/>
                </a:cubicBezTo>
                <a:cubicBezTo>
                  <a:pt x="1" y="12"/>
                  <a:pt x="1" y="12"/>
                  <a:pt x="1" y="12"/>
                </a:cubicBezTo>
                <a:cubicBezTo>
                  <a:pt x="0" y="14"/>
                  <a:pt x="1" y="17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6" y="19"/>
                  <a:pt x="8" y="18"/>
                  <a:pt x="9" y="15"/>
                </a:cubicBezTo>
                <a:lnTo>
                  <a:pt x="13" y="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8" name="Freeform 186">
            <a:extLst>
              <a:ext uri="{FF2B5EF4-FFF2-40B4-BE49-F238E27FC236}">
                <a16:creationId xmlns:a16="http://schemas.microsoft.com/office/drawing/2014/main" id="{EFCABF2A-F0AD-4822-A4AE-0EB1AA443A59}"/>
              </a:ext>
            </a:extLst>
          </p:cNvPr>
          <p:cNvSpPr>
            <a:spLocks/>
          </p:cNvSpPr>
          <p:nvPr/>
        </p:nvSpPr>
        <p:spPr bwMode="auto">
          <a:xfrm>
            <a:off x="10719372" y="2827922"/>
            <a:ext cx="7513" cy="8766"/>
          </a:xfrm>
          <a:custGeom>
            <a:avLst/>
            <a:gdLst>
              <a:gd name="T0" fmla="*/ 13 w 14"/>
              <a:gd name="T1" fmla="*/ 6 h 18"/>
              <a:gd name="T2" fmla="*/ 10 w 14"/>
              <a:gd name="T3" fmla="*/ 1 h 18"/>
              <a:gd name="T4" fmla="*/ 5 w 14"/>
              <a:gd name="T5" fmla="*/ 3 h 18"/>
              <a:gd name="T6" fmla="*/ 1 w 14"/>
              <a:gd name="T7" fmla="*/ 11 h 18"/>
              <a:gd name="T8" fmla="*/ 4 w 14"/>
              <a:gd name="T9" fmla="*/ 17 h 18"/>
              <a:gd name="T10" fmla="*/ 4 w 14"/>
              <a:gd name="T11" fmla="*/ 17 h 18"/>
              <a:gd name="T12" fmla="*/ 9 w 14"/>
              <a:gd name="T13" fmla="*/ 15 h 18"/>
              <a:gd name="T14" fmla="*/ 13 w 14"/>
              <a:gd name="T15" fmla="*/ 6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" h="18">
                <a:moveTo>
                  <a:pt x="13" y="6"/>
                </a:moveTo>
                <a:cubicBezTo>
                  <a:pt x="14" y="4"/>
                  <a:pt x="13" y="2"/>
                  <a:pt x="10" y="1"/>
                </a:cubicBezTo>
                <a:cubicBezTo>
                  <a:pt x="8" y="0"/>
                  <a:pt x="6" y="1"/>
                  <a:pt x="5" y="3"/>
                </a:cubicBezTo>
                <a:cubicBezTo>
                  <a:pt x="1" y="11"/>
                  <a:pt x="1" y="11"/>
                  <a:pt x="1" y="11"/>
                </a:cubicBezTo>
                <a:cubicBezTo>
                  <a:pt x="0" y="14"/>
                  <a:pt x="1" y="16"/>
                  <a:pt x="4" y="17"/>
                </a:cubicBezTo>
                <a:cubicBezTo>
                  <a:pt x="4" y="17"/>
                  <a:pt x="4" y="17"/>
                  <a:pt x="4" y="17"/>
                </a:cubicBezTo>
                <a:cubicBezTo>
                  <a:pt x="6" y="18"/>
                  <a:pt x="9" y="17"/>
                  <a:pt x="9" y="15"/>
                </a:cubicBezTo>
                <a:lnTo>
                  <a:pt x="13" y="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9" name="Freeform 187">
            <a:extLst>
              <a:ext uri="{FF2B5EF4-FFF2-40B4-BE49-F238E27FC236}">
                <a16:creationId xmlns:a16="http://schemas.microsoft.com/office/drawing/2014/main" id="{C913D0A2-90FC-4220-955A-652020120D61}"/>
              </a:ext>
            </a:extLst>
          </p:cNvPr>
          <p:cNvSpPr>
            <a:spLocks/>
          </p:cNvSpPr>
          <p:nvPr/>
        </p:nvSpPr>
        <p:spPr bwMode="auto">
          <a:xfrm>
            <a:off x="10710607" y="2824165"/>
            <a:ext cx="7513" cy="10018"/>
          </a:xfrm>
          <a:custGeom>
            <a:avLst/>
            <a:gdLst>
              <a:gd name="T0" fmla="*/ 10 w 13"/>
              <a:gd name="T1" fmla="*/ 1 h 18"/>
              <a:gd name="T2" fmla="*/ 4 w 13"/>
              <a:gd name="T3" fmla="*/ 3 h 18"/>
              <a:gd name="T4" fmla="*/ 1 w 13"/>
              <a:gd name="T5" fmla="*/ 12 h 18"/>
              <a:gd name="T6" fmla="*/ 3 w 13"/>
              <a:gd name="T7" fmla="*/ 18 h 18"/>
              <a:gd name="T8" fmla="*/ 3 w 13"/>
              <a:gd name="T9" fmla="*/ 18 h 18"/>
              <a:gd name="T10" fmla="*/ 9 w 13"/>
              <a:gd name="T11" fmla="*/ 15 h 18"/>
              <a:gd name="T12" fmla="*/ 12 w 13"/>
              <a:gd name="T13" fmla="*/ 7 h 18"/>
              <a:gd name="T14" fmla="*/ 10 w 13"/>
              <a:gd name="T15" fmla="*/ 1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18">
                <a:moveTo>
                  <a:pt x="10" y="1"/>
                </a:moveTo>
                <a:cubicBezTo>
                  <a:pt x="8" y="0"/>
                  <a:pt x="5" y="1"/>
                  <a:pt x="4" y="3"/>
                </a:cubicBezTo>
                <a:cubicBezTo>
                  <a:pt x="1" y="12"/>
                  <a:pt x="1" y="12"/>
                  <a:pt x="1" y="12"/>
                </a:cubicBezTo>
                <a:cubicBezTo>
                  <a:pt x="0" y="14"/>
                  <a:pt x="1" y="17"/>
                  <a:pt x="3" y="18"/>
                </a:cubicBezTo>
                <a:cubicBezTo>
                  <a:pt x="3" y="18"/>
                  <a:pt x="3" y="18"/>
                  <a:pt x="3" y="18"/>
                </a:cubicBezTo>
                <a:cubicBezTo>
                  <a:pt x="6" y="18"/>
                  <a:pt x="8" y="17"/>
                  <a:pt x="9" y="15"/>
                </a:cubicBezTo>
                <a:cubicBezTo>
                  <a:pt x="12" y="7"/>
                  <a:pt x="12" y="7"/>
                  <a:pt x="12" y="7"/>
                </a:cubicBezTo>
                <a:cubicBezTo>
                  <a:pt x="13" y="4"/>
                  <a:pt x="12" y="2"/>
                  <a:pt x="10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0" name="Freeform 188">
            <a:extLst>
              <a:ext uri="{FF2B5EF4-FFF2-40B4-BE49-F238E27FC236}">
                <a16:creationId xmlns:a16="http://schemas.microsoft.com/office/drawing/2014/main" id="{62B5D86B-CBE1-4B96-80E5-64DC1BF1A150}"/>
              </a:ext>
            </a:extLst>
          </p:cNvPr>
          <p:cNvSpPr>
            <a:spLocks/>
          </p:cNvSpPr>
          <p:nvPr/>
        </p:nvSpPr>
        <p:spPr bwMode="auto">
          <a:xfrm>
            <a:off x="10706850" y="2822913"/>
            <a:ext cx="6262" cy="8766"/>
          </a:xfrm>
          <a:custGeom>
            <a:avLst/>
            <a:gdLst>
              <a:gd name="T0" fmla="*/ 12 w 13"/>
              <a:gd name="T1" fmla="*/ 6 h 18"/>
              <a:gd name="T2" fmla="*/ 10 w 13"/>
              <a:gd name="T3" fmla="*/ 1 h 18"/>
              <a:gd name="T4" fmla="*/ 4 w 13"/>
              <a:gd name="T5" fmla="*/ 3 h 18"/>
              <a:gd name="T6" fmla="*/ 1 w 13"/>
              <a:gd name="T7" fmla="*/ 12 h 18"/>
              <a:gd name="T8" fmla="*/ 3 w 13"/>
              <a:gd name="T9" fmla="*/ 17 h 18"/>
              <a:gd name="T10" fmla="*/ 9 w 13"/>
              <a:gd name="T11" fmla="*/ 15 h 18"/>
              <a:gd name="T12" fmla="*/ 12 w 13"/>
              <a:gd name="T13" fmla="*/ 6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18">
                <a:moveTo>
                  <a:pt x="12" y="6"/>
                </a:moveTo>
                <a:cubicBezTo>
                  <a:pt x="13" y="4"/>
                  <a:pt x="12" y="2"/>
                  <a:pt x="10" y="1"/>
                </a:cubicBezTo>
                <a:cubicBezTo>
                  <a:pt x="8" y="0"/>
                  <a:pt x="5" y="1"/>
                  <a:pt x="4" y="3"/>
                </a:cubicBezTo>
                <a:cubicBezTo>
                  <a:pt x="1" y="12"/>
                  <a:pt x="1" y="12"/>
                  <a:pt x="1" y="12"/>
                </a:cubicBezTo>
                <a:cubicBezTo>
                  <a:pt x="0" y="14"/>
                  <a:pt x="1" y="16"/>
                  <a:pt x="3" y="17"/>
                </a:cubicBezTo>
                <a:cubicBezTo>
                  <a:pt x="5" y="18"/>
                  <a:pt x="8" y="17"/>
                  <a:pt x="9" y="15"/>
                </a:cubicBezTo>
                <a:lnTo>
                  <a:pt x="12" y="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1" name="Freeform 189">
            <a:extLst>
              <a:ext uri="{FF2B5EF4-FFF2-40B4-BE49-F238E27FC236}">
                <a16:creationId xmlns:a16="http://schemas.microsoft.com/office/drawing/2014/main" id="{24D8DB64-86D2-43D8-B5C3-4E88E12FA4C4}"/>
              </a:ext>
            </a:extLst>
          </p:cNvPr>
          <p:cNvSpPr>
            <a:spLocks/>
          </p:cNvSpPr>
          <p:nvPr/>
        </p:nvSpPr>
        <p:spPr bwMode="auto">
          <a:xfrm>
            <a:off x="10715616" y="2621303"/>
            <a:ext cx="92665" cy="197853"/>
          </a:xfrm>
          <a:custGeom>
            <a:avLst/>
            <a:gdLst>
              <a:gd name="T0" fmla="*/ 103 w 179"/>
              <a:gd name="T1" fmla="*/ 0 h 381"/>
              <a:gd name="T2" fmla="*/ 0 w 179"/>
              <a:gd name="T3" fmla="*/ 371 h 381"/>
              <a:gd name="T4" fmla="*/ 24 w 179"/>
              <a:gd name="T5" fmla="*/ 381 h 381"/>
              <a:gd name="T6" fmla="*/ 155 w 179"/>
              <a:gd name="T7" fmla="*/ 69 h 381"/>
              <a:gd name="T8" fmla="*/ 103 w 179"/>
              <a:gd name="T9" fmla="*/ 0 h 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9" h="381">
                <a:moveTo>
                  <a:pt x="103" y="0"/>
                </a:moveTo>
                <a:cubicBezTo>
                  <a:pt x="61" y="0"/>
                  <a:pt x="26" y="255"/>
                  <a:pt x="0" y="371"/>
                </a:cubicBezTo>
                <a:cubicBezTo>
                  <a:pt x="24" y="381"/>
                  <a:pt x="24" y="381"/>
                  <a:pt x="24" y="381"/>
                </a:cubicBezTo>
                <a:cubicBezTo>
                  <a:pt x="63" y="280"/>
                  <a:pt x="97" y="157"/>
                  <a:pt x="155" y="69"/>
                </a:cubicBezTo>
                <a:cubicBezTo>
                  <a:pt x="179" y="34"/>
                  <a:pt x="125" y="0"/>
                  <a:pt x="103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2" name="Freeform 190">
            <a:extLst>
              <a:ext uri="{FF2B5EF4-FFF2-40B4-BE49-F238E27FC236}">
                <a16:creationId xmlns:a16="http://schemas.microsoft.com/office/drawing/2014/main" id="{B783F4C2-D90F-4D88-9865-4A30DC20EEE4}"/>
              </a:ext>
            </a:extLst>
          </p:cNvPr>
          <p:cNvSpPr>
            <a:spLocks/>
          </p:cNvSpPr>
          <p:nvPr/>
        </p:nvSpPr>
        <p:spPr bwMode="auto">
          <a:xfrm>
            <a:off x="10773219" y="2621303"/>
            <a:ext cx="98927" cy="215384"/>
          </a:xfrm>
          <a:custGeom>
            <a:avLst/>
            <a:gdLst>
              <a:gd name="T0" fmla="*/ 30 w 189"/>
              <a:gd name="T1" fmla="*/ 0 h 414"/>
              <a:gd name="T2" fmla="*/ 0 w 189"/>
              <a:gd name="T3" fmla="*/ 408 h 414"/>
              <a:gd name="T4" fmla="*/ 189 w 189"/>
              <a:gd name="T5" fmla="*/ 414 h 414"/>
              <a:gd name="T6" fmla="*/ 126 w 189"/>
              <a:gd name="T7" fmla="*/ 0 h 414"/>
              <a:gd name="T8" fmla="*/ 30 w 189"/>
              <a:gd name="T9" fmla="*/ 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" h="414">
                <a:moveTo>
                  <a:pt x="30" y="0"/>
                </a:moveTo>
                <a:cubicBezTo>
                  <a:pt x="0" y="408"/>
                  <a:pt x="0" y="408"/>
                  <a:pt x="0" y="408"/>
                </a:cubicBezTo>
                <a:cubicBezTo>
                  <a:pt x="53" y="410"/>
                  <a:pt x="136" y="413"/>
                  <a:pt x="189" y="414"/>
                </a:cubicBezTo>
                <a:cubicBezTo>
                  <a:pt x="126" y="0"/>
                  <a:pt x="126" y="0"/>
                  <a:pt x="126" y="0"/>
                </a:cubicBezTo>
                <a:lnTo>
                  <a:pt x="30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3" name="Freeform 191">
            <a:extLst>
              <a:ext uri="{FF2B5EF4-FFF2-40B4-BE49-F238E27FC236}">
                <a16:creationId xmlns:a16="http://schemas.microsoft.com/office/drawing/2014/main" id="{480157BA-0367-49B1-8443-8C622E7D41CB}"/>
              </a:ext>
            </a:extLst>
          </p:cNvPr>
          <p:cNvSpPr>
            <a:spLocks/>
          </p:cNvSpPr>
          <p:nvPr/>
        </p:nvSpPr>
        <p:spPr bwMode="auto">
          <a:xfrm>
            <a:off x="10795759" y="2623807"/>
            <a:ext cx="30054" cy="117710"/>
          </a:xfrm>
          <a:custGeom>
            <a:avLst/>
            <a:gdLst>
              <a:gd name="T0" fmla="*/ 44 w 59"/>
              <a:gd name="T1" fmla="*/ 15 h 227"/>
              <a:gd name="T2" fmla="*/ 28 w 59"/>
              <a:gd name="T3" fmla="*/ 13 h 227"/>
              <a:gd name="T4" fmla="*/ 0 w 59"/>
              <a:gd name="T5" fmla="*/ 197 h 227"/>
              <a:gd name="T6" fmla="*/ 28 w 59"/>
              <a:gd name="T7" fmla="*/ 227 h 227"/>
              <a:gd name="T8" fmla="*/ 57 w 59"/>
              <a:gd name="T9" fmla="*/ 199 h 227"/>
              <a:gd name="T10" fmla="*/ 44 w 59"/>
              <a:gd name="T11" fmla="*/ 15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9" h="227">
                <a:moveTo>
                  <a:pt x="44" y="15"/>
                </a:moveTo>
                <a:cubicBezTo>
                  <a:pt x="44" y="1"/>
                  <a:pt x="28" y="0"/>
                  <a:pt x="28" y="13"/>
                </a:cubicBezTo>
                <a:cubicBezTo>
                  <a:pt x="26" y="49"/>
                  <a:pt x="15" y="124"/>
                  <a:pt x="0" y="197"/>
                </a:cubicBezTo>
                <a:cubicBezTo>
                  <a:pt x="11" y="209"/>
                  <a:pt x="28" y="227"/>
                  <a:pt x="28" y="227"/>
                </a:cubicBezTo>
                <a:cubicBezTo>
                  <a:pt x="28" y="227"/>
                  <a:pt x="50" y="207"/>
                  <a:pt x="57" y="199"/>
                </a:cubicBezTo>
                <a:cubicBezTo>
                  <a:pt x="59" y="126"/>
                  <a:pt x="46" y="62"/>
                  <a:pt x="44" y="15"/>
                </a:cubicBez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4" name="Freeform 192">
            <a:extLst>
              <a:ext uri="{FF2B5EF4-FFF2-40B4-BE49-F238E27FC236}">
                <a16:creationId xmlns:a16="http://schemas.microsoft.com/office/drawing/2014/main" id="{C900084C-09ED-43EC-82C3-8CC99D4A3094}"/>
              </a:ext>
            </a:extLst>
          </p:cNvPr>
          <p:cNvSpPr>
            <a:spLocks/>
          </p:cNvSpPr>
          <p:nvPr/>
        </p:nvSpPr>
        <p:spPr bwMode="auto">
          <a:xfrm>
            <a:off x="10807029" y="2620051"/>
            <a:ext cx="13775" cy="11270"/>
          </a:xfrm>
          <a:custGeom>
            <a:avLst/>
            <a:gdLst>
              <a:gd name="T0" fmla="*/ 11 w 11"/>
              <a:gd name="T1" fmla="*/ 1 h 9"/>
              <a:gd name="T2" fmla="*/ 2 w 11"/>
              <a:gd name="T3" fmla="*/ 0 h 9"/>
              <a:gd name="T4" fmla="*/ 0 w 11"/>
              <a:gd name="T5" fmla="*/ 9 h 9"/>
              <a:gd name="T6" fmla="*/ 11 w 11"/>
              <a:gd name="T7" fmla="*/ 9 h 9"/>
              <a:gd name="T8" fmla="*/ 11 w 11"/>
              <a:gd name="T9" fmla="*/ 1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" h="9">
                <a:moveTo>
                  <a:pt x="11" y="1"/>
                </a:moveTo>
                <a:lnTo>
                  <a:pt x="2" y="0"/>
                </a:lnTo>
                <a:lnTo>
                  <a:pt x="0" y="9"/>
                </a:lnTo>
                <a:lnTo>
                  <a:pt x="11" y="9"/>
                </a:lnTo>
                <a:lnTo>
                  <a:pt x="11" y="1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5" name="Freeform 193">
            <a:extLst>
              <a:ext uri="{FF2B5EF4-FFF2-40B4-BE49-F238E27FC236}">
                <a16:creationId xmlns:a16="http://schemas.microsoft.com/office/drawing/2014/main" id="{F55DA5EC-6A9E-4F84-9711-6B80A60DFEE8}"/>
              </a:ext>
            </a:extLst>
          </p:cNvPr>
          <p:cNvSpPr>
            <a:spLocks/>
          </p:cNvSpPr>
          <p:nvPr/>
        </p:nvSpPr>
        <p:spPr bwMode="auto">
          <a:xfrm>
            <a:off x="10769462" y="2621303"/>
            <a:ext cx="122719" cy="274240"/>
          </a:xfrm>
          <a:custGeom>
            <a:avLst/>
            <a:gdLst>
              <a:gd name="T0" fmla="*/ 221 w 237"/>
              <a:gd name="T1" fmla="*/ 0 h 528"/>
              <a:gd name="T2" fmla="*/ 135 w 237"/>
              <a:gd name="T3" fmla="*/ 0 h 528"/>
              <a:gd name="T4" fmla="*/ 83 w 237"/>
              <a:gd name="T5" fmla="*/ 210 h 528"/>
              <a:gd name="T6" fmla="*/ 50 w 237"/>
              <a:gd name="T7" fmla="*/ 0 h 528"/>
              <a:gd name="T8" fmla="*/ 0 w 237"/>
              <a:gd name="T9" fmla="*/ 0 h 528"/>
              <a:gd name="T10" fmla="*/ 0 w 237"/>
              <a:gd name="T11" fmla="*/ 528 h 528"/>
              <a:gd name="T12" fmla="*/ 237 w 237"/>
              <a:gd name="T13" fmla="*/ 528 h 528"/>
              <a:gd name="T14" fmla="*/ 221 w 237"/>
              <a:gd name="T15" fmla="*/ 0 h 5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37" h="528">
                <a:moveTo>
                  <a:pt x="221" y="0"/>
                </a:moveTo>
                <a:cubicBezTo>
                  <a:pt x="135" y="0"/>
                  <a:pt x="135" y="0"/>
                  <a:pt x="135" y="0"/>
                </a:cubicBezTo>
                <a:cubicBezTo>
                  <a:pt x="135" y="0"/>
                  <a:pt x="91" y="187"/>
                  <a:pt x="83" y="210"/>
                </a:cubicBezTo>
                <a:cubicBezTo>
                  <a:pt x="50" y="0"/>
                  <a:pt x="50" y="0"/>
                  <a:pt x="5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28"/>
                  <a:pt x="0" y="528"/>
                  <a:pt x="0" y="528"/>
                </a:cubicBezTo>
                <a:cubicBezTo>
                  <a:pt x="237" y="528"/>
                  <a:pt x="237" y="528"/>
                  <a:pt x="237" y="528"/>
                </a:cubicBezTo>
                <a:lnTo>
                  <a:pt x="22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6" name="Freeform 194">
            <a:extLst>
              <a:ext uri="{FF2B5EF4-FFF2-40B4-BE49-F238E27FC236}">
                <a16:creationId xmlns:a16="http://schemas.microsoft.com/office/drawing/2014/main" id="{C07AA3E0-5100-4F3A-9723-B5E796998217}"/>
              </a:ext>
            </a:extLst>
          </p:cNvPr>
          <p:cNvSpPr>
            <a:spLocks/>
          </p:cNvSpPr>
          <p:nvPr/>
        </p:nvSpPr>
        <p:spPr bwMode="auto">
          <a:xfrm>
            <a:off x="10794506" y="2561196"/>
            <a:ext cx="46333" cy="60107"/>
          </a:xfrm>
          <a:custGeom>
            <a:avLst/>
            <a:gdLst>
              <a:gd name="T0" fmla="*/ 67 w 88"/>
              <a:gd name="T1" fmla="*/ 12 h 114"/>
              <a:gd name="T2" fmla="*/ 26 w 88"/>
              <a:gd name="T3" fmla="*/ 8 h 114"/>
              <a:gd name="T4" fmla="*/ 10 w 88"/>
              <a:gd name="T5" fmla="*/ 47 h 114"/>
              <a:gd name="T6" fmla="*/ 0 w 88"/>
              <a:gd name="T7" fmla="*/ 114 h 114"/>
              <a:gd name="T8" fmla="*/ 85 w 88"/>
              <a:gd name="T9" fmla="*/ 114 h 114"/>
              <a:gd name="T10" fmla="*/ 85 w 88"/>
              <a:gd name="T11" fmla="*/ 55 h 114"/>
              <a:gd name="T12" fmla="*/ 82 w 88"/>
              <a:gd name="T13" fmla="*/ 46 h 114"/>
              <a:gd name="T14" fmla="*/ 81 w 88"/>
              <a:gd name="T15" fmla="*/ 39 h 114"/>
              <a:gd name="T16" fmla="*/ 77 w 88"/>
              <a:gd name="T17" fmla="*/ 33 h 114"/>
              <a:gd name="T18" fmla="*/ 86 w 88"/>
              <a:gd name="T19" fmla="*/ 29 h 114"/>
              <a:gd name="T20" fmla="*/ 67 w 88"/>
              <a:gd name="T21" fmla="*/ 12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8" h="114">
                <a:moveTo>
                  <a:pt x="67" y="12"/>
                </a:moveTo>
                <a:cubicBezTo>
                  <a:pt x="56" y="3"/>
                  <a:pt x="41" y="0"/>
                  <a:pt x="26" y="8"/>
                </a:cubicBezTo>
                <a:cubicBezTo>
                  <a:pt x="8" y="16"/>
                  <a:pt x="4" y="25"/>
                  <a:pt x="10" y="47"/>
                </a:cubicBezTo>
                <a:cubicBezTo>
                  <a:pt x="13" y="60"/>
                  <a:pt x="3" y="99"/>
                  <a:pt x="0" y="114"/>
                </a:cubicBezTo>
                <a:cubicBezTo>
                  <a:pt x="85" y="114"/>
                  <a:pt x="85" y="114"/>
                  <a:pt x="85" y="114"/>
                </a:cubicBezTo>
                <a:cubicBezTo>
                  <a:pt x="86" y="105"/>
                  <a:pt x="88" y="65"/>
                  <a:pt x="85" y="55"/>
                </a:cubicBezTo>
                <a:cubicBezTo>
                  <a:pt x="86" y="51"/>
                  <a:pt x="85" y="47"/>
                  <a:pt x="82" y="46"/>
                </a:cubicBezTo>
                <a:cubicBezTo>
                  <a:pt x="83" y="44"/>
                  <a:pt x="84" y="42"/>
                  <a:pt x="81" y="39"/>
                </a:cubicBezTo>
                <a:cubicBezTo>
                  <a:pt x="79" y="38"/>
                  <a:pt x="77" y="33"/>
                  <a:pt x="77" y="33"/>
                </a:cubicBezTo>
                <a:cubicBezTo>
                  <a:pt x="86" y="29"/>
                  <a:pt x="86" y="29"/>
                  <a:pt x="86" y="29"/>
                </a:cubicBezTo>
                <a:cubicBezTo>
                  <a:pt x="86" y="29"/>
                  <a:pt x="77" y="21"/>
                  <a:pt x="67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7" name="Freeform 195">
            <a:extLst>
              <a:ext uri="{FF2B5EF4-FFF2-40B4-BE49-F238E27FC236}">
                <a16:creationId xmlns:a16="http://schemas.microsoft.com/office/drawing/2014/main" id="{20326D9F-C0B2-43F1-93C0-097F9C645B3B}"/>
              </a:ext>
            </a:extLst>
          </p:cNvPr>
          <p:cNvSpPr>
            <a:spLocks/>
          </p:cNvSpPr>
          <p:nvPr/>
        </p:nvSpPr>
        <p:spPr bwMode="auto">
          <a:xfrm>
            <a:off x="10824560" y="2571213"/>
            <a:ext cx="3757" cy="5009"/>
          </a:xfrm>
          <a:custGeom>
            <a:avLst/>
            <a:gdLst>
              <a:gd name="T0" fmla="*/ 7 w 8"/>
              <a:gd name="T1" fmla="*/ 2 h 9"/>
              <a:gd name="T2" fmla="*/ 7 w 8"/>
              <a:gd name="T3" fmla="*/ 7 h 9"/>
              <a:gd name="T4" fmla="*/ 1 w 8"/>
              <a:gd name="T5" fmla="*/ 7 h 9"/>
              <a:gd name="T6" fmla="*/ 1 w 8"/>
              <a:gd name="T7" fmla="*/ 2 h 9"/>
              <a:gd name="T8" fmla="*/ 7 w 8"/>
              <a:gd name="T9" fmla="*/ 2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9">
                <a:moveTo>
                  <a:pt x="7" y="2"/>
                </a:moveTo>
                <a:cubicBezTo>
                  <a:pt x="8" y="3"/>
                  <a:pt x="8" y="6"/>
                  <a:pt x="7" y="7"/>
                </a:cubicBezTo>
                <a:cubicBezTo>
                  <a:pt x="5" y="9"/>
                  <a:pt x="3" y="9"/>
                  <a:pt x="1" y="7"/>
                </a:cubicBezTo>
                <a:cubicBezTo>
                  <a:pt x="0" y="6"/>
                  <a:pt x="0" y="3"/>
                  <a:pt x="1" y="2"/>
                </a:cubicBezTo>
                <a:cubicBezTo>
                  <a:pt x="3" y="0"/>
                  <a:pt x="5" y="0"/>
                  <a:pt x="7" y="2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8" name="Freeform 196">
            <a:extLst>
              <a:ext uri="{FF2B5EF4-FFF2-40B4-BE49-F238E27FC236}">
                <a16:creationId xmlns:a16="http://schemas.microsoft.com/office/drawing/2014/main" id="{3F5AA7ED-223D-45A6-A041-DFE66D2CBDA2}"/>
              </a:ext>
            </a:extLst>
          </p:cNvPr>
          <p:cNvSpPr>
            <a:spLocks/>
          </p:cNvSpPr>
          <p:nvPr/>
        </p:nvSpPr>
        <p:spPr bwMode="auto">
          <a:xfrm>
            <a:off x="10820804" y="2572466"/>
            <a:ext cx="3757" cy="5009"/>
          </a:xfrm>
          <a:custGeom>
            <a:avLst/>
            <a:gdLst>
              <a:gd name="T0" fmla="*/ 7 w 8"/>
              <a:gd name="T1" fmla="*/ 2 h 9"/>
              <a:gd name="T2" fmla="*/ 7 w 8"/>
              <a:gd name="T3" fmla="*/ 7 h 9"/>
              <a:gd name="T4" fmla="*/ 1 w 8"/>
              <a:gd name="T5" fmla="*/ 7 h 9"/>
              <a:gd name="T6" fmla="*/ 1 w 8"/>
              <a:gd name="T7" fmla="*/ 2 h 9"/>
              <a:gd name="T8" fmla="*/ 7 w 8"/>
              <a:gd name="T9" fmla="*/ 2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9">
                <a:moveTo>
                  <a:pt x="7" y="2"/>
                </a:moveTo>
                <a:cubicBezTo>
                  <a:pt x="8" y="3"/>
                  <a:pt x="8" y="6"/>
                  <a:pt x="7" y="7"/>
                </a:cubicBezTo>
                <a:cubicBezTo>
                  <a:pt x="5" y="9"/>
                  <a:pt x="3" y="9"/>
                  <a:pt x="1" y="7"/>
                </a:cubicBezTo>
                <a:cubicBezTo>
                  <a:pt x="0" y="5"/>
                  <a:pt x="0" y="3"/>
                  <a:pt x="1" y="2"/>
                </a:cubicBezTo>
                <a:cubicBezTo>
                  <a:pt x="3" y="0"/>
                  <a:pt x="5" y="0"/>
                  <a:pt x="7" y="2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9" name="Freeform 197">
            <a:extLst>
              <a:ext uri="{FF2B5EF4-FFF2-40B4-BE49-F238E27FC236}">
                <a16:creationId xmlns:a16="http://schemas.microsoft.com/office/drawing/2014/main" id="{530C5F0E-D8FF-4825-8F67-556C80F68FCA}"/>
              </a:ext>
            </a:extLst>
          </p:cNvPr>
          <p:cNvSpPr>
            <a:spLocks/>
          </p:cNvSpPr>
          <p:nvPr/>
        </p:nvSpPr>
        <p:spPr bwMode="auto">
          <a:xfrm>
            <a:off x="10792002" y="2559944"/>
            <a:ext cx="21288" cy="26297"/>
          </a:xfrm>
          <a:custGeom>
            <a:avLst/>
            <a:gdLst>
              <a:gd name="T0" fmla="*/ 10 w 40"/>
              <a:gd name="T1" fmla="*/ 25 h 51"/>
              <a:gd name="T2" fmla="*/ 20 w 40"/>
              <a:gd name="T3" fmla="*/ 9 h 51"/>
              <a:gd name="T4" fmla="*/ 30 w 40"/>
              <a:gd name="T5" fmla="*/ 0 h 51"/>
              <a:gd name="T6" fmla="*/ 36 w 40"/>
              <a:gd name="T7" fmla="*/ 18 h 51"/>
              <a:gd name="T8" fmla="*/ 15 w 40"/>
              <a:gd name="T9" fmla="*/ 31 h 51"/>
              <a:gd name="T10" fmla="*/ 15 w 40"/>
              <a:gd name="T11" fmla="*/ 51 h 51"/>
              <a:gd name="T12" fmla="*/ 10 w 40"/>
              <a:gd name="T13" fmla="*/ 25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0" h="51">
                <a:moveTo>
                  <a:pt x="10" y="25"/>
                </a:moveTo>
                <a:cubicBezTo>
                  <a:pt x="7" y="18"/>
                  <a:pt x="12" y="10"/>
                  <a:pt x="20" y="9"/>
                </a:cubicBezTo>
                <a:cubicBezTo>
                  <a:pt x="27" y="7"/>
                  <a:pt x="32" y="3"/>
                  <a:pt x="30" y="0"/>
                </a:cubicBezTo>
                <a:cubicBezTo>
                  <a:pt x="38" y="2"/>
                  <a:pt x="40" y="12"/>
                  <a:pt x="36" y="18"/>
                </a:cubicBezTo>
                <a:cubicBezTo>
                  <a:pt x="32" y="24"/>
                  <a:pt x="18" y="30"/>
                  <a:pt x="15" y="31"/>
                </a:cubicBezTo>
                <a:cubicBezTo>
                  <a:pt x="18" y="34"/>
                  <a:pt x="19" y="50"/>
                  <a:pt x="15" y="51"/>
                </a:cubicBezTo>
                <a:cubicBezTo>
                  <a:pt x="6" y="48"/>
                  <a:pt x="0" y="30"/>
                  <a:pt x="10" y="25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0" name="Freeform 198">
            <a:extLst>
              <a:ext uri="{FF2B5EF4-FFF2-40B4-BE49-F238E27FC236}">
                <a16:creationId xmlns:a16="http://schemas.microsoft.com/office/drawing/2014/main" id="{975E1855-6B60-44E9-8D9E-456587F3C4E4}"/>
              </a:ext>
            </a:extLst>
          </p:cNvPr>
          <p:cNvSpPr>
            <a:spLocks/>
          </p:cNvSpPr>
          <p:nvPr/>
        </p:nvSpPr>
        <p:spPr bwMode="auto">
          <a:xfrm>
            <a:off x="10976081" y="2680158"/>
            <a:ext cx="5009" cy="12522"/>
          </a:xfrm>
          <a:custGeom>
            <a:avLst/>
            <a:gdLst>
              <a:gd name="T0" fmla="*/ 5 w 10"/>
              <a:gd name="T1" fmla="*/ 24 h 24"/>
              <a:gd name="T2" fmla="*/ 10 w 10"/>
              <a:gd name="T3" fmla="*/ 19 h 24"/>
              <a:gd name="T4" fmla="*/ 9 w 10"/>
              <a:gd name="T5" fmla="*/ 5 h 24"/>
              <a:gd name="T6" fmla="*/ 4 w 10"/>
              <a:gd name="T7" fmla="*/ 0 h 24"/>
              <a:gd name="T8" fmla="*/ 4 w 10"/>
              <a:gd name="T9" fmla="*/ 0 h 24"/>
              <a:gd name="T10" fmla="*/ 0 w 10"/>
              <a:gd name="T11" fmla="*/ 5 h 24"/>
              <a:gd name="T12" fmla="*/ 1 w 10"/>
              <a:gd name="T13" fmla="*/ 19 h 24"/>
              <a:gd name="T14" fmla="*/ 5 w 10"/>
              <a:gd name="T15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" h="24">
                <a:moveTo>
                  <a:pt x="5" y="24"/>
                </a:moveTo>
                <a:cubicBezTo>
                  <a:pt x="8" y="23"/>
                  <a:pt x="10" y="21"/>
                  <a:pt x="10" y="19"/>
                </a:cubicBezTo>
                <a:cubicBezTo>
                  <a:pt x="9" y="5"/>
                  <a:pt x="9" y="5"/>
                  <a:pt x="9" y="5"/>
                </a:cubicBezTo>
                <a:cubicBezTo>
                  <a:pt x="8" y="2"/>
                  <a:pt x="6" y="0"/>
                  <a:pt x="4" y="0"/>
                </a:cubicBezTo>
                <a:cubicBezTo>
                  <a:pt x="4" y="0"/>
                  <a:pt x="4" y="0"/>
                  <a:pt x="4" y="0"/>
                </a:cubicBezTo>
                <a:cubicBezTo>
                  <a:pt x="1" y="1"/>
                  <a:pt x="0" y="3"/>
                  <a:pt x="0" y="5"/>
                </a:cubicBezTo>
                <a:cubicBezTo>
                  <a:pt x="1" y="19"/>
                  <a:pt x="1" y="19"/>
                  <a:pt x="1" y="19"/>
                </a:cubicBezTo>
                <a:cubicBezTo>
                  <a:pt x="1" y="22"/>
                  <a:pt x="3" y="24"/>
                  <a:pt x="5" y="2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1" name="Freeform 199">
            <a:extLst>
              <a:ext uri="{FF2B5EF4-FFF2-40B4-BE49-F238E27FC236}">
                <a16:creationId xmlns:a16="http://schemas.microsoft.com/office/drawing/2014/main" id="{D0598B1B-6B0C-4B8A-A504-0701AFA2A1AB}"/>
              </a:ext>
            </a:extLst>
          </p:cNvPr>
          <p:cNvSpPr>
            <a:spLocks/>
          </p:cNvSpPr>
          <p:nvPr/>
        </p:nvSpPr>
        <p:spPr bwMode="auto">
          <a:xfrm>
            <a:off x="10976081" y="2673897"/>
            <a:ext cx="30054" cy="27549"/>
          </a:xfrm>
          <a:custGeom>
            <a:avLst/>
            <a:gdLst>
              <a:gd name="T0" fmla="*/ 29 w 58"/>
              <a:gd name="T1" fmla="*/ 50 h 52"/>
              <a:gd name="T2" fmla="*/ 22 w 58"/>
              <a:gd name="T3" fmla="*/ 51 h 52"/>
              <a:gd name="T4" fmla="*/ 2 w 58"/>
              <a:gd name="T5" fmla="*/ 34 h 52"/>
              <a:gd name="T6" fmla="*/ 2 w 58"/>
              <a:gd name="T7" fmla="*/ 27 h 52"/>
              <a:gd name="T8" fmla="*/ 45 w 58"/>
              <a:gd name="T9" fmla="*/ 4 h 52"/>
              <a:gd name="T10" fmla="*/ 37 w 58"/>
              <a:gd name="T11" fmla="*/ 40 h 52"/>
              <a:gd name="T12" fmla="*/ 29 w 58"/>
              <a:gd name="T13" fmla="*/ 5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8" h="52">
                <a:moveTo>
                  <a:pt x="29" y="50"/>
                </a:moveTo>
                <a:cubicBezTo>
                  <a:pt x="27" y="52"/>
                  <a:pt x="24" y="52"/>
                  <a:pt x="22" y="51"/>
                </a:cubicBezTo>
                <a:cubicBezTo>
                  <a:pt x="2" y="34"/>
                  <a:pt x="2" y="34"/>
                  <a:pt x="2" y="34"/>
                </a:cubicBezTo>
                <a:cubicBezTo>
                  <a:pt x="0" y="32"/>
                  <a:pt x="0" y="29"/>
                  <a:pt x="2" y="27"/>
                </a:cubicBezTo>
                <a:cubicBezTo>
                  <a:pt x="2" y="27"/>
                  <a:pt x="26" y="19"/>
                  <a:pt x="45" y="4"/>
                </a:cubicBezTo>
                <a:cubicBezTo>
                  <a:pt x="50" y="0"/>
                  <a:pt x="58" y="17"/>
                  <a:pt x="37" y="40"/>
                </a:cubicBezTo>
                <a:lnTo>
                  <a:pt x="29" y="5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2" name="Freeform 200">
            <a:extLst>
              <a:ext uri="{FF2B5EF4-FFF2-40B4-BE49-F238E27FC236}">
                <a16:creationId xmlns:a16="http://schemas.microsoft.com/office/drawing/2014/main" id="{68833C16-A960-4ACC-AD0D-B4DE7738D955}"/>
              </a:ext>
            </a:extLst>
          </p:cNvPr>
          <p:cNvSpPr>
            <a:spLocks/>
          </p:cNvSpPr>
          <p:nvPr/>
        </p:nvSpPr>
        <p:spPr bwMode="auto">
          <a:xfrm>
            <a:off x="10862127" y="2621303"/>
            <a:ext cx="123972" cy="150268"/>
          </a:xfrm>
          <a:custGeom>
            <a:avLst/>
            <a:gdLst>
              <a:gd name="T0" fmla="*/ 9 w 237"/>
              <a:gd name="T1" fmla="*/ 95 h 289"/>
              <a:gd name="T2" fmla="*/ 105 w 237"/>
              <a:gd name="T3" fmla="*/ 281 h 289"/>
              <a:gd name="T4" fmla="*/ 237 w 237"/>
              <a:gd name="T5" fmla="*/ 158 h 289"/>
              <a:gd name="T6" fmla="*/ 217 w 237"/>
              <a:gd name="T7" fmla="*/ 141 h 289"/>
              <a:gd name="T8" fmla="*/ 120 w 237"/>
              <a:gd name="T9" fmla="*/ 213 h 289"/>
              <a:gd name="T10" fmla="*/ 41 w 237"/>
              <a:gd name="T11" fmla="*/ 0 h 289"/>
              <a:gd name="T12" fmla="*/ 9 w 237"/>
              <a:gd name="T13" fmla="*/ 95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7" h="289">
                <a:moveTo>
                  <a:pt x="9" y="95"/>
                </a:moveTo>
                <a:cubicBezTo>
                  <a:pt x="19" y="121"/>
                  <a:pt x="76" y="273"/>
                  <a:pt x="105" y="281"/>
                </a:cubicBezTo>
                <a:cubicBezTo>
                  <a:pt x="135" y="289"/>
                  <a:pt x="210" y="208"/>
                  <a:pt x="237" y="158"/>
                </a:cubicBezTo>
                <a:cubicBezTo>
                  <a:pt x="217" y="141"/>
                  <a:pt x="217" y="141"/>
                  <a:pt x="217" y="141"/>
                </a:cubicBezTo>
                <a:cubicBezTo>
                  <a:pt x="186" y="183"/>
                  <a:pt x="133" y="218"/>
                  <a:pt x="120" y="213"/>
                </a:cubicBezTo>
                <a:cubicBezTo>
                  <a:pt x="107" y="208"/>
                  <a:pt x="62" y="0"/>
                  <a:pt x="41" y="0"/>
                </a:cubicBezTo>
                <a:cubicBezTo>
                  <a:pt x="20" y="0"/>
                  <a:pt x="0" y="72"/>
                  <a:pt x="9" y="9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3" name="Rectangle 201">
            <a:extLst>
              <a:ext uri="{FF2B5EF4-FFF2-40B4-BE49-F238E27FC236}">
                <a16:creationId xmlns:a16="http://schemas.microsoft.com/office/drawing/2014/main" id="{AF8CAAC7-FA98-408A-BC11-324A0B0AC5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88783" y="2847957"/>
            <a:ext cx="1187118" cy="70125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4" name="Rectangle 202">
            <a:extLst>
              <a:ext uri="{FF2B5EF4-FFF2-40B4-BE49-F238E27FC236}">
                <a16:creationId xmlns:a16="http://schemas.microsoft.com/office/drawing/2014/main" id="{3D58BF53-C564-405B-BAED-2804D056AF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00232" y="2717725"/>
            <a:ext cx="204114" cy="13023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5" name="Freeform 203">
            <a:extLst>
              <a:ext uri="{FF2B5EF4-FFF2-40B4-BE49-F238E27FC236}">
                <a16:creationId xmlns:a16="http://schemas.microsoft.com/office/drawing/2014/main" id="{DFEEBFF3-7AAF-4DA8-AC34-BAF621B17845}"/>
              </a:ext>
            </a:extLst>
          </p:cNvPr>
          <p:cNvSpPr>
            <a:spLocks/>
          </p:cNvSpPr>
          <p:nvPr/>
        </p:nvSpPr>
        <p:spPr bwMode="auto">
          <a:xfrm>
            <a:off x="10704346" y="2717725"/>
            <a:ext cx="76387" cy="130232"/>
          </a:xfrm>
          <a:custGeom>
            <a:avLst/>
            <a:gdLst>
              <a:gd name="T0" fmla="*/ 0 w 61"/>
              <a:gd name="T1" fmla="*/ 104 h 104"/>
              <a:gd name="T2" fmla="*/ 61 w 61"/>
              <a:gd name="T3" fmla="*/ 104 h 104"/>
              <a:gd name="T4" fmla="*/ 61 w 61"/>
              <a:gd name="T5" fmla="*/ 68 h 104"/>
              <a:gd name="T6" fmla="*/ 31 w 61"/>
              <a:gd name="T7" fmla="*/ 0 h 104"/>
              <a:gd name="T8" fmla="*/ 0 w 61"/>
              <a:gd name="T9" fmla="*/ 0 h 104"/>
              <a:gd name="T10" fmla="*/ 0 w 61"/>
              <a:gd name="T11" fmla="*/ 104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1" h="104">
                <a:moveTo>
                  <a:pt x="0" y="104"/>
                </a:moveTo>
                <a:lnTo>
                  <a:pt x="61" y="104"/>
                </a:lnTo>
                <a:lnTo>
                  <a:pt x="61" y="68"/>
                </a:lnTo>
                <a:lnTo>
                  <a:pt x="31" y="0"/>
                </a:lnTo>
                <a:lnTo>
                  <a:pt x="0" y="0"/>
                </a:lnTo>
                <a:lnTo>
                  <a:pt x="0" y="104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6" name="Freeform 204">
            <a:extLst>
              <a:ext uri="{FF2B5EF4-FFF2-40B4-BE49-F238E27FC236}">
                <a16:creationId xmlns:a16="http://schemas.microsoft.com/office/drawing/2014/main" id="{B1568215-F27C-4C6F-96C8-2CABEC776061}"/>
              </a:ext>
            </a:extLst>
          </p:cNvPr>
          <p:cNvSpPr>
            <a:spLocks/>
          </p:cNvSpPr>
          <p:nvPr/>
        </p:nvSpPr>
        <p:spPr bwMode="auto">
          <a:xfrm>
            <a:off x="11394327" y="2717725"/>
            <a:ext cx="75134" cy="130232"/>
          </a:xfrm>
          <a:custGeom>
            <a:avLst/>
            <a:gdLst>
              <a:gd name="T0" fmla="*/ 0 w 60"/>
              <a:gd name="T1" fmla="*/ 104 h 104"/>
              <a:gd name="T2" fmla="*/ 60 w 60"/>
              <a:gd name="T3" fmla="*/ 104 h 104"/>
              <a:gd name="T4" fmla="*/ 60 w 60"/>
              <a:gd name="T5" fmla="*/ 68 h 104"/>
              <a:gd name="T6" fmla="*/ 30 w 60"/>
              <a:gd name="T7" fmla="*/ 0 h 104"/>
              <a:gd name="T8" fmla="*/ 0 w 60"/>
              <a:gd name="T9" fmla="*/ 0 h 104"/>
              <a:gd name="T10" fmla="*/ 0 w 60"/>
              <a:gd name="T11" fmla="*/ 104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0" h="104">
                <a:moveTo>
                  <a:pt x="0" y="104"/>
                </a:moveTo>
                <a:lnTo>
                  <a:pt x="60" y="104"/>
                </a:lnTo>
                <a:lnTo>
                  <a:pt x="60" y="68"/>
                </a:lnTo>
                <a:lnTo>
                  <a:pt x="30" y="0"/>
                </a:lnTo>
                <a:lnTo>
                  <a:pt x="0" y="0"/>
                </a:lnTo>
                <a:lnTo>
                  <a:pt x="0" y="104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7" name="Rectangle 205">
            <a:extLst>
              <a:ext uri="{FF2B5EF4-FFF2-40B4-BE49-F238E27FC236}">
                <a16:creationId xmlns:a16="http://schemas.microsoft.com/office/drawing/2014/main" id="{453F439E-2289-4D42-9DFC-6DC7B6BBC1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45848" y="2717725"/>
            <a:ext cx="548478" cy="13023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8" name="Freeform 206">
            <a:extLst>
              <a:ext uri="{FF2B5EF4-FFF2-40B4-BE49-F238E27FC236}">
                <a16:creationId xmlns:a16="http://schemas.microsoft.com/office/drawing/2014/main" id="{A6D2A839-05C0-42BD-B904-2AB1AD42B64E}"/>
              </a:ext>
            </a:extLst>
          </p:cNvPr>
          <p:cNvSpPr>
            <a:spLocks/>
          </p:cNvSpPr>
          <p:nvPr/>
        </p:nvSpPr>
        <p:spPr bwMode="auto">
          <a:xfrm>
            <a:off x="7206857" y="2348316"/>
            <a:ext cx="1021823" cy="569767"/>
          </a:xfrm>
          <a:custGeom>
            <a:avLst/>
            <a:gdLst>
              <a:gd name="T0" fmla="*/ 1966 w 1966"/>
              <a:gd name="T1" fmla="*/ 548 h 1096"/>
              <a:gd name="T2" fmla="*/ 1418 w 1966"/>
              <a:gd name="T3" fmla="*/ 1096 h 1096"/>
              <a:gd name="T4" fmla="*/ 548 w 1966"/>
              <a:gd name="T5" fmla="*/ 1096 h 1096"/>
              <a:gd name="T6" fmla="*/ 0 w 1966"/>
              <a:gd name="T7" fmla="*/ 548 h 1096"/>
              <a:gd name="T8" fmla="*/ 548 w 1966"/>
              <a:gd name="T9" fmla="*/ 0 h 1096"/>
              <a:gd name="T10" fmla="*/ 1418 w 1966"/>
              <a:gd name="T11" fmla="*/ 0 h 1096"/>
              <a:gd name="T12" fmla="*/ 1966 w 1966"/>
              <a:gd name="T13" fmla="*/ 548 h 10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66" h="1096">
                <a:moveTo>
                  <a:pt x="1966" y="548"/>
                </a:moveTo>
                <a:cubicBezTo>
                  <a:pt x="1966" y="850"/>
                  <a:pt x="1721" y="1096"/>
                  <a:pt x="1418" y="1096"/>
                </a:cubicBezTo>
                <a:cubicBezTo>
                  <a:pt x="548" y="1096"/>
                  <a:pt x="548" y="1096"/>
                  <a:pt x="548" y="1096"/>
                </a:cubicBezTo>
                <a:cubicBezTo>
                  <a:pt x="245" y="1096"/>
                  <a:pt x="0" y="850"/>
                  <a:pt x="0" y="548"/>
                </a:cubicBezTo>
                <a:cubicBezTo>
                  <a:pt x="0" y="245"/>
                  <a:pt x="245" y="0"/>
                  <a:pt x="548" y="0"/>
                </a:cubicBezTo>
                <a:cubicBezTo>
                  <a:pt x="1418" y="0"/>
                  <a:pt x="1418" y="0"/>
                  <a:pt x="1418" y="0"/>
                </a:cubicBezTo>
                <a:cubicBezTo>
                  <a:pt x="1721" y="0"/>
                  <a:pt x="1966" y="245"/>
                  <a:pt x="1966" y="548"/>
                </a:cubicBez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9" name="Rectangle 207">
            <a:extLst>
              <a:ext uri="{FF2B5EF4-FFF2-40B4-BE49-F238E27FC236}">
                <a16:creationId xmlns:a16="http://schemas.microsoft.com/office/drawing/2014/main" id="{DA91F092-85B5-45A4-9A30-EE111DA6A5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2293" y="5740617"/>
            <a:ext cx="2276561" cy="175313"/>
          </a:xfrm>
          <a:prstGeom prst="rect">
            <a:avLst/>
          </a:pr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70" name="Oval 208">
            <a:extLst>
              <a:ext uri="{FF2B5EF4-FFF2-40B4-BE49-F238E27FC236}">
                <a16:creationId xmlns:a16="http://schemas.microsoft.com/office/drawing/2014/main" id="{3CB92661-D893-4DA6-A6CA-01B847617C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2293" y="5790706"/>
            <a:ext cx="2276561" cy="251699"/>
          </a:xfrm>
          <a:prstGeom prst="ellipse">
            <a:avLst/>
          </a:pr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71" name="Oval 209">
            <a:extLst>
              <a:ext uri="{FF2B5EF4-FFF2-40B4-BE49-F238E27FC236}">
                <a16:creationId xmlns:a16="http://schemas.microsoft.com/office/drawing/2014/main" id="{E1EBCEF6-C6F1-4838-96B8-5AC0BD99E0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2293" y="5615394"/>
            <a:ext cx="2276561" cy="251699"/>
          </a:xfrm>
          <a:prstGeom prst="ellipse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72" name="Freeform 210">
            <a:extLst>
              <a:ext uri="{FF2B5EF4-FFF2-40B4-BE49-F238E27FC236}">
                <a16:creationId xmlns:a16="http://schemas.microsoft.com/office/drawing/2014/main" id="{9D3797F0-07DA-43A9-BF58-0E198F658032}"/>
              </a:ext>
            </a:extLst>
          </p:cNvPr>
          <p:cNvSpPr>
            <a:spLocks/>
          </p:cNvSpPr>
          <p:nvPr/>
        </p:nvSpPr>
        <p:spPr bwMode="auto">
          <a:xfrm>
            <a:off x="8217409" y="3166025"/>
            <a:ext cx="2146329" cy="2389262"/>
          </a:xfrm>
          <a:custGeom>
            <a:avLst/>
            <a:gdLst>
              <a:gd name="T0" fmla="*/ 4129 w 4129"/>
              <a:gd name="T1" fmla="*/ 4594 h 4594"/>
              <a:gd name="T2" fmla="*/ 0 w 4129"/>
              <a:gd name="T3" fmla="*/ 4594 h 4594"/>
              <a:gd name="T4" fmla="*/ 0 w 4129"/>
              <a:gd name="T5" fmla="*/ 2064 h 4594"/>
              <a:gd name="T6" fmla="*/ 2065 w 4129"/>
              <a:gd name="T7" fmla="*/ 0 h 4594"/>
              <a:gd name="T8" fmla="*/ 4129 w 4129"/>
              <a:gd name="T9" fmla="*/ 2064 h 4594"/>
              <a:gd name="T10" fmla="*/ 4129 w 4129"/>
              <a:gd name="T11" fmla="*/ 4594 h 45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29" h="4594">
                <a:moveTo>
                  <a:pt x="4129" y="4594"/>
                </a:moveTo>
                <a:cubicBezTo>
                  <a:pt x="0" y="4594"/>
                  <a:pt x="0" y="4594"/>
                  <a:pt x="0" y="4594"/>
                </a:cubicBezTo>
                <a:cubicBezTo>
                  <a:pt x="0" y="2064"/>
                  <a:pt x="0" y="2064"/>
                  <a:pt x="0" y="2064"/>
                </a:cubicBezTo>
                <a:cubicBezTo>
                  <a:pt x="0" y="924"/>
                  <a:pt x="924" y="0"/>
                  <a:pt x="2065" y="0"/>
                </a:cubicBezTo>
                <a:cubicBezTo>
                  <a:pt x="3205" y="0"/>
                  <a:pt x="4129" y="924"/>
                  <a:pt x="4129" y="2064"/>
                </a:cubicBezTo>
                <a:lnTo>
                  <a:pt x="4129" y="4594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73" name="Rectangle 211">
            <a:extLst>
              <a:ext uri="{FF2B5EF4-FFF2-40B4-BE49-F238E27FC236}">
                <a16:creationId xmlns:a16="http://schemas.microsoft.com/office/drawing/2014/main" id="{8B643D42-E496-49A7-BB7E-A41309D17E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17409" y="5555286"/>
            <a:ext cx="2146329" cy="159034"/>
          </a:xfrm>
          <a:prstGeom prst="rect">
            <a:avLst/>
          </a:pr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74" name="Oval 212">
            <a:extLst>
              <a:ext uri="{FF2B5EF4-FFF2-40B4-BE49-F238E27FC236}">
                <a16:creationId xmlns:a16="http://schemas.microsoft.com/office/drawing/2014/main" id="{CE014830-7C7C-4580-A421-124766FEB0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17409" y="5600367"/>
            <a:ext cx="2146329" cy="227907"/>
          </a:xfrm>
          <a:prstGeom prst="ellipse">
            <a:avLst/>
          </a:pr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75" name="Oval 213">
            <a:extLst>
              <a:ext uri="{FF2B5EF4-FFF2-40B4-BE49-F238E27FC236}">
                <a16:creationId xmlns:a16="http://schemas.microsoft.com/office/drawing/2014/main" id="{1E7A7567-6E6B-41C9-990C-6F42EB0D21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17409" y="5440081"/>
            <a:ext cx="2146329" cy="229159"/>
          </a:xfrm>
          <a:prstGeom prst="ellipse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9606" name="Picture 214">
            <a:extLst>
              <a:ext uri="{FF2B5EF4-FFF2-40B4-BE49-F238E27FC236}">
                <a16:creationId xmlns:a16="http://schemas.microsoft.com/office/drawing/2014/main" id="{CEC0E365-A898-4308-A1D9-28900743C0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33689" y="3198583"/>
            <a:ext cx="2113770" cy="211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76" name="Freeform 215">
            <a:extLst>
              <a:ext uri="{FF2B5EF4-FFF2-40B4-BE49-F238E27FC236}">
                <a16:creationId xmlns:a16="http://schemas.microsoft.com/office/drawing/2014/main" id="{36064B50-FB94-4DFD-BD9A-FAC1BEADE5DF}"/>
              </a:ext>
            </a:extLst>
          </p:cNvPr>
          <p:cNvSpPr>
            <a:spLocks/>
          </p:cNvSpPr>
          <p:nvPr/>
        </p:nvSpPr>
        <p:spPr bwMode="auto">
          <a:xfrm>
            <a:off x="8630647" y="3593036"/>
            <a:ext cx="1319854" cy="1462609"/>
          </a:xfrm>
          <a:custGeom>
            <a:avLst/>
            <a:gdLst>
              <a:gd name="T0" fmla="*/ 1743 w 2540"/>
              <a:gd name="T1" fmla="*/ 2789 h 2811"/>
              <a:gd name="T2" fmla="*/ 2540 w 2540"/>
              <a:gd name="T3" fmla="*/ 1298 h 2811"/>
              <a:gd name="T4" fmla="*/ 1270 w 2540"/>
              <a:gd name="T5" fmla="*/ 0 h 2811"/>
              <a:gd name="T6" fmla="*/ 0 w 2540"/>
              <a:gd name="T7" fmla="*/ 1298 h 2811"/>
              <a:gd name="T8" fmla="*/ 797 w 2540"/>
              <a:gd name="T9" fmla="*/ 2811 h 2811"/>
              <a:gd name="T10" fmla="*/ 797 w 2540"/>
              <a:gd name="T11" fmla="*/ 2811 h 2811"/>
              <a:gd name="T12" fmla="*/ 797 w 2540"/>
              <a:gd name="T13" fmla="*/ 2811 h 2811"/>
              <a:gd name="T14" fmla="*/ 1742 w 2540"/>
              <a:gd name="T15" fmla="*/ 2811 h 2811"/>
              <a:gd name="T16" fmla="*/ 1743 w 2540"/>
              <a:gd name="T17" fmla="*/ 2808 h 2811"/>
              <a:gd name="T18" fmla="*/ 1744 w 2540"/>
              <a:gd name="T19" fmla="*/ 2808 h 2811"/>
              <a:gd name="T20" fmla="*/ 1743 w 2540"/>
              <a:gd name="T21" fmla="*/ 2789 h 2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540" h="2811">
                <a:moveTo>
                  <a:pt x="1743" y="2789"/>
                </a:moveTo>
                <a:cubicBezTo>
                  <a:pt x="1769" y="2360"/>
                  <a:pt x="2540" y="2088"/>
                  <a:pt x="2540" y="1298"/>
                </a:cubicBezTo>
                <a:cubicBezTo>
                  <a:pt x="2540" y="429"/>
                  <a:pt x="1931" y="0"/>
                  <a:pt x="1270" y="0"/>
                </a:cubicBezTo>
                <a:cubicBezTo>
                  <a:pt x="608" y="0"/>
                  <a:pt x="0" y="429"/>
                  <a:pt x="0" y="1298"/>
                </a:cubicBezTo>
                <a:cubicBezTo>
                  <a:pt x="0" y="2101"/>
                  <a:pt x="797" y="2369"/>
                  <a:pt x="797" y="2811"/>
                </a:cubicBezTo>
                <a:cubicBezTo>
                  <a:pt x="797" y="2811"/>
                  <a:pt x="797" y="2811"/>
                  <a:pt x="797" y="2811"/>
                </a:cubicBezTo>
                <a:cubicBezTo>
                  <a:pt x="797" y="2811"/>
                  <a:pt x="797" y="2811"/>
                  <a:pt x="797" y="2811"/>
                </a:cubicBezTo>
                <a:cubicBezTo>
                  <a:pt x="858" y="2811"/>
                  <a:pt x="1682" y="2811"/>
                  <a:pt x="1742" y="2811"/>
                </a:cubicBezTo>
                <a:cubicBezTo>
                  <a:pt x="1742" y="2810"/>
                  <a:pt x="1742" y="2809"/>
                  <a:pt x="1743" y="2808"/>
                </a:cubicBezTo>
                <a:cubicBezTo>
                  <a:pt x="1743" y="2808"/>
                  <a:pt x="1743" y="2808"/>
                  <a:pt x="1744" y="2808"/>
                </a:cubicBezTo>
                <a:cubicBezTo>
                  <a:pt x="1744" y="2802"/>
                  <a:pt x="1743" y="2796"/>
                  <a:pt x="1743" y="278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77" name="Freeform 216">
            <a:extLst>
              <a:ext uri="{FF2B5EF4-FFF2-40B4-BE49-F238E27FC236}">
                <a16:creationId xmlns:a16="http://schemas.microsoft.com/office/drawing/2014/main" id="{3F267BE6-C922-473C-8BDD-6B91B91AA87E}"/>
              </a:ext>
            </a:extLst>
          </p:cNvPr>
          <p:cNvSpPr>
            <a:spLocks/>
          </p:cNvSpPr>
          <p:nvPr/>
        </p:nvSpPr>
        <p:spPr bwMode="auto">
          <a:xfrm>
            <a:off x="9361951" y="4465843"/>
            <a:ext cx="42576" cy="588550"/>
          </a:xfrm>
          <a:custGeom>
            <a:avLst/>
            <a:gdLst>
              <a:gd name="T0" fmla="*/ 83 w 83"/>
              <a:gd name="T1" fmla="*/ 1133 h 1133"/>
              <a:gd name="T2" fmla="*/ 19 w 83"/>
              <a:gd name="T3" fmla="*/ 1133 h 1133"/>
              <a:gd name="T4" fmla="*/ 19 w 83"/>
              <a:gd name="T5" fmla="*/ 82 h 1133"/>
              <a:gd name="T6" fmla="*/ 0 w 83"/>
              <a:gd name="T7" fmla="*/ 64 h 1133"/>
              <a:gd name="T8" fmla="*/ 0 w 83"/>
              <a:gd name="T9" fmla="*/ 0 h 1133"/>
              <a:gd name="T10" fmla="*/ 83 w 83"/>
              <a:gd name="T11" fmla="*/ 82 h 1133"/>
              <a:gd name="T12" fmla="*/ 83 w 83"/>
              <a:gd name="T13" fmla="*/ 1133 h 1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3" h="1133">
                <a:moveTo>
                  <a:pt x="83" y="1133"/>
                </a:moveTo>
                <a:cubicBezTo>
                  <a:pt x="19" y="1133"/>
                  <a:pt x="19" y="1133"/>
                  <a:pt x="19" y="1133"/>
                </a:cubicBezTo>
                <a:cubicBezTo>
                  <a:pt x="19" y="82"/>
                  <a:pt x="19" y="82"/>
                  <a:pt x="19" y="82"/>
                </a:cubicBezTo>
                <a:cubicBezTo>
                  <a:pt x="19" y="72"/>
                  <a:pt x="10" y="64"/>
                  <a:pt x="0" y="64"/>
                </a:cubicBezTo>
                <a:cubicBezTo>
                  <a:pt x="0" y="0"/>
                  <a:pt x="0" y="0"/>
                  <a:pt x="0" y="0"/>
                </a:cubicBezTo>
                <a:cubicBezTo>
                  <a:pt x="46" y="0"/>
                  <a:pt x="83" y="37"/>
                  <a:pt x="83" y="82"/>
                </a:cubicBezTo>
                <a:cubicBezTo>
                  <a:pt x="83" y="1133"/>
                  <a:pt x="83" y="1133"/>
                  <a:pt x="83" y="1133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78" name="Freeform 217">
            <a:extLst>
              <a:ext uri="{FF2B5EF4-FFF2-40B4-BE49-F238E27FC236}">
                <a16:creationId xmlns:a16="http://schemas.microsoft.com/office/drawing/2014/main" id="{34984678-91A4-4C23-9835-C82B657587AD}"/>
              </a:ext>
            </a:extLst>
          </p:cNvPr>
          <p:cNvSpPr>
            <a:spLocks/>
          </p:cNvSpPr>
          <p:nvPr/>
        </p:nvSpPr>
        <p:spPr bwMode="auto">
          <a:xfrm>
            <a:off x="9177873" y="4465843"/>
            <a:ext cx="42576" cy="588550"/>
          </a:xfrm>
          <a:custGeom>
            <a:avLst/>
            <a:gdLst>
              <a:gd name="T0" fmla="*/ 64 w 82"/>
              <a:gd name="T1" fmla="*/ 1133 h 1133"/>
              <a:gd name="T2" fmla="*/ 0 w 82"/>
              <a:gd name="T3" fmla="*/ 1133 h 1133"/>
              <a:gd name="T4" fmla="*/ 0 w 82"/>
              <a:gd name="T5" fmla="*/ 82 h 1133"/>
              <a:gd name="T6" fmla="*/ 82 w 82"/>
              <a:gd name="T7" fmla="*/ 0 h 1133"/>
              <a:gd name="T8" fmla="*/ 82 w 82"/>
              <a:gd name="T9" fmla="*/ 64 h 1133"/>
              <a:gd name="T10" fmla="*/ 64 w 82"/>
              <a:gd name="T11" fmla="*/ 82 h 1133"/>
              <a:gd name="T12" fmla="*/ 64 w 82"/>
              <a:gd name="T13" fmla="*/ 1133 h 1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2" h="1133">
                <a:moveTo>
                  <a:pt x="64" y="1133"/>
                </a:moveTo>
                <a:cubicBezTo>
                  <a:pt x="0" y="1133"/>
                  <a:pt x="0" y="1133"/>
                  <a:pt x="0" y="1133"/>
                </a:cubicBezTo>
                <a:cubicBezTo>
                  <a:pt x="0" y="82"/>
                  <a:pt x="0" y="82"/>
                  <a:pt x="0" y="82"/>
                </a:cubicBezTo>
                <a:cubicBezTo>
                  <a:pt x="0" y="37"/>
                  <a:pt x="37" y="0"/>
                  <a:pt x="82" y="0"/>
                </a:cubicBezTo>
                <a:cubicBezTo>
                  <a:pt x="82" y="64"/>
                  <a:pt x="82" y="64"/>
                  <a:pt x="82" y="64"/>
                </a:cubicBezTo>
                <a:cubicBezTo>
                  <a:pt x="72" y="64"/>
                  <a:pt x="64" y="72"/>
                  <a:pt x="64" y="82"/>
                </a:cubicBezTo>
                <a:cubicBezTo>
                  <a:pt x="64" y="1133"/>
                  <a:pt x="64" y="1133"/>
                  <a:pt x="64" y="1133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79" name="Freeform 218">
            <a:extLst>
              <a:ext uri="{FF2B5EF4-FFF2-40B4-BE49-F238E27FC236}">
                <a16:creationId xmlns:a16="http://schemas.microsoft.com/office/drawing/2014/main" id="{04E3D1A2-F168-4517-B043-B29D1C0299EB}"/>
              </a:ext>
            </a:extLst>
          </p:cNvPr>
          <p:cNvSpPr>
            <a:spLocks noEditPoints="1"/>
          </p:cNvSpPr>
          <p:nvPr/>
        </p:nvSpPr>
        <p:spPr bwMode="auto">
          <a:xfrm>
            <a:off x="9204170" y="4430781"/>
            <a:ext cx="103936" cy="103936"/>
          </a:xfrm>
          <a:custGeom>
            <a:avLst/>
            <a:gdLst>
              <a:gd name="T0" fmla="*/ 100 w 200"/>
              <a:gd name="T1" fmla="*/ 200 h 200"/>
              <a:gd name="T2" fmla="*/ 100 w 200"/>
              <a:gd name="T3" fmla="*/ 200 h 200"/>
              <a:gd name="T4" fmla="*/ 0 w 200"/>
              <a:gd name="T5" fmla="*/ 100 h 200"/>
              <a:gd name="T6" fmla="*/ 100 w 200"/>
              <a:gd name="T7" fmla="*/ 0 h 200"/>
              <a:gd name="T8" fmla="*/ 200 w 200"/>
              <a:gd name="T9" fmla="*/ 100 h 200"/>
              <a:gd name="T10" fmla="*/ 100 w 200"/>
              <a:gd name="T11" fmla="*/ 200 h 200"/>
              <a:gd name="T12" fmla="*/ 100 w 200"/>
              <a:gd name="T13" fmla="*/ 64 h 200"/>
              <a:gd name="T14" fmla="*/ 64 w 200"/>
              <a:gd name="T15" fmla="*/ 100 h 200"/>
              <a:gd name="T16" fmla="*/ 100 w 200"/>
              <a:gd name="T17" fmla="*/ 136 h 200"/>
              <a:gd name="T18" fmla="*/ 136 w 200"/>
              <a:gd name="T19" fmla="*/ 100 h 200"/>
              <a:gd name="T20" fmla="*/ 100 w 200"/>
              <a:gd name="T21" fmla="*/ 64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00" h="200">
                <a:moveTo>
                  <a:pt x="100" y="200"/>
                </a:moveTo>
                <a:cubicBezTo>
                  <a:pt x="100" y="200"/>
                  <a:pt x="100" y="200"/>
                  <a:pt x="100" y="200"/>
                </a:cubicBezTo>
                <a:cubicBezTo>
                  <a:pt x="45" y="200"/>
                  <a:pt x="0" y="155"/>
                  <a:pt x="0" y="100"/>
                </a:cubicBezTo>
                <a:cubicBezTo>
                  <a:pt x="0" y="45"/>
                  <a:pt x="45" y="0"/>
                  <a:pt x="100" y="0"/>
                </a:cubicBezTo>
                <a:cubicBezTo>
                  <a:pt x="155" y="0"/>
                  <a:pt x="200" y="45"/>
                  <a:pt x="200" y="100"/>
                </a:cubicBezTo>
                <a:cubicBezTo>
                  <a:pt x="200" y="155"/>
                  <a:pt x="155" y="200"/>
                  <a:pt x="100" y="200"/>
                </a:cubicBezTo>
                <a:close/>
                <a:moveTo>
                  <a:pt x="100" y="64"/>
                </a:moveTo>
                <a:cubicBezTo>
                  <a:pt x="80" y="64"/>
                  <a:pt x="64" y="80"/>
                  <a:pt x="64" y="100"/>
                </a:cubicBezTo>
                <a:cubicBezTo>
                  <a:pt x="64" y="120"/>
                  <a:pt x="80" y="136"/>
                  <a:pt x="100" y="136"/>
                </a:cubicBezTo>
                <a:cubicBezTo>
                  <a:pt x="120" y="136"/>
                  <a:pt x="136" y="120"/>
                  <a:pt x="136" y="100"/>
                </a:cubicBezTo>
                <a:cubicBezTo>
                  <a:pt x="136" y="80"/>
                  <a:pt x="120" y="64"/>
                  <a:pt x="100" y="64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0" name="Freeform 219">
            <a:extLst>
              <a:ext uri="{FF2B5EF4-FFF2-40B4-BE49-F238E27FC236}">
                <a16:creationId xmlns:a16="http://schemas.microsoft.com/office/drawing/2014/main" id="{CC01222E-C28F-4BEF-B9E6-AE4A4F1B34A0}"/>
              </a:ext>
            </a:extLst>
          </p:cNvPr>
          <p:cNvSpPr>
            <a:spLocks noEditPoints="1"/>
          </p:cNvSpPr>
          <p:nvPr/>
        </p:nvSpPr>
        <p:spPr bwMode="auto">
          <a:xfrm>
            <a:off x="9274295" y="4430781"/>
            <a:ext cx="103936" cy="103936"/>
          </a:xfrm>
          <a:custGeom>
            <a:avLst/>
            <a:gdLst>
              <a:gd name="T0" fmla="*/ 99 w 199"/>
              <a:gd name="T1" fmla="*/ 200 h 200"/>
              <a:gd name="T2" fmla="*/ 29 w 199"/>
              <a:gd name="T3" fmla="*/ 171 h 200"/>
              <a:gd name="T4" fmla="*/ 0 w 199"/>
              <a:gd name="T5" fmla="*/ 100 h 200"/>
              <a:gd name="T6" fmla="*/ 99 w 199"/>
              <a:gd name="T7" fmla="*/ 0 h 200"/>
              <a:gd name="T8" fmla="*/ 199 w 199"/>
              <a:gd name="T9" fmla="*/ 100 h 200"/>
              <a:gd name="T10" fmla="*/ 99 w 199"/>
              <a:gd name="T11" fmla="*/ 200 h 200"/>
              <a:gd name="T12" fmla="*/ 99 w 199"/>
              <a:gd name="T13" fmla="*/ 200 h 200"/>
              <a:gd name="T14" fmla="*/ 99 w 199"/>
              <a:gd name="T15" fmla="*/ 200 h 200"/>
              <a:gd name="T16" fmla="*/ 99 w 199"/>
              <a:gd name="T17" fmla="*/ 64 h 200"/>
              <a:gd name="T18" fmla="*/ 64 w 199"/>
              <a:gd name="T19" fmla="*/ 100 h 200"/>
              <a:gd name="T20" fmla="*/ 74 w 199"/>
              <a:gd name="T21" fmla="*/ 125 h 200"/>
              <a:gd name="T22" fmla="*/ 99 w 199"/>
              <a:gd name="T23" fmla="*/ 136 h 200"/>
              <a:gd name="T24" fmla="*/ 99 w 199"/>
              <a:gd name="T25" fmla="*/ 136 h 200"/>
              <a:gd name="T26" fmla="*/ 135 w 199"/>
              <a:gd name="T27" fmla="*/ 100 h 200"/>
              <a:gd name="T28" fmla="*/ 99 w 199"/>
              <a:gd name="T29" fmla="*/ 64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9" h="200">
                <a:moveTo>
                  <a:pt x="99" y="200"/>
                </a:moveTo>
                <a:cubicBezTo>
                  <a:pt x="73" y="200"/>
                  <a:pt x="48" y="189"/>
                  <a:pt x="29" y="171"/>
                </a:cubicBezTo>
                <a:cubicBezTo>
                  <a:pt x="10" y="152"/>
                  <a:pt x="0" y="127"/>
                  <a:pt x="0" y="100"/>
                </a:cubicBezTo>
                <a:cubicBezTo>
                  <a:pt x="0" y="45"/>
                  <a:pt x="44" y="0"/>
                  <a:pt x="99" y="0"/>
                </a:cubicBezTo>
                <a:cubicBezTo>
                  <a:pt x="154" y="0"/>
                  <a:pt x="199" y="45"/>
                  <a:pt x="199" y="100"/>
                </a:cubicBezTo>
                <a:cubicBezTo>
                  <a:pt x="199" y="155"/>
                  <a:pt x="154" y="200"/>
                  <a:pt x="99" y="200"/>
                </a:cubicBezTo>
                <a:cubicBezTo>
                  <a:pt x="99" y="200"/>
                  <a:pt x="99" y="200"/>
                  <a:pt x="99" y="200"/>
                </a:cubicBezTo>
                <a:cubicBezTo>
                  <a:pt x="99" y="200"/>
                  <a:pt x="99" y="200"/>
                  <a:pt x="99" y="200"/>
                </a:cubicBezTo>
                <a:close/>
                <a:moveTo>
                  <a:pt x="99" y="64"/>
                </a:moveTo>
                <a:cubicBezTo>
                  <a:pt x="80" y="64"/>
                  <a:pt x="64" y="80"/>
                  <a:pt x="64" y="100"/>
                </a:cubicBezTo>
                <a:cubicBezTo>
                  <a:pt x="64" y="110"/>
                  <a:pt x="67" y="119"/>
                  <a:pt x="74" y="125"/>
                </a:cubicBezTo>
                <a:cubicBezTo>
                  <a:pt x="81" y="132"/>
                  <a:pt x="90" y="136"/>
                  <a:pt x="99" y="136"/>
                </a:cubicBezTo>
                <a:cubicBezTo>
                  <a:pt x="99" y="136"/>
                  <a:pt x="99" y="136"/>
                  <a:pt x="99" y="136"/>
                </a:cubicBezTo>
                <a:cubicBezTo>
                  <a:pt x="119" y="136"/>
                  <a:pt x="135" y="120"/>
                  <a:pt x="135" y="100"/>
                </a:cubicBezTo>
                <a:cubicBezTo>
                  <a:pt x="135" y="80"/>
                  <a:pt x="119" y="64"/>
                  <a:pt x="99" y="64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1" name="Freeform 220">
            <a:extLst>
              <a:ext uri="{FF2B5EF4-FFF2-40B4-BE49-F238E27FC236}">
                <a16:creationId xmlns:a16="http://schemas.microsoft.com/office/drawing/2014/main" id="{5902AEA7-4224-49CA-8024-AEA3402FB211}"/>
              </a:ext>
            </a:extLst>
          </p:cNvPr>
          <p:cNvSpPr>
            <a:spLocks/>
          </p:cNvSpPr>
          <p:nvPr/>
        </p:nvSpPr>
        <p:spPr bwMode="auto">
          <a:xfrm>
            <a:off x="9156585" y="5402514"/>
            <a:ext cx="269231" cy="100179"/>
          </a:xfrm>
          <a:custGeom>
            <a:avLst/>
            <a:gdLst>
              <a:gd name="T0" fmla="*/ 0 w 517"/>
              <a:gd name="T1" fmla="*/ 0 h 193"/>
              <a:gd name="T2" fmla="*/ 258 w 517"/>
              <a:gd name="T3" fmla="*/ 193 h 193"/>
              <a:gd name="T4" fmla="*/ 517 w 517"/>
              <a:gd name="T5" fmla="*/ 0 h 193"/>
              <a:gd name="T6" fmla="*/ 0 w 517"/>
              <a:gd name="T7" fmla="*/ 0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17" h="193">
                <a:moveTo>
                  <a:pt x="0" y="0"/>
                </a:moveTo>
                <a:cubicBezTo>
                  <a:pt x="33" y="112"/>
                  <a:pt x="136" y="193"/>
                  <a:pt x="258" y="193"/>
                </a:cubicBezTo>
                <a:cubicBezTo>
                  <a:pt x="381" y="193"/>
                  <a:pt x="484" y="112"/>
                  <a:pt x="517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E3F3F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2" name="Freeform 221">
            <a:extLst>
              <a:ext uri="{FF2B5EF4-FFF2-40B4-BE49-F238E27FC236}">
                <a16:creationId xmlns:a16="http://schemas.microsoft.com/office/drawing/2014/main" id="{FCF8C22F-9C77-4092-8D2B-6B145E6546BF}"/>
              </a:ext>
            </a:extLst>
          </p:cNvPr>
          <p:cNvSpPr>
            <a:spLocks/>
          </p:cNvSpPr>
          <p:nvPr/>
        </p:nvSpPr>
        <p:spPr bwMode="auto">
          <a:xfrm>
            <a:off x="8987534" y="5055645"/>
            <a:ext cx="607334" cy="116458"/>
          </a:xfrm>
          <a:custGeom>
            <a:avLst/>
            <a:gdLst>
              <a:gd name="T0" fmla="*/ 1057 w 1169"/>
              <a:gd name="T1" fmla="*/ 0 h 224"/>
              <a:gd name="T2" fmla="*/ 112 w 1169"/>
              <a:gd name="T3" fmla="*/ 0 h 224"/>
              <a:gd name="T4" fmla="*/ 0 w 1169"/>
              <a:gd name="T5" fmla="*/ 112 h 224"/>
              <a:gd name="T6" fmla="*/ 112 w 1169"/>
              <a:gd name="T7" fmla="*/ 224 h 224"/>
              <a:gd name="T8" fmla="*/ 1057 w 1169"/>
              <a:gd name="T9" fmla="*/ 224 h 224"/>
              <a:gd name="T10" fmla="*/ 1169 w 1169"/>
              <a:gd name="T11" fmla="*/ 112 h 224"/>
              <a:gd name="T12" fmla="*/ 1057 w 1169"/>
              <a:gd name="T13" fmla="*/ 0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69" h="224">
                <a:moveTo>
                  <a:pt x="1057" y="0"/>
                </a:moveTo>
                <a:cubicBezTo>
                  <a:pt x="112" y="0"/>
                  <a:pt x="112" y="0"/>
                  <a:pt x="112" y="0"/>
                </a:cubicBez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057" y="224"/>
                  <a:pt x="1057" y="224"/>
                  <a:pt x="1057" y="224"/>
                </a:cubicBezTo>
                <a:cubicBezTo>
                  <a:pt x="1119" y="224"/>
                  <a:pt x="1169" y="174"/>
                  <a:pt x="1169" y="112"/>
                </a:cubicBezTo>
                <a:cubicBezTo>
                  <a:pt x="1169" y="50"/>
                  <a:pt x="1119" y="0"/>
                  <a:pt x="1057" y="0"/>
                </a:cubicBez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3" name="Freeform 222">
            <a:extLst>
              <a:ext uri="{FF2B5EF4-FFF2-40B4-BE49-F238E27FC236}">
                <a16:creationId xmlns:a16="http://schemas.microsoft.com/office/drawing/2014/main" id="{AA348959-0053-4DE0-9DC8-D1D7A07969CB}"/>
              </a:ext>
            </a:extLst>
          </p:cNvPr>
          <p:cNvSpPr>
            <a:spLocks/>
          </p:cNvSpPr>
          <p:nvPr/>
        </p:nvSpPr>
        <p:spPr bwMode="auto">
          <a:xfrm>
            <a:off x="8987534" y="5172103"/>
            <a:ext cx="607334" cy="116458"/>
          </a:xfrm>
          <a:custGeom>
            <a:avLst/>
            <a:gdLst>
              <a:gd name="T0" fmla="*/ 1057 w 1169"/>
              <a:gd name="T1" fmla="*/ 0 h 223"/>
              <a:gd name="T2" fmla="*/ 112 w 1169"/>
              <a:gd name="T3" fmla="*/ 0 h 223"/>
              <a:gd name="T4" fmla="*/ 0 w 1169"/>
              <a:gd name="T5" fmla="*/ 112 h 223"/>
              <a:gd name="T6" fmla="*/ 112 w 1169"/>
              <a:gd name="T7" fmla="*/ 223 h 223"/>
              <a:gd name="T8" fmla="*/ 1057 w 1169"/>
              <a:gd name="T9" fmla="*/ 223 h 223"/>
              <a:gd name="T10" fmla="*/ 1169 w 1169"/>
              <a:gd name="T11" fmla="*/ 112 h 223"/>
              <a:gd name="T12" fmla="*/ 1057 w 1169"/>
              <a:gd name="T13" fmla="*/ 0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69" h="223">
                <a:moveTo>
                  <a:pt x="1057" y="0"/>
                </a:moveTo>
                <a:cubicBezTo>
                  <a:pt x="112" y="0"/>
                  <a:pt x="112" y="0"/>
                  <a:pt x="112" y="0"/>
                </a:cubicBezTo>
                <a:cubicBezTo>
                  <a:pt x="50" y="0"/>
                  <a:pt x="0" y="50"/>
                  <a:pt x="0" y="112"/>
                </a:cubicBezTo>
                <a:cubicBezTo>
                  <a:pt x="0" y="173"/>
                  <a:pt x="50" y="223"/>
                  <a:pt x="112" y="223"/>
                </a:cubicBezTo>
                <a:cubicBezTo>
                  <a:pt x="1057" y="223"/>
                  <a:pt x="1057" y="223"/>
                  <a:pt x="1057" y="223"/>
                </a:cubicBezTo>
                <a:cubicBezTo>
                  <a:pt x="1119" y="223"/>
                  <a:pt x="1169" y="173"/>
                  <a:pt x="1169" y="112"/>
                </a:cubicBezTo>
                <a:cubicBezTo>
                  <a:pt x="1169" y="50"/>
                  <a:pt x="1119" y="0"/>
                  <a:pt x="1057" y="0"/>
                </a:cubicBezTo>
                <a:close/>
              </a:path>
            </a:pathLst>
          </a:custGeom>
          <a:solidFill>
            <a:srgbClr val="E3F3F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4" name="Freeform 223">
            <a:extLst>
              <a:ext uri="{FF2B5EF4-FFF2-40B4-BE49-F238E27FC236}">
                <a16:creationId xmlns:a16="http://schemas.microsoft.com/office/drawing/2014/main" id="{D51066F2-E455-432B-94FE-4E5B833EDD50}"/>
              </a:ext>
            </a:extLst>
          </p:cNvPr>
          <p:cNvSpPr>
            <a:spLocks/>
          </p:cNvSpPr>
          <p:nvPr/>
        </p:nvSpPr>
        <p:spPr bwMode="auto">
          <a:xfrm>
            <a:off x="8987534" y="5288560"/>
            <a:ext cx="607334" cy="116458"/>
          </a:xfrm>
          <a:custGeom>
            <a:avLst/>
            <a:gdLst>
              <a:gd name="T0" fmla="*/ 1057 w 1169"/>
              <a:gd name="T1" fmla="*/ 0 h 224"/>
              <a:gd name="T2" fmla="*/ 112 w 1169"/>
              <a:gd name="T3" fmla="*/ 0 h 224"/>
              <a:gd name="T4" fmla="*/ 0 w 1169"/>
              <a:gd name="T5" fmla="*/ 112 h 224"/>
              <a:gd name="T6" fmla="*/ 112 w 1169"/>
              <a:gd name="T7" fmla="*/ 224 h 224"/>
              <a:gd name="T8" fmla="*/ 1057 w 1169"/>
              <a:gd name="T9" fmla="*/ 224 h 224"/>
              <a:gd name="T10" fmla="*/ 1169 w 1169"/>
              <a:gd name="T11" fmla="*/ 112 h 224"/>
              <a:gd name="T12" fmla="*/ 1057 w 1169"/>
              <a:gd name="T13" fmla="*/ 0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69" h="224">
                <a:moveTo>
                  <a:pt x="1057" y="0"/>
                </a:moveTo>
                <a:cubicBezTo>
                  <a:pt x="112" y="0"/>
                  <a:pt x="112" y="0"/>
                  <a:pt x="112" y="0"/>
                </a:cubicBez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057" y="224"/>
                  <a:pt x="1057" y="224"/>
                  <a:pt x="1057" y="224"/>
                </a:cubicBezTo>
                <a:cubicBezTo>
                  <a:pt x="1119" y="224"/>
                  <a:pt x="1169" y="174"/>
                  <a:pt x="1169" y="112"/>
                </a:cubicBezTo>
                <a:cubicBezTo>
                  <a:pt x="1169" y="50"/>
                  <a:pt x="1119" y="0"/>
                  <a:pt x="1057" y="0"/>
                </a:cubicBez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5" name="Oval 224">
            <a:extLst>
              <a:ext uri="{FF2B5EF4-FFF2-40B4-BE49-F238E27FC236}">
                <a16:creationId xmlns:a16="http://schemas.microsoft.com/office/drawing/2014/main" id="{5DEFA5EA-D263-4D2C-8180-0F0B516FD8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6655" y="4949205"/>
            <a:ext cx="37567" cy="37567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6" name="Oval 225">
            <a:extLst>
              <a:ext uri="{FF2B5EF4-FFF2-40B4-BE49-F238E27FC236}">
                <a16:creationId xmlns:a16="http://schemas.microsoft.com/office/drawing/2014/main" id="{F5CF87F6-0AC0-4830-9D73-01E9692F28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8050" y="4805198"/>
            <a:ext cx="37567" cy="37567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7" name="Oval 226">
            <a:extLst>
              <a:ext uri="{FF2B5EF4-FFF2-40B4-BE49-F238E27FC236}">
                <a16:creationId xmlns:a16="http://schemas.microsoft.com/office/drawing/2014/main" id="{540C4EA9-CCAE-44F9-B85C-3B86BC0508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7907" y="4589814"/>
            <a:ext cx="58855" cy="5885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8" name="Oval 227">
            <a:extLst>
              <a:ext uri="{FF2B5EF4-FFF2-40B4-BE49-F238E27FC236}">
                <a16:creationId xmlns:a16="http://schemas.microsoft.com/office/drawing/2014/main" id="{BFDD3B7B-B21C-4F74-A948-32ACE0D953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15617" y="4984268"/>
            <a:ext cx="16279" cy="15027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9" name="Oval 228">
            <a:extLst>
              <a:ext uri="{FF2B5EF4-FFF2-40B4-BE49-F238E27FC236}">
                <a16:creationId xmlns:a16="http://schemas.microsoft.com/office/drawing/2014/main" id="{CCC50FF3-3B39-4EFB-B028-BAF819C04C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4258" y="5225949"/>
            <a:ext cx="16279" cy="15027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90" name="Oval 229">
            <a:extLst>
              <a:ext uri="{FF2B5EF4-FFF2-40B4-BE49-F238E27FC236}">
                <a16:creationId xmlns:a16="http://schemas.microsoft.com/office/drawing/2014/main" id="{017CB7AF-F1FD-42DD-9A13-E351914E4E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93077" y="5091960"/>
            <a:ext cx="16279" cy="16279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2" name="Oval 231">
            <a:extLst>
              <a:ext uri="{FF2B5EF4-FFF2-40B4-BE49-F238E27FC236}">
                <a16:creationId xmlns:a16="http://schemas.microsoft.com/office/drawing/2014/main" id="{3726D076-4A01-47CB-A787-E74F71FC38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7979" y="4768884"/>
            <a:ext cx="16279" cy="15027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3" name="Oval 232">
            <a:extLst>
              <a:ext uri="{FF2B5EF4-FFF2-40B4-BE49-F238E27FC236}">
                <a16:creationId xmlns:a16="http://schemas.microsoft.com/office/drawing/2014/main" id="{E26C6B91-021A-4724-A8A8-BAA914837C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03273" y="4639903"/>
            <a:ext cx="16279" cy="16279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4" name="Oval 233">
            <a:extLst>
              <a:ext uri="{FF2B5EF4-FFF2-40B4-BE49-F238E27FC236}">
                <a16:creationId xmlns:a16="http://schemas.microsoft.com/office/drawing/2014/main" id="{E12D2ADE-74AF-45FC-BEA1-73D1CF36E2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537" y="4469600"/>
            <a:ext cx="16279" cy="16279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5" name="Oval 234">
            <a:extLst>
              <a:ext uri="{FF2B5EF4-FFF2-40B4-BE49-F238E27FC236}">
                <a16:creationId xmlns:a16="http://schemas.microsoft.com/office/drawing/2014/main" id="{DB27EE3E-E4D7-48D9-AA50-C2872FC103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17764" y="4788920"/>
            <a:ext cx="16279" cy="16279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6" name="Oval 235">
            <a:extLst>
              <a:ext uri="{FF2B5EF4-FFF2-40B4-BE49-F238E27FC236}">
                <a16:creationId xmlns:a16="http://schemas.microsoft.com/office/drawing/2014/main" id="{A377FB80-64DE-445D-B616-1236C06566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46745" y="5177112"/>
            <a:ext cx="16279" cy="16279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7" name="Oval 236">
            <a:extLst>
              <a:ext uri="{FF2B5EF4-FFF2-40B4-BE49-F238E27FC236}">
                <a16:creationId xmlns:a16="http://schemas.microsoft.com/office/drawing/2014/main" id="{AAF75A75-18B3-4196-8844-8ED7328FE6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1628" y="4991781"/>
            <a:ext cx="16279" cy="16279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8" name="Oval 237">
            <a:extLst>
              <a:ext uri="{FF2B5EF4-FFF2-40B4-BE49-F238E27FC236}">
                <a16:creationId xmlns:a16="http://schemas.microsoft.com/office/drawing/2014/main" id="{9BDED7C9-EFC5-4797-9D45-5319E57638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0465" y="5398757"/>
            <a:ext cx="16279" cy="16279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9" name="Oval 238">
            <a:extLst>
              <a:ext uri="{FF2B5EF4-FFF2-40B4-BE49-F238E27FC236}">
                <a16:creationId xmlns:a16="http://schemas.microsoft.com/office/drawing/2014/main" id="{6D045150-3B9B-4708-ABBE-FFDA0C8943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4258" y="5373712"/>
            <a:ext cx="16279" cy="16279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0" name="Oval 239">
            <a:extLst>
              <a:ext uri="{FF2B5EF4-FFF2-40B4-BE49-F238E27FC236}">
                <a16:creationId xmlns:a16="http://schemas.microsoft.com/office/drawing/2014/main" id="{C9F5C36E-9181-4633-A996-B9F9F32C78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394" y="5316109"/>
            <a:ext cx="16279" cy="15027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1" name="Oval 240">
            <a:extLst>
              <a:ext uri="{FF2B5EF4-FFF2-40B4-BE49-F238E27FC236}">
                <a16:creationId xmlns:a16="http://schemas.microsoft.com/office/drawing/2014/main" id="{D15A8D44-E129-43CC-BAFA-166AB7D72C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66783" y="5144554"/>
            <a:ext cx="37567" cy="37567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2" name="Oval 241">
            <a:extLst>
              <a:ext uri="{FF2B5EF4-FFF2-40B4-BE49-F238E27FC236}">
                <a16:creationId xmlns:a16="http://schemas.microsoft.com/office/drawing/2014/main" id="{11B5C6E1-F198-41A2-AAC8-761BD204AC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53008" y="4879080"/>
            <a:ext cx="38820" cy="37567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3" name="Oval 242">
            <a:extLst>
              <a:ext uri="{FF2B5EF4-FFF2-40B4-BE49-F238E27FC236}">
                <a16:creationId xmlns:a16="http://schemas.microsoft.com/office/drawing/2014/main" id="{C9C79D4D-F1CC-418D-B91D-A6A617E696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9180" y="4467095"/>
            <a:ext cx="57603" cy="5885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4" name="Oval 243">
            <a:extLst>
              <a:ext uri="{FF2B5EF4-FFF2-40B4-BE49-F238E27FC236}">
                <a16:creationId xmlns:a16="http://schemas.microsoft.com/office/drawing/2014/main" id="{68D89175-8EFF-4445-8A23-041B072F92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80736" y="5066915"/>
            <a:ext cx="16279" cy="15027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5" name="Oval 244">
            <a:extLst>
              <a:ext uri="{FF2B5EF4-FFF2-40B4-BE49-F238E27FC236}">
                <a16:creationId xmlns:a16="http://schemas.microsoft.com/office/drawing/2014/main" id="{99917D3F-8123-48CF-AB59-B034312AFC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9377" y="5308596"/>
            <a:ext cx="15027" cy="16279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6" name="Oval 245">
            <a:extLst>
              <a:ext uri="{FF2B5EF4-FFF2-40B4-BE49-F238E27FC236}">
                <a16:creationId xmlns:a16="http://schemas.microsoft.com/office/drawing/2014/main" id="{9FE3639E-F32B-4720-AC31-AFF644B0A6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56765" y="5117005"/>
            <a:ext cx="16279" cy="16279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7" name="Oval 246">
            <a:extLst>
              <a:ext uri="{FF2B5EF4-FFF2-40B4-BE49-F238E27FC236}">
                <a16:creationId xmlns:a16="http://schemas.microsoft.com/office/drawing/2014/main" id="{487B6431-F634-40C4-8D9B-65D75A3162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03097" y="4851531"/>
            <a:ext cx="16279" cy="15027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8" name="Oval 247">
            <a:extLst>
              <a:ext uri="{FF2B5EF4-FFF2-40B4-BE49-F238E27FC236}">
                <a16:creationId xmlns:a16="http://schemas.microsoft.com/office/drawing/2014/main" id="{CC489AB3-A7DB-485C-999E-A254C6BBCE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80736" y="4723803"/>
            <a:ext cx="16279" cy="15027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9" name="Oval 248">
            <a:extLst>
              <a:ext uri="{FF2B5EF4-FFF2-40B4-BE49-F238E27FC236}">
                <a16:creationId xmlns:a16="http://schemas.microsoft.com/office/drawing/2014/main" id="{E13BC1C6-1275-4568-95B3-0DBDBE551C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3975" y="4517184"/>
            <a:ext cx="15027" cy="16279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0" name="Oval 249">
            <a:extLst>
              <a:ext uri="{FF2B5EF4-FFF2-40B4-BE49-F238E27FC236}">
                <a16:creationId xmlns:a16="http://schemas.microsoft.com/office/drawing/2014/main" id="{11FC69EB-A79B-40A9-99C3-9613B01989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4136" y="4220405"/>
            <a:ext cx="16279" cy="16279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1" name="Oval 250">
            <a:extLst>
              <a:ext uri="{FF2B5EF4-FFF2-40B4-BE49-F238E27FC236}">
                <a16:creationId xmlns:a16="http://schemas.microsoft.com/office/drawing/2014/main" id="{5711E3EA-F3CD-4749-94A9-D85FD75670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64279" y="4537220"/>
            <a:ext cx="16279" cy="16279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Oval 251">
            <a:extLst>
              <a:ext uri="{FF2B5EF4-FFF2-40B4-BE49-F238E27FC236}">
                <a16:creationId xmlns:a16="http://schemas.microsoft.com/office/drawing/2014/main" id="{5B2BC452-3A0F-4CC6-8C95-76672C1CF3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36551" y="4115218"/>
            <a:ext cx="16279" cy="16279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Oval 252">
            <a:extLst>
              <a:ext uri="{FF2B5EF4-FFF2-40B4-BE49-F238E27FC236}">
                <a16:creationId xmlns:a16="http://schemas.microsoft.com/office/drawing/2014/main" id="{D9E82A07-D725-4794-83A2-F844713F22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6604" y="4671210"/>
            <a:ext cx="16279" cy="15027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Oval 253">
            <a:extLst>
              <a:ext uri="{FF2B5EF4-FFF2-40B4-BE49-F238E27FC236}">
                <a16:creationId xmlns:a16="http://schemas.microsoft.com/office/drawing/2014/main" id="{B4420087-1623-447E-8AA4-E29238D3B7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2883" y="4871567"/>
            <a:ext cx="15027" cy="16279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Oval 254">
            <a:extLst>
              <a:ext uri="{FF2B5EF4-FFF2-40B4-BE49-F238E27FC236}">
                <a16:creationId xmlns:a16="http://schemas.microsoft.com/office/drawing/2014/main" id="{CFD7C7C6-D4F8-483D-AF19-36F1BABF77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45673" y="5341154"/>
            <a:ext cx="16279" cy="16279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6" name="Oval 255">
            <a:extLst>
              <a:ext uri="{FF2B5EF4-FFF2-40B4-BE49-F238E27FC236}">
                <a16:creationId xmlns:a16="http://schemas.microsoft.com/office/drawing/2014/main" id="{736425AC-DAE6-47D9-8D78-7BE6C1E140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46747" y="5202157"/>
            <a:ext cx="15027" cy="16279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7" name="Oval 256">
            <a:extLst>
              <a:ext uri="{FF2B5EF4-FFF2-40B4-BE49-F238E27FC236}">
                <a16:creationId xmlns:a16="http://schemas.microsoft.com/office/drawing/2014/main" id="{162A43F1-CD33-4DC8-B175-C5F766B91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65709" y="4935430"/>
            <a:ext cx="16279" cy="15027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8" name="Oval 257">
            <a:extLst>
              <a:ext uri="{FF2B5EF4-FFF2-40B4-BE49-F238E27FC236}">
                <a16:creationId xmlns:a16="http://schemas.microsoft.com/office/drawing/2014/main" id="{1309926B-B5B1-4605-9D82-549CEA9D82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6890" y="5417541"/>
            <a:ext cx="16279" cy="16279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9" name="Oval 258">
            <a:extLst>
              <a:ext uri="{FF2B5EF4-FFF2-40B4-BE49-F238E27FC236}">
                <a16:creationId xmlns:a16="http://schemas.microsoft.com/office/drawing/2014/main" id="{54B8D043-4A0E-419C-96D9-20A8E7E710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3187" y="5523980"/>
            <a:ext cx="16279" cy="16279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Freeform 259">
            <a:extLst>
              <a:ext uri="{FF2B5EF4-FFF2-40B4-BE49-F238E27FC236}">
                <a16:creationId xmlns:a16="http://schemas.microsoft.com/office/drawing/2014/main" id="{4433A9BC-C168-459A-A3D2-9CF15401ECAF}"/>
              </a:ext>
            </a:extLst>
          </p:cNvPr>
          <p:cNvSpPr>
            <a:spLocks/>
          </p:cNvSpPr>
          <p:nvPr/>
        </p:nvSpPr>
        <p:spPr bwMode="auto">
          <a:xfrm>
            <a:off x="8055872" y="3330067"/>
            <a:ext cx="47585" cy="57603"/>
          </a:xfrm>
          <a:custGeom>
            <a:avLst/>
            <a:gdLst>
              <a:gd name="T0" fmla="*/ 85 w 92"/>
              <a:gd name="T1" fmla="*/ 26 h 110"/>
              <a:gd name="T2" fmla="*/ 51 w 92"/>
              <a:gd name="T3" fmla="*/ 2 h 110"/>
              <a:gd name="T4" fmla="*/ 18 w 92"/>
              <a:gd name="T5" fmla="*/ 28 h 110"/>
              <a:gd name="T6" fmla="*/ 0 w 92"/>
              <a:gd name="T7" fmla="*/ 110 h 110"/>
              <a:gd name="T8" fmla="*/ 74 w 92"/>
              <a:gd name="T9" fmla="*/ 106 h 110"/>
              <a:gd name="T10" fmla="*/ 79 w 92"/>
              <a:gd name="T11" fmla="*/ 72 h 110"/>
              <a:gd name="T12" fmla="*/ 81 w 92"/>
              <a:gd name="T13" fmla="*/ 63 h 110"/>
              <a:gd name="T14" fmla="*/ 83 w 92"/>
              <a:gd name="T15" fmla="*/ 57 h 110"/>
              <a:gd name="T16" fmla="*/ 83 w 92"/>
              <a:gd name="T17" fmla="*/ 50 h 110"/>
              <a:gd name="T18" fmla="*/ 92 w 92"/>
              <a:gd name="T19" fmla="*/ 50 h 110"/>
              <a:gd name="T20" fmla="*/ 85 w 92"/>
              <a:gd name="T21" fmla="*/ 26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2" h="110">
                <a:moveTo>
                  <a:pt x="85" y="26"/>
                </a:moveTo>
                <a:cubicBezTo>
                  <a:pt x="80" y="13"/>
                  <a:pt x="69" y="3"/>
                  <a:pt x="51" y="2"/>
                </a:cubicBezTo>
                <a:cubicBezTo>
                  <a:pt x="32" y="0"/>
                  <a:pt x="24" y="6"/>
                  <a:pt x="18" y="28"/>
                </a:cubicBezTo>
                <a:cubicBezTo>
                  <a:pt x="15" y="40"/>
                  <a:pt x="4" y="84"/>
                  <a:pt x="0" y="110"/>
                </a:cubicBezTo>
                <a:cubicBezTo>
                  <a:pt x="74" y="106"/>
                  <a:pt x="74" y="106"/>
                  <a:pt x="74" y="106"/>
                </a:cubicBezTo>
                <a:cubicBezTo>
                  <a:pt x="75" y="97"/>
                  <a:pt x="77" y="82"/>
                  <a:pt x="79" y="72"/>
                </a:cubicBezTo>
                <a:cubicBezTo>
                  <a:pt x="82" y="69"/>
                  <a:pt x="83" y="65"/>
                  <a:pt x="81" y="63"/>
                </a:cubicBezTo>
                <a:cubicBezTo>
                  <a:pt x="83" y="62"/>
                  <a:pt x="84" y="60"/>
                  <a:pt x="83" y="57"/>
                </a:cubicBezTo>
                <a:cubicBezTo>
                  <a:pt x="83" y="55"/>
                  <a:pt x="83" y="50"/>
                  <a:pt x="83" y="50"/>
                </a:cubicBezTo>
                <a:cubicBezTo>
                  <a:pt x="92" y="50"/>
                  <a:pt x="92" y="50"/>
                  <a:pt x="92" y="50"/>
                </a:cubicBezTo>
                <a:cubicBezTo>
                  <a:pt x="92" y="50"/>
                  <a:pt x="89" y="39"/>
                  <a:pt x="85" y="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1" name="Freeform 260">
            <a:extLst>
              <a:ext uri="{FF2B5EF4-FFF2-40B4-BE49-F238E27FC236}">
                <a16:creationId xmlns:a16="http://schemas.microsoft.com/office/drawing/2014/main" id="{EF2B7D1F-6844-41AB-9476-CC04A8317762}"/>
              </a:ext>
            </a:extLst>
          </p:cNvPr>
          <p:cNvSpPr>
            <a:spLocks/>
          </p:cNvSpPr>
          <p:nvPr/>
        </p:nvSpPr>
        <p:spPr bwMode="auto">
          <a:xfrm>
            <a:off x="8092186" y="3345094"/>
            <a:ext cx="5009" cy="3757"/>
          </a:xfrm>
          <a:custGeom>
            <a:avLst/>
            <a:gdLst>
              <a:gd name="T0" fmla="*/ 8 w 9"/>
              <a:gd name="T1" fmla="*/ 3 h 8"/>
              <a:gd name="T2" fmla="*/ 5 w 9"/>
              <a:gd name="T3" fmla="*/ 8 h 8"/>
              <a:gd name="T4" fmla="*/ 1 w 9"/>
              <a:gd name="T5" fmla="*/ 5 h 8"/>
              <a:gd name="T6" fmla="*/ 4 w 9"/>
              <a:gd name="T7" fmla="*/ 0 h 8"/>
              <a:gd name="T8" fmla="*/ 8 w 9"/>
              <a:gd name="T9" fmla="*/ 3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8">
                <a:moveTo>
                  <a:pt x="8" y="3"/>
                </a:moveTo>
                <a:cubicBezTo>
                  <a:pt x="9" y="5"/>
                  <a:pt x="7" y="7"/>
                  <a:pt x="5" y="8"/>
                </a:cubicBezTo>
                <a:cubicBezTo>
                  <a:pt x="3" y="8"/>
                  <a:pt x="1" y="7"/>
                  <a:pt x="1" y="5"/>
                </a:cubicBezTo>
                <a:cubicBezTo>
                  <a:pt x="0" y="3"/>
                  <a:pt x="2" y="1"/>
                  <a:pt x="4" y="0"/>
                </a:cubicBezTo>
                <a:cubicBezTo>
                  <a:pt x="6" y="0"/>
                  <a:pt x="8" y="1"/>
                  <a:pt x="8" y="3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2" name="Freeform 261">
            <a:extLst>
              <a:ext uri="{FF2B5EF4-FFF2-40B4-BE49-F238E27FC236}">
                <a16:creationId xmlns:a16="http://schemas.microsoft.com/office/drawing/2014/main" id="{BBD3AA95-3121-4528-B289-D174743EDF8B}"/>
              </a:ext>
            </a:extLst>
          </p:cNvPr>
          <p:cNvSpPr>
            <a:spLocks/>
          </p:cNvSpPr>
          <p:nvPr/>
        </p:nvSpPr>
        <p:spPr bwMode="auto">
          <a:xfrm>
            <a:off x="8087177" y="3343842"/>
            <a:ext cx="5009" cy="5009"/>
          </a:xfrm>
          <a:custGeom>
            <a:avLst/>
            <a:gdLst>
              <a:gd name="T0" fmla="*/ 8 w 9"/>
              <a:gd name="T1" fmla="*/ 3 h 9"/>
              <a:gd name="T2" fmla="*/ 5 w 9"/>
              <a:gd name="T3" fmla="*/ 8 h 9"/>
              <a:gd name="T4" fmla="*/ 1 w 9"/>
              <a:gd name="T5" fmla="*/ 5 h 9"/>
              <a:gd name="T6" fmla="*/ 4 w 9"/>
              <a:gd name="T7" fmla="*/ 0 h 9"/>
              <a:gd name="T8" fmla="*/ 8 w 9"/>
              <a:gd name="T9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9">
                <a:moveTo>
                  <a:pt x="8" y="3"/>
                </a:moveTo>
                <a:cubicBezTo>
                  <a:pt x="9" y="5"/>
                  <a:pt x="8" y="8"/>
                  <a:pt x="5" y="8"/>
                </a:cubicBezTo>
                <a:cubicBezTo>
                  <a:pt x="3" y="9"/>
                  <a:pt x="1" y="7"/>
                  <a:pt x="1" y="5"/>
                </a:cubicBezTo>
                <a:cubicBezTo>
                  <a:pt x="0" y="3"/>
                  <a:pt x="2" y="1"/>
                  <a:pt x="4" y="0"/>
                </a:cubicBezTo>
                <a:cubicBezTo>
                  <a:pt x="6" y="0"/>
                  <a:pt x="8" y="1"/>
                  <a:pt x="8" y="3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3" name="Freeform 262">
            <a:extLst>
              <a:ext uri="{FF2B5EF4-FFF2-40B4-BE49-F238E27FC236}">
                <a16:creationId xmlns:a16="http://schemas.microsoft.com/office/drawing/2014/main" id="{2B0DAF56-A10C-4F0F-AE2B-F3E65FA8780F}"/>
              </a:ext>
            </a:extLst>
          </p:cNvPr>
          <p:cNvSpPr>
            <a:spLocks/>
          </p:cNvSpPr>
          <p:nvPr/>
        </p:nvSpPr>
        <p:spPr bwMode="auto">
          <a:xfrm>
            <a:off x="8062132" y="3325058"/>
            <a:ext cx="26297" cy="20036"/>
          </a:xfrm>
          <a:custGeom>
            <a:avLst/>
            <a:gdLst>
              <a:gd name="T0" fmla="*/ 15 w 50"/>
              <a:gd name="T1" fmla="*/ 11 h 37"/>
              <a:gd name="T2" fmla="*/ 31 w 50"/>
              <a:gd name="T3" fmla="*/ 2 h 37"/>
              <a:gd name="T4" fmla="*/ 45 w 50"/>
              <a:gd name="T5" fmla="*/ 0 h 37"/>
              <a:gd name="T6" fmla="*/ 41 w 50"/>
              <a:gd name="T7" fmla="*/ 18 h 37"/>
              <a:gd name="T8" fmla="*/ 16 w 50"/>
              <a:gd name="T9" fmla="*/ 20 h 37"/>
              <a:gd name="T10" fmla="*/ 6 w 50"/>
              <a:gd name="T11" fmla="*/ 37 h 37"/>
              <a:gd name="T12" fmla="*/ 15 w 50"/>
              <a:gd name="T13" fmla="*/ 11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0" h="37">
                <a:moveTo>
                  <a:pt x="15" y="11"/>
                </a:moveTo>
                <a:cubicBezTo>
                  <a:pt x="16" y="4"/>
                  <a:pt x="24" y="0"/>
                  <a:pt x="31" y="2"/>
                </a:cubicBezTo>
                <a:cubicBezTo>
                  <a:pt x="38" y="5"/>
                  <a:pt x="45" y="4"/>
                  <a:pt x="45" y="0"/>
                </a:cubicBezTo>
                <a:cubicBezTo>
                  <a:pt x="50" y="6"/>
                  <a:pt x="47" y="15"/>
                  <a:pt x="41" y="18"/>
                </a:cubicBezTo>
                <a:cubicBezTo>
                  <a:pt x="35" y="21"/>
                  <a:pt x="19" y="20"/>
                  <a:pt x="16" y="20"/>
                </a:cubicBezTo>
                <a:cubicBezTo>
                  <a:pt x="17" y="24"/>
                  <a:pt x="10" y="37"/>
                  <a:pt x="6" y="37"/>
                </a:cubicBezTo>
                <a:cubicBezTo>
                  <a:pt x="0" y="30"/>
                  <a:pt x="4" y="11"/>
                  <a:pt x="15" y="11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4" name="Freeform 263">
            <a:extLst>
              <a:ext uri="{FF2B5EF4-FFF2-40B4-BE49-F238E27FC236}">
                <a16:creationId xmlns:a16="http://schemas.microsoft.com/office/drawing/2014/main" id="{E4305FF3-3BEF-491A-B126-7698DD9EED57}"/>
              </a:ext>
            </a:extLst>
          </p:cNvPr>
          <p:cNvSpPr>
            <a:spLocks/>
          </p:cNvSpPr>
          <p:nvPr/>
        </p:nvSpPr>
        <p:spPr bwMode="auto">
          <a:xfrm>
            <a:off x="8094691" y="3802159"/>
            <a:ext cx="31306" cy="10018"/>
          </a:xfrm>
          <a:custGeom>
            <a:avLst/>
            <a:gdLst>
              <a:gd name="T0" fmla="*/ 25 w 61"/>
              <a:gd name="T1" fmla="*/ 0 h 19"/>
              <a:gd name="T2" fmla="*/ 46 w 61"/>
              <a:gd name="T3" fmla="*/ 5 h 19"/>
              <a:gd name="T4" fmla="*/ 50 w 61"/>
              <a:gd name="T5" fmla="*/ 14 h 19"/>
              <a:gd name="T6" fmla="*/ 17 w 61"/>
              <a:gd name="T7" fmla="*/ 12 h 19"/>
              <a:gd name="T8" fmla="*/ 17 w 61"/>
              <a:gd name="T9" fmla="*/ 17 h 19"/>
              <a:gd name="T10" fmla="*/ 0 w 61"/>
              <a:gd name="T11" fmla="*/ 18 h 19"/>
              <a:gd name="T12" fmla="*/ 1 w 61"/>
              <a:gd name="T13" fmla="*/ 0 h 19"/>
              <a:gd name="T14" fmla="*/ 25 w 61"/>
              <a:gd name="T15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1" h="19">
                <a:moveTo>
                  <a:pt x="25" y="0"/>
                </a:moveTo>
                <a:cubicBezTo>
                  <a:pt x="27" y="4"/>
                  <a:pt x="38" y="6"/>
                  <a:pt x="46" y="5"/>
                </a:cubicBezTo>
                <a:cubicBezTo>
                  <a:pt x="52" y="3"/>
                  <a:pt x="61" y="10"/>
                  <a:pt x="50" y="14"/>
                </a:cubicBezTo>
                <a:cubicBezTo>
                  <a:pt x="36" y="19"/>
                  <a:pt x="22" y="18"/>
                  <a:pt x="17" y="12"/>
                </a:cubicBezTo>
                <a:cubicBezTo>
                  <a:pt x="17" y="15"/>
                  <a:pt x="17" y="17"/>
                  <a:pt x="17" y="17"/>
                </a:cubicBezTo>
                <a:cubicBezTo>
                  <a:pt x="0" y="18"/>
                  <a:pt x="0" y="18"/>
                  <a:pt x="0" y="18"/>
                </a:cubicBezTo>
                <a:cubicBezTo>
                  <a:pt x="1" y="0"/>
                  <a:pt x="1" y="0"/>
                  <a:pt x="1" y="0"/>
                </a:cubicBezTo>
                <a:lnTo>
                  <a:pt x="25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5" name="Freeform 264">
            <a:extLst>
              <a:ext uri="{FF2B5EF4-FFF2-40B4-BE49-F238E27FC236}">
                <a16:creationId xmlns:a16="http://schemas.microsoft.com/office/drawing/2014/main" id="{9B9B07DD-95C4-45D2-817A-B6F25F7F7123}"/>
              </a:ext>
            </a:extLst>
          </p:cNvPr>
          <p:cNvSpPr>
            <a:spLocks/>
          </p:cNvSpPr>
          <p:nvPr/>
        </p:nvSpPr>
        <p:spPr bwMode="auto">
          <a:xfrm>
            <a:off x="8068394" y="3551713"/>
            <a:ext cx="52594" cy="245438"/>
          </a:xfrm>
          <a:custGeom>
            <a:avLst/>
            <a:gdLst>
              <a:gd name="T0" fmla="*/ 96 w 101"/>
              <a:gd name="T1" fmla="*/ 76 h 472"/>
              <a:gd name="T2" fmla="*/ 76 w 101"/>
              <a:gd name="T3" fmla="*/ 472 h 472"/>
              <a:gd name="T4" fmla="*/ 52 w 101"/>
              <a:gd name="T5" fmla="*/ 472 h 472"/>
              <a:gd name="T6" fmla="*/ 7 w 101"/>
              <a:gd name="T7" fmla="*/ 76 h 472"/>
              <a:gd name="T8" fmla="*/ 96 w 101"/>
              <a:gd name="T9" fmla="*/ 76 h 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" h="472">
                <a:moveTo>
                  <a:pt x="96" y="76"/>
                </a:moveTo>
                <a:cubicBezTo>
                  <a:pt x="90" y="174"/>
                  <a:pt x="72" y="327"/>
                  <a:pt x="76" y="472"/>
                </a:cubicBezTo>
                <a:cubicBezTo>
                  <a:pt x="70" y="472"/>
                  <a:pt x="76" y="472"/>
                  <a:pt x="52" y="472"/>
                </a:cubicBezTo>
                <a:cubicBezTo>
                  <a:pt x="28" y="352"/>
                  <a:pt x="22" y="211"/>
                  <a:pt x="7" y="76"/>
                </a:cubicBezTo>
                <a:cubicBezTo>
                  <a:pt x="0" y="0"/>
                  <a:pt x="101" y="0"/>
                  <a:pt x="96" y="76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6" name="Freeform 265">
            <a:extLst>
              <a:ext uri="{FF2B5EF4-FFF2-40B4-BE49-F238E27FC236}">
                <a16:creationId xmlns:a16="http://schemas.microsoft.com/office/drawing/2014/main" id="{37A94B29-20CF-4961-B86F-ACA89972B45C}"/>
              </a:ext>
            </a:extLst>
          </p:cNvPr>
          <p:cNvSpPr>
            <a:spLocks/>
          </p:cNvSpPr>
          <p:nvPr/>
        </p:nvSpPr>
        <p:spPr bwMode="auto">
          <a:xfrm>
            <a:off x="8035836" y="3802159"/>
            <a:ext cx="32558" cy="10018"/>
          </a:xfrm>
          <a:custGeom>
            <a:avLst/>
            <a:gdLst>
              <a:gd name="T0" fmla="*/ 24 w 61"/>
              <a:gd name="T1" fmla="*/ 0 h 19"/>
              <a:gd name="T2" fmla="*/ 45 w 61"/>
              <a:gd name="T3" fmla="*/ 5 h 19"/>
              <a:gd name="T4" fmla="*/ 50 w 61"/>
              <a:gd name="T5" fmla="*/ 14 h 19"/>
              <a:gd name="T6" fmla="*/ 17 w 61"/>
              <a:gd name="T7" fmla="*/ 12 h 19"/>
              <a:gd name="T8" fmla="*/ 17 w 61"/>
              <a:gd name="T9" fmla="*/ 17 h 19"/>
              <a:gd name="T10" fmla="*/ 0 w 61"/>
              <a:gd name="T11" fmla="*/ 18 h 19"/>
              <a:gd name="T12" fmla="*/ 1 w 61"/>
              <a:gd name="T13" fmla="*/ 0 h 19"/>
              <a:gd name="T14" fmla="*/ 24 w 61"/>
              <a:gd name="T15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1" h="19">
                <a:moveTo>
                  <a:pt x="24" y="0"/>
                </a:moveTo>
                <a:cubicBezTo>
                  <a:pt x="27" y="4"/>
                  <a:pt x="38" y="6"/>
                  <a:pt x="45" y="5"/>
                </a:cubicBezTo>
                <a:cubicBezTo>
                  <a:pt x="52" y="3"/>
                  <a:pt x="61" y="10"/>
                  <a:pt x="50" y="14"/>
                </a:cubicBezTo>
                <a:cubicBezTo>
                  <a:pt x="36" y="19"/>
                  <a:pt x="21" y="18"/>
                  <a:pt x="17" y="12"/>
                </a:cubicBezTo>
                <a:cubicBezTo>
                  <a:pt x="17" y="15"/>
                  <a:pt x="17" y="17"/>
                  <a:pt x="17" y="17"/>
                </a:cubicBezTo>
                <a:cubicBezTo>
                  <a:pt x="0" y="18"/>
                  <a:pt x="0" y="18"/>
                  <a:pt x="0" y="18"/>
                </a:cubicBezTo>
                <a:cubicBezTo>
                  <a:pt x="1" y="0"/>
                  <a:pt x="1" y="0"/>
                  <a:pt x="1" y="0"/>
                </a:cubicBezTo>
                <a:lnTo>
                  <a:pt x="24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7" name="Freeform 266">
            <a:extLst>
              <a:ext uri="{FF2B5EF4-FFF2-40B4-BE49-F238E27FC236}">
                <a16:creationId xmlns:a16="http://schemas.microsoft.com/office/drawing/2014/main" id="{87BE14E5-A86B-423A-A630-727AEB91D73A}"/>
              </a:ext>
            </a:extLst>
          </p:cNvPr>
          <p:cNvSpPr>
            <a:spLocks/>
          </p:cNvSpPr>
          <p:nvPr/>
        </p:nvSpPr>
        <p:spPr bwMode="auto">
          <a:xfrm>
            <a:off x="8029574" y="3554217"/>
            <a:ext cx="52594" cy="244186"/>
          </a:xfrm>
          <a:custGeom>
            <a:avLst/>
            <a:gdLst>
              <a:gd name="T0" fmla="*/ 96 w 101"/>
              <a:gd name="T1" fmla="*/ 77 h 468"/>
              <a:gd name="T2" fmla="*/ 38 w 101"/>
              <a:gd name="T3" fmla="*/ 468 h 468"/>
              <a:gd name="T4" fmla="*/ 14 w 101"/>
              <a:gd name="T5" fmla="*/ 468 h 468"/>
              <a:gd name="T6" fmla="*/ 8 w 101"/>
              <a:gd name="T7" fmla="*/ 76 h 468"/>
              <a:gd name="T8" fmla="*/ 96 w 101"/>
              <a:gd name="T9" fmla="*/ 77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" h="468">
                <a:moveTo>
                  <a:pt x="96" y="77"/>
                </a:moveTo>
                <a:cubicBezTo>
                  <a:pt x="90" y="174"/>
                  <a:pt x="51" y="323"/>
                  <a:pt x="38" y="468"/>
                </a:cubicBezTo>
                <a:cubicBezTo>
                  <a:pt x="31" y="468"/>
                  <a:pt x="38" y="468"/>
                  <a:pt x="14" y="468"/>
                </a:cubicBezTo>
                <a:cubicBezTo>
                  <a:pt x="13" y="333"/>
                  <a:pt x="22" y="212"/>
                  <a:pt x="8" y="76"/>
                </a:cubicBezTo>
                <a:cubicBezTo>
                  <a:pt x="0" y="0"/>
                  <a:pt x="101" y="1"/>
                  <a:pt x="96" y="77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8" name="Freeform 267">
            <a:extLst>
              <a:ext uri="{FF2B5EF4-FFF2-40B4-BE49-F238E27FC236}">
                <a16:creationId xmlns:a16="http://schemas.microsoft.com/office/drawing/2014/main" id="{DE303439-42F0-4B04-B91F-48612791376B}"/>
              </a:ext>
            </a:extLst>
          </p:cNvPr>
          <p:cNvSpPr>
            <a:spLocks/>
          </p:cNvSpPr>
          <p:nvPr/>
        </p:nvSpPr>
        <p:spPr bwMode="auto">
          <a:xfrm>
            <a:off x="8003278" y="3383913"/>
            <a:ext cx="122719" cy="215384"/>
          </a:xfrm>
          <a:custGeom>
            <a:avLst/>
            <a:gdLst>
              <a:gd name="T0" fmla="*/ 226 w 235"/>
              <a:gd name="T1" fmla="*/ 0 h 416"/>
              <a:gd name="T2" fmla="*/ 235 w 235"/>
              <a:gd name="T3" fmla="*/ 410 h 416"/>
              <a:gd name="T4" fmla="*/ 44 w 235"/>
              <a:gd name="T5" fmla="*/ 416 h 416"/>
              <a:gd name="T6" fmla="*/ 2 w 235"/>
              <a:gd name="T7" fmla="*/ 45 h 416"/>
              <a:gd name="T8" fmla="*/ 50 w 235"/>
              <a:gd name="T9" fmla="*/ 0 h 416"/>
              <a:gd name="T10" fmla="*/ 226 w 235"/>
              <a:gd name="T11" fmla="*/ 0 h 4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35" h="416">
                <a:moveTo>
                  <a:pt x="226" y="0"/>
                </a:moveTo>
                <a:cubicBezTo>
                  <a:pt x="235" y="410"/>
                  <a:pt x="235" y="410"/>
                  <a:pt x="235" y="410"/>
                </a:cubicBezTo>
                <a:cubicBezTo>
                  <a:pt x="181" y="412"/>
                  <a:pt x="97" y="414"/>
                  <a:pt x="44" y="416"/>
                </a:cubicBezTo>
                <a:cubicBezTo>
                  <a:pt x="2" y="45"/>
                  <a:pt x="2" y="45"/>
                  <a:pt x="2" y="45"/>
                </a:cubicBezTo>
                <a:cubicBezTo>
                  <a:pt x="0" y="21"/>
                  <a:pt x="14" y="0"/>
                  <a:pt x="50" y="0"/>
                </a:cubicBezTo>
                <a:lnTo>
                  <a:pt x="226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9" name="Freeform 268">
            <a:extLst>
              <a:ext uri="{FF2B5EF4-FFF2-40B4-BE49-F238E27FC236}">
                <a16:creationId xmlns:a16="http://schemas.microsoft.com/office/drawing/2014/main" id="{AA239798-ECF0-4B04-B99C-D9F43F0AB843}"/>
              </a:ext>
            </a:extLst>
          </p:cNvPr>
          <p:cNvSpPr>
            <a:spLocks/>
          </p:cNvSpPr>
          <p:nvPr/>
        </p:nvSpPr>
        <p:spPr bwMode="auto">
          <a:xfrm>
            <a:off x="8065890" y="3387670"/>
            <a:ext cx="31306" cy="117710"/>
          </a:xfrm>
          <a:custGeom>
            <a:avLst/>
            <a:gdLst>
              <a:gd name="T0" fmla="*/ 14 w 59"/>
              <a:gd name="T1" fmla="*/ 15 h 227"/>
              <a:gd name="T2" fmla="*/ 31 w 59"/>
              <a:gd name="T3" fmla="*/ 12 h 227"/>
              <a:gd name="T4" fmla="*/ 59 w 59"/>
              <a:gd name="T5" fmla="*/ 197 h 227"/>
              <a:gd name="T6" fmla="*/ 31 w 59"/>
              <a:gd name="T7" fmla="*/ 227 h 227"/>
              <a:gd name="T8" fmla="*/ 2 w 59"/>
              <a:gd name="T9" fmla="*/ 198 h 227"/>
              <a:gd name="T10" fmla="*/ 14 w 59"/>
              <a:gd name="T11" fmla="*/ 15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9" h="227">
                <a:moveTo>
                  <a:pt x="14" y="15"/>
                </a:moveTo>
                <a:cubicBezTo>
                  <a:pt x="15" y="1"/>
                  <a:pt x="30" y="0"/>
                  <a:pt x="31" y="12"/>
                </a:cubicBezTo>
                <a:cubicBezTo>
                  <a:pt x="32" y="48"/>
                  <a:pt x="44" y="123"/>
                  <a:pt x="59" y="197"/>
                </a:cubicBezTo>
                <a:cubicBezTo>
                  <a:pt x="48" y="209"/>
                  <a:pt x="31" y="227"/>
                  <a:pt x="31" y="227"/>
                </a:cubicBezTo>
                <a:cubicBezTo>
                  <a:pt x="31" y="227"/>
                  <a:pt x="9" y="206"/>
                  <a:pt x="2" y="198"/>
                </a:cubicBezTo>
                <a:cubicBezTo>
                  <a:pt x="0" y="126"/>
                  <a:pt x="12" y="62"/>
                  <a:pt x="14" y="15"/>
                </a:cubicBez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0" name="Freeform 269">
            <a:extLst>
              <a:ext uri="{FF2B5EF4-FFF2-40B4-BE49-F238E27FC236}">
                <a16:creationId xmlns:a16="http://schemas.microsoft.com/office/drawing/2014/main" id="{EC578661-9547-4C71-8187-3AD65B4BB046}"/>
              </a:ext>
            </a:extLst>
          </p:cNvPr>
          <p:cNvSpPr>
            <a:spLocks/>
          </p:cNvSpPr>
          <p:nvPr/>
        </p:nvSpPr>
        <p:spPr bwMode="auto">
          <a:xfrm>
            <a:off x="8072150" y="3383913"/>
            <a:ext cx="12522" cy="10018"/>
          </a:xfrm>
          <a:custGeom>
            <a:avLst/>
            <a:gdLst>
              <a:gd name="T0" fmla="*/ 0 w 10"/>
              <a:gd name="T1" fmla="*/ 0 h 8"/>
              <a:gd name="T2" fmla="*/ 9 w 10"/>
              <a:gd name="T3" fmla="*/ 0 h 8"/>
              <a:gd name="T4" fmla="*/ 10 w 10"/>
              <a:gd name="T5" fmla="*/ 8 h 8"/>
              <a:gd name="T6" fmla="*/ 0 w 10"/>
              <a:gd name="T7" fmla="*/ 8 h 8"/>
              <a:gd name="T8" fmla="*/ 0 w 10"/>
              <a:gd name="T9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" h="8">
                <a:moveTo>
                  <a:pt x="0" y="0"/>
                </a:moveTo>
                <a:lnTo>
                  <a:pt x="9" y="0"/>
                </a:lnTo>
                <a:lnTo>
                  <a:pt x="10" y="8"/>
                </a:lnTo>
                <a:lnTo>
                  <a:pt x="0" y="8"/>
                </a:lnTo>
                <a:lnTo>
                  <a:pt x="0" y="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1" name="Freeform 270">
            <a:extLst>
              <a:ext uri="{FF2B5EF4-FFF2-40B4-BE49-F238E27FC236}">
                <a16:creationId xmlns:a16="http://schemas.microsoft.com/office/drawing/2014/main" id="{26FDA184-8858-47CB-856A-7C63BD283C53}"/>
              </a:ext>
            </a:extLst>
          </p:cNvPr>
          <p:cNvSpPr>
            <a:spLocks/>
          </p:cNvSpPr>
          <p:nvPr/>
        </p:nvSpPr>
        <p:spPr bwMode="auto">
          <a:xfrm>
            <a:off x="8092186" y="3383913"/>
            <a:ext cx="150268" cy="122719"/>
          </a:xfrm>
          <a:custGeom>
            <a:avLst/>
            <a:gdLst>
              <a:gd name="T0" fmla="*/ 26 w 289"/>
              <a:gd name="T1" fmla="*/ 104 h 238"/>
              <a:gd name="T2" fmla="*/ 132 w 289"/>
              <a:gd name="T3" fmla="*/ 232 h 238"/>
              <a:gd name="T4" fmla="*/ 289 w 289"/>
              <a:gd name="T5" fmla="*/ 166 h 238"/>
              <a:gd name="T6" fmla="*/ 289 w 289"/>
              <a:gd name="T7" fmla="*/ 137 h 238"/>
              <a:gd name="T8" fmla="*/ 152 w 289"/>
              <a:gd name="T9" fmla="*/ 179 h 238"/>
              <a:gd name="T10" fmla="*/ 44 w 289"/>
              <a:gd name="T11" fmla="*/ 0 h 238"/>
              <a:gd name="T12" fmla="*/ 26 w 289"/>
              <a:gd name="T13" fmla="*/ 104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89" h="238">
                <a:moveTo>
                  <a:pt x="26" y="104"/>
                </a:moveTo>
                <a:cubicBezTo>
                  <a:pt x="57" y="150"/>
                  <a:pt x="106" y="226"/>
                  <a:pt x="132" y="232"/>
                </a:cubicBezTo>
                <a:cubicBezTo>
                  <a:pt x="158" y="238"/>
                  <a:pt x="194" y="214"/>
                  <a:pt x="289" y="166"/>
                </a:cubicBezTo>
                <a:cubicBezTo>
                  <a:pt x="289" y="137"/>
                  <a:pt x="289" y="137"/>
                  <a:pt x="289" y="137"/>
                </a:cubicBezTo>
                <a:cubicBezTo>
                  <a:pt x="226" y="160"/>
                  <a:pt x="165" y="182"/>
                  <a:pt x="152" y="179"/>
                </a:cubicBezTo>
                <a:cubicBezTo>
                  <a:pt x="134" y="175"/>
                  <a:pt x="71" y="0"/>
                  <a:pt x="44" y="0"/>
                </a:cubicBezTo>
                <a:cubicBezTo>
                  <a:pt x="2" y="0"/>
                  <a:pt x="0" y="65"/>
                  <a:pt x="26" y="10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2" name="Freeform 271">
            <a:extLst>
              <a:ext uri="{FF2B5EF4-FFF2-40B4-BE49-F238E27FC236}">
                <a16:creationId xmlns:a16="http://schemas.microsoft.com/office/drawing/2014/main" id="{EB352607-BF40-4284-9F40-B3AD3D81F608}"/>
              </a:ext>
            </a:extLst>
          </p:cNvPr>
          <p:cNvSpPr>
            <a:spLocks/>
          </p:cNvSpPr>
          <p:nvPr/>
        </p:nvSpPr>
        <p:spPr bwMode="auto">
          <a:xfrm>
            <a:off x="8237445" y="3454038"/>
            <a:ext cx="16279" cy="20036"/>
          </a:xfrm>
          <a:custGeom>
            <a:avLst/>
            <a:gdLst>
              <a:gd name="T0" fmla="*/ 4 w 30"/>
              <a:gd name="T1" fmla="*/ 35 h 39"/>
              <a:gd name="T2" fmla="*/ 1 w 30"/>
              <a:gd name="T3" fmla="*/ 30 h 39"/>
              <a:gd name="T4" fmla="*/ 7 w 30"/>
              <a:gd name="T5" fmla="*/ 4 h 39"/>
              <a:gd name="T6" fmla="*/ 13 w 30"/>
              <a:gd name="T7" fmla="*/ 1 h 39"/>
              <a:gd name="T8" fmla="*/ 26 w 30"/>
              <a:gd name="T9" fmla="*/ 4 h 39"/>
              <a:gd name="T10" fmla="*/ 29 w 30"/>
              <a:gd name="T11" fmla="*/ 10 h 39"/>
              <a:gd name="T12" fmla="*/ 23 w 30"/>
              <a:gd name="T13" fmla="*/ 35 h 39"/>
              <a:gd name="T14" fmla="*/ 17 w 30"/>
              <a:gd name="T15" fmla="*/ 38 h 39"/>
              <a:gd name="T16" fmla="*/ 4 w 30"/>
              <a:gd name="T17" fmla="*/ 35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0" h="39">
                <a:moveTo>
                  <a:pt x="4" y="35"/>
                </a:moveTo>
                <a:cubicBezTo>
                  <a:pt x="2" y="35"/>
                  <a:pt x="0" y="32"/>
                  <a:pt x="1" y="30"/>
                </a:cubicBezTo>
                <a:cubicBezTo>
                  <a:pt x="7" y="4"/>
                  <a:pt x="7" y="4"/>
                  <a:pt x="7" y="4"/>
                </a:cubicBezTo>
                <a:cubicBezTo>
                  <a:pt x="8" y="2"/>
                  <a:pt x="10" y="0"/>
                  <a:pt x="13" y="1"/>
                </a:cubicBezTo>
                <a:cubicBezTo>
                  <a:pt x="26" y="4"/>
                  <a:pt x="26" y="4"/>
                  <a:pt x="26" y="4"/>
                </a:cubicBezTo>
                <a:cubicBezTo>
                  <a:pt x="28" y="5"/>
                  <a:pt x="30" y="7"/>
                  <a:pt x="29" y="10"/>
                </a:cubicBezTo>
                <a:cubicBezTo>
                  <a:pt x="23" y="35"/>
                  <a:pt x="23" y="35"/>
                  <a:pt x="23" y="35"/>
                </a:cubicBezTo>
                <a:cubicBezTo>
                  <a:pt x="22" y="37"/>
                  <a:pt x="20" y="39"/>
                  <a:pt x="17" y="38"/>
                </a:cubicBezTo>
                <a:lnTo>
                  <a:pt x="4" y="3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3" name="Freeform 272">
            <a:extLst>
              <a:ext uri="{FF2B5EF4-FFF2-40B4-BE49-F238E27FC236}">
                <a16:creationId xmlns:a16="http://schemas.microsoft.com/office/drawing/2014/main" id="{BBEED691-B40F-4348-8C86-03A42B7607BE}"/>
              </a:ext>
            </a:extLst>
          </p:cNvPr>
          <p:cNvSpPr>
            <a:spLocks/>
          </p:cNvSpPr>
          <p:nvPr/>
        </p:nvSpPr>
        <p:spPr bwMode="auto">
          <a:xfrm>
            <a:off x="8241202" y="3450281"/>
            <a:ext cx="11270" cy="8766"/>
          </a:xfrm>
          <a:custGeom>
            <a:avLst/>
            <a:gdLst>
              <a:gd name="T0" fmla="*/ 3 w 22"/>
              <a:gd name="T1" fmla="*/ 8 h 17"/>
              <a:gd name="T2" fmla="*/ 1 w 22"/>
              <a:gd name="T3" fmla="*/ 14 h 17"/>
              <a:gd name="T4" fmla="*/ 7 w 22"/>
              <a:gd name="T5" fmla="*/ 15 h 17"/>
              <a:gd name="T6" fmla="*/ 19 w 22"/>
              <a:gd name="T7" fmla="*/ 9 h 17"/>
              <a:gd name="T8" fmla="*/ 21 w 22"/>
              <a:gd name="T9" fmla="*/ 3 h 17"/>
              <a:gd name="T10" fmla="*/ 21 w 22"/>
              <a:gd name="T11" fmla="*/ 3 h 17"/>
              <a:gd name="T12" fmla="*/ 15 w 22"/>
              <a:gd name="T13" fmla="*/ 1 h 17"/>
              <a:gd name="T14" fmla="*/ 3 w 22"/>
              <a:gd name="T15" fmla="*/ 8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" h="17">
                <a:moveTo>
                  <a:pt x="3" y="8"/>
                </a:moveTo>
                <a:cubicBezTo>
                  <a:pt x="1" y="9"/>
                  <a:pt x="0" y="11"/>
                  <a:pt x="1" y="14"/>
                </a:cubicBezTo>
                <a:cubicBezTo>
                  <a:pt x="2" y="16"/>
                  <a:pt x="5" y="17"/>
                  <a:pt x="7" y="15"/>
                </a:cubicBezTo>
                <a:cubicBezTo>
                  <a:pt x="19" y="9"/>
                  <a:pt x="19" y="9"/>
                  <a:pt x="19" y="9"/>
                </a:cubicBezTo>
                <a:cubicBezTo>
                  <a:pt x="21" y="8"/>
                  <a:pt x="22" y="5"/>
                  <a:pt x="21" y="3"/>
                </a:cubicBezTo>
                <a:cubicBezTo>
                  <a:pt x="21" y="3"/>
                  <a:pt x="21" y="3"/>
                  <a:pt x="21" y="3"/>
                </a:cubicBezTo>
                <a:cubicBezTo>
                  <a:pt x="20" y="1"/>
                  <a:pt x="17" y="0"/>
                  <a:pt x="15" y="1"/>
                </a:cubicBezTo>
                <a:lnTo>
                  <a:pt x="3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4" name="Freeform 273">
            <a:extLst>
              <a:ext uri="{FF2B5EF4-FFF2-40B4-BE49-F238E27FC236}">
                <a16:creationId xmlns:a16="http://schemas.microsoft.com/office/drawing/2014/main" id="{EE0F6923-E468-443C-905E-11BCFB20B7C7}"/>
              </a:ext>
            </a:extLst>
          </p:cNvPr>
          <p:cNvSpPr>
            <a:spLocks/>
          </p:cNvSpPr>
          <p:nvPr/>
        </p:nvSpPr>
        <p:spPr bwMode="auto">
          <a:xfrm>
            <a:off x="8194869" y="3406454"/>
            <a:ext cx="58855" cy="100179"/>
          </a:xfrm>
          <a:custGeom>
            <a:avLst/>
            <a:gdLst>
              <a:gd name="T0" fmla="*/ 0 w 47"/>
              <a:gd name="T1" fmla="*/ 73 h 80"/>
              <a:gd name="T2" fmla="*/ 32 w 47"/>
              <a:gd name="T3" fmla="*/ 80 h 80"/>
              <a:gd name="T4" fmla="*/ 47 w 47"/>
              <a:gd name="T5" fmla="*/ 6 h 80"/>
              <a:gd name="T6" fmla="*/ 16 w 47"/>
              <a:gd name="T7" fmla="*/ 0 h 80"/>
              <a:gd name="T8" fmla="*/ 0 w 47"/>
              <a:gd name="T9" fmla="*/ 73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" h="80">
                <a:moveTo>
                  <a:pt x="0" y="73"/>
                </a:moveTo>
                <a:lnTo>
                  <a:pt x="32" y="80"/>
                </a:lnTo>
                <a:lnTo>
                  <a:pt x="47" y="6"/>
                </a:lnTo>
                <a:lnTo>
                  <a:pt x="16" y="0"/>
                </a:lnTo>
                <a:lnTo>
                  <a:pt x="0" y="73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5" name="Freeform 274">
            <a:extLst>
              <a:ext uri="{FF2B5EF4-FFF2-40B4-BE49-F238E27FC236}">
                <a16:creationId xmlns:a16="http://schemas.microsoft.com/office/drawing/2014/main" id="{DA3FEF37-728A-43FA-AF77-33460AEA526A}"/>
              </a:ext>
            </a:extLst>
          </p:cNvPr>
          <p:cNvSpPr>
            <a:spLocks/>
          </p:cNvSpPr>
          <p:nvPr/>
        </p:nvSpPr>
        <p:spPr bwMode="auto">
          <a:xfrm>
            <a:off x="8234941" y="3413967"/>
            <a:ext cx="23793" cy="93918"/>
          </a:xfrm>
          <a:custGeom>
            <a:avLst/>
            <a:gdLst>
              <a:gd name="T0" fmla="*/ 0 w 19"/>
              <a:gd name="T1" fmla="*/ 74 h 75"/>
              <a:gd name="T2" fmla="*/ 4 w 19"/>
              <a:gd name="T3" fmla="*/ 75 h 75"/>
              <a:gd name="T4" fmla="*/ 19 w 19"/>
              <a:gd name="T5" fmla="*/ 1 h 75"/>
              <a:gd name="T6" fmla="*/ 15 w 19"/>
              <a:gd name="T7" fmla="*/ 0 h 75"/>
              <a:gd name="T8" fmla="*/ 0 w 19"/>
              <a:gd name="T9" fmla="*/ 74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" h="75">
                <a:moveTo>
                  <a:pt x="0" y="74"/>
                </a:moveTo>
                <a:lnTo>
                  <a:pt x="4" y="75"/>
                </a:lnTo>
                <a:lnTo>
                  <a:pt x="19" y="1"/>
                </a:lnTo>
                <a:lnTo>
                  <a:pt x="15" y="0"/>
                </a:lnTo>
                <a:lnTo>
                  <a:pt x="0" y="7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6" name="Freeform 275">
            <a:extLst>
              <a:ext uri="{FF2B5EF4-FFF2-40B4-BE49-F238E27FC236}">
                <a16:creationId xmlns:a16="http://schemas.microsoft.com/office/drawing/2014/main" id="{3E9550F2-6FB5-4C41-A4CF-3804E1234701}"/>
              </a:ext>
            </a:extLst>
          </p:cNvPr>
          <p:cNvSpPr>
            <a:spLocks/>
          </p:cNvSpPr>
          <p:nvPr/>
        </p:nvSpPr>
        <p:spPr bwMode="auto">
          <a:xfrm>
            <a:off x="8201131" y="3415219"/>
            <a:ext cx="47585" cy="82647"/>
          </a:xfrm>
          <a:custGeom>
            <a:avLst/>
            <a:gdLst>
              <a:gd name="T0" fmla="*/ 25 w 38"/>
              <a:gd name="T1" fmla="*/ 66 h 66"/>
              <a:gd name="T2" fmla="*/ 38 w 38"/>
              <a:gd name="T3" fmla="*/ 5 h 66"/>
              <a:gd name="T4" fmla="*/ 12 w 38"/>
              <a:gd name="T5" fmla="*/ 0 h 66"/>
              <a:gd name="T6" fmla="*/ 0 w 38"/>
              <a:gd name="T7" fmla="*/ 61 h 66"/>
              <a:gd name="T8" fmla="*/ 25 w 38"/>
              <a:gd name="T9" fmla="*/ 66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8" h="66">
                <a:moveTo>
                  <a:pt x="25" y="66"/>
                </a:moveTo>
                <a:lnTo>
                  <a:pt x="38" y="5"/>
                </a:lnTo>
                <a:lnTo>
                  <a:pt x="12" y="0"/>
                </a:lnTo>
                <a:lnTo>
                  <a:pt x="0" y="61"/>
                </a:lnTo>
                <a:lnTo>
                  <a:pt x="25" y="6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7" name="Freeform 276">
            <a:extLst>
              <a:ext uri="{FF2B5EF4-FFF2-40B4-BE49-F238E27FC236}">
                <a16:creationId xmlns:a16="http://schemas.microsoft.com/office/drawing/2014/main" id="{36F922F0-9701-489B-B2BA-7BDFE609E518}"/>
              </a:ext>
            </a:extLst>
          </p:cNvPr>
          <p:cNvSpPr>
            <a:spLocks/>
          </p:cNvSpPr>
          <p:nvPr/>
        </p:nvSpPr>
        <p:spPr bwMode="auto">
          <a:xfrm>
            <a:off x="8222418" y="3403949"/>
            <a:ext cx="21288" cy="21288"/>
          </a:xfrm>
          <a:custGeom>
            <a:avLst/>
            <a:gdLst>
              <a:gd name="T0" fmla="*/ 15 w 17"/>
              <a:gd name="T1" fmla="*/ 17 h 17"/>
              <a:gd name="T2" fmla="*/ 17 w 17"/>
              <a:gd name="T3" fmla="*/ 3 h 17"/>
              <a:gd name="T4" fmla="*/ 3 w 17"/>
              <a:gd name="T5" fmla="*/ 0 h 17"/>
              <a:gd name="T6" fmla="*/ 0 w 17"/>
              <a:gd name="T7" fmla="*/ 13 h 17"/>
              <a:gd name="T8" fmla="*/ 15 w 17"/>
              <a:gd name="T9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17">
                <a:moveTo>
                  <a:pt x="15" y="17"/>
                </a:moveTo>
                <a:lnTo>
                  <a:pt x="17" y="3"/>
                </a:lnTo>
                <a:lnTo>
                  <a:pt x="3" y="0"/>
                </a:lnTo>
                <a:lnTo>
                  <a:pt x="0" y="13"/>
                </a:lnTo>
                <a:lnTo>
                  <a:pt x="15" y="17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8" name="Freeform 277">
            <a:extLst>
              <a:ext uri="{FF2B5EF4-FFF2-40B4-BE49-F238E27FC236}">
                <a16:creationId xmlns:a16="http://schemas.microsoft.com/office/drawing/2014/main" id="{1EA49EEB-38C0-4B7A-A067-2829A5CEE58C}"/>
              </a:ext>
            </a:extLst>
          </p:cNvPr>
          <p:cNvSpPr>
            <a:spLocks/>
          </p:cNvSpPr>
          <p:nvPr/>
        </p:nvSpPr>
        <p:spPr bwMode="auto">
          <a:xfrm>
            <a:off x="8214905" y="3436507"/>
            <a:ext cx="25045" cy="11270"/>
          </a:xfrm>
          <a:custGeom>
            <a:avLst/>
            <a:gdLst>
              <a:gd name="T0" fmla="*/ 19 w 20"/>
              <a:gd name="T1" fmla="*/ 9 h 9"/>
              <a:gd name="T2" fmla="*/ 20 w 20"/>
              <a:gd name="T3" fmla="*/ 4 h 9"/>
              <a:gd name="T4" fmla="*/ 1 w 20"/>
              <a:gd name="T5" fmla="*/ 0 h 9"/>
              <a:gd name="T6" fmla="*/ 0 w 20"/>
              <a:gd name="T7" fmla="*/ 5 h 9"/>
              <a:gd name="T8" fmla="*/ 19 w 20"/>
              <a:gd name="T9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" h="9">
                <a:moveTo>
                  <a:pt x="19" y="9"/>
                </a:moveTo>
                <a:lnTo>
                  <a:pt x="20" y="4"/>
                </a:lnTo>
                <a:lnTo>
                  <a:pt x="1" y="0"/>
                </a:lnTo>
                <a:lnTo>
                  <a:pt x="0" y="5"/>
                </a:lnTo>
                <a:lnTo>
                  <a:pt x="19" y="9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9" name="Freeform 278">
            <a:extLst>
              <a:ext uri="{FF2B5EF4-FFF2-40B4-BE49-F238E27FC236}">
                <a16:creationId xmlns:a16="http://schemas.microsoft.com/office/drawing/2014/main" id="{A96ABCCE-9EBC-476C-A75B-A90237B48A8D}"/>
              </a:ext>
            </a:extLst>
          </p:cNvPr>
          <p:cNvSpPr>
            <a:spLocks/>
          </p:cNvSpPr>
          <p:nvPr/>
        </p:nvSpPr>
        <p:spPr bwMode="auto">
          <a:xfrm>
            <a:off x="8211149" y="3454038"/>
            <a:ext cx="25045" cy="11270"/>
          </a:xfrm>
          <a:custGeom>
            <a:avLst/>
            <a:gdLst>
              <a:gd name="T0" fmla="*/ 19 w 20"/>
              <a:gd name="T1" fmla="*/ 9 h 9"/>
              <a:gd name="T2" fmla="*/ 20 w 20"/>
              <a:gd name="T3" fmla="*/ 4 h 9"/>
              <a:gd name="T4" fmla="*/ 1 w 20"/>
              <a:gd name="T5" fmla="*/ 0 h 9"/>
              <a:gd name="T6" fmla="*/ 0 w 20"/>
              <a:gd name="T7" fmla="*/ 5 h 9"/>
              <a:gd name="T8" fmla="*/ 19 w 20"/>
              <a:gd name="T9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" h="9">
                <a:moveTo>
                  <a:pt x="19" y="9"/>
                </a:moveTo>
                <a:lnTo>
                  <a:pt x="20" y="4"/>
                </a:lnTo>
                <a:lnTo>
                  <a:pt x="1" y="0"/>
                </a:lnTo>
                <a:lnTo>
                  <a:pt x="0" y="5"/>
                </a:lnTo>
                <a:lnTo>
                  <a:pt x="19" y="9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0" name="Freeform 279">
            <a:extLst>
              <a:ext uri="{FF2B5EF4-FFF2-40B4-BE49-F238E27FC236}">
                <a16:creationId xmlns:a16="http://schemas.microsoft.com/office/drawing/2014/main" id="{5138868D-4F98-415F-94B8-97B134EE4B54}"/>
              </a:ext>
            </a:extLst>
          </p:cNvPr>
          <p:cNvSpPr>
            <a:spLocks/>
          </p:cNvSpPr>
          <p:nvPr/>
        </p:nvSpPr>
        <p:spPr bwMode="auto">
          <a:xfrm>
            <a:off x="8207392" y="3471570"/>
            <a:ext cx="25045" cy="10018"/>
          </a:xfrm>
          <a:custGeom>
            <a:avLst/>
            <a:gdLst>
              <a:gd name="T0" fmla="*/ 19 w 20"/>
              <a:gd name="T1" fmla="*/ 8 h 8"/>
              <a:gd name="T2" fmla="*/ 20 w 20"/>
              <a:gd name="T3" fmla="*/ 4 h 8"/>
              <a:gd name="T4" fmla="*/ 1 w 20"/>
              <a:gd name="T5" fmla="*/ 0 h 8"/>
              <a:gd name="T6" fmla="*/ 0 w 20"/>
              <a:gd name="T7" fmla="*/ 5 h 8"/>
              <a:gd name="T8" fmla="*/ 19 w 20"/>
              <a:gd name="T9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" h="8">
                <a:moveTo>
                  <a:pt x="19" y="8"/>
                </a:moveTo>
                <a:lnTo>
                  <a:pt x="20" y="4"/>
                </a:lnTo>
                <a:lnTo>
                  <a:pt x="1" y="0"/>
                </a:lnTo>
                <a:lnTo>
                  <a:pt x="0" y="5"/>
                </a:lnTo>
                <a:lnTo>
                  <a:pt x="19" y="8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1" name="Freeform 280">
            <a:extLst>
              <a:ext uri="{FF2B5EF4-FFF2-40B4-BE49-F238E27FC236}">
                <a16:creationId xmlns:a16="http://schemas.microsoft.com/office/drawing/2014/main" id="{DA8DDFAB-A33D-4E06-854E-E229CCB13C17}"/>
              </a:ext>
            </a:extLst>
          </p:cNvPr>
          <p:cNvSpPr>
            <a:spLocks/>
          </p:cNvSpPr>
          <p:nvPr/>
        </p:nvSpPr>
        <p:spPr bwMode="auto">
          <a:xfrm>
            <a:off x="8247463" y="3460299"/>
            <a:ext cx="8766" cy="6262"/>
          </a:xfrm>
          <a:custGeom>
            <a:avLst/>
            <a:gdLst>
              <a:gd name="T0" fmla="*/ 6 w 18"/>
              <a:gd name="T1" fmla="*/ 1 h 12"/>
              <a:gd name="T2" fmla="*/ 0 w 18"/>
              <a:gd name="T3" fmla="*/ 4 h 12"/>
              <a:gd name="T4" fmla="*/ 4 w 18"/>
              <a:gd name="T5" fmla="*/ 9 h 12"/>
              <a:gd name="T6" fmla="*/ 12 w 18"/>
              <a:gd name="T7" fmla="*/ 11 h 12"/>
              <a:gd name="T8" fmla="*/ 18 w 18"/>
              <a:gd name="T9" fmla="*/ 8 h 12"/>
              <a:gd name="T10" fmla="*/ 18 w 18"/>
              <a:gd name="T11" fmla="*/ 8 h 12"/>
              <a:gd name="T12" fmla="*/ 14 w 18"/>
              <a:gd name="T13" fmla="*/ 3 h 12"/>
              <a:gd name="T14" fmla="*/ 6 w 18"/>
              <a:gd name="T15" fmla="*/ 1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12">
                <a:moveTo>
                  <a:pt x="6" y="1"/>
                </a:moveTo>
                <a:cubicBezTo>
                  <a:pt x="3" y="0"/>
                  <a:pt x="1" y="2"/>
                  <a:pt x="0" y="4"/>
                </a:cubicBezTo>
                <a:cubicBezTo>
                  <a:pt x="0" y="6"/>
                  <a:pt x="1" y="9"/>
                  <a:pt x="4" y="9"/>
                </a:cubicBezTo>
                <a:cubicBezTo>
                  <a:pt x="12" y="11"/>
                  <a:pt x="12" y="11"/>
                  <a:pt x="12" y="11"/>
                </a:cubicBezTo>
                <a:cubicBezTo>
                  <a:pt x="15" y="12"/>
                  <a:pt x="17" y="10"/>
                  <a:pt x="18" y="8"/>
                </a:cubicBezTo>
                <a:cubicBezTo>
                  <a:pt x="18" y="8"/>
                  <a:pt x="18" y="8"/>
                  <a:pt x="18" y="8"/>
                </a:cubicBezTo>
                <a:cubicBezTo>
                  <a:pt x="18" y="6"/>
                  <a:pt x="17" y="3"/>
                  <a:pt x="14" y="3"/>
                </a:cubicBezTo>
                <a:lnTo>
                  <a:pt x="6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2" name="Freeform 281">
            <a:extLst>
              <a:ext uri="{FF2B5EF4-FFF2-40B4-BE49-F238E27FC236}">
                <a16:creationId xmlns:a16="http://schemas.microsoft.com/office/drawing/2014/main" id="{C696BF74-B199-41EB-8A8C-7178172D919D}"/>
              </a:ext>
            </a:extLst>
          </p:cNvPr>
          <p:cNvSpPr>
            <a:spLocks/>
          </p:cNvSpPr>
          <p:nvPr/>
        </p:nvSpPr>
        <p:spPr bwMode="auto">
          <a:xfrm>
            <a:off x="8248716" y="3455290"/>
            <a:ext cx="8766" cy="6262"/>
          </a:xfrm>
          <a:custGeom>
            <a:avLst/>
            <a:gdLst>
              <a:gd name="T0" fmla="*/ 6 w 18"/>
              <a:gd name="T1" fmla="*/ 0 h 11"/>
              <a:gd name="T2" fmla="*/ 0 w 18"/>
              <a:gd name="T3" fmla="*/ 3 h 11"/>
              <a:gd name="T4" fmla="*/ 4 w 18"/>
              <a:gd name="T5" fmla="*/ 9 h 11"/>
              <a:gd name="T6" fmla="*/ 12 w 18"/>
              <a:gd name="T7" fmla="*/ 11 h 11"/>
              <a:gd name="T8" fmla="*/ 18 w 18"/>
              <a:gd name="T9" fmla="*/ 8 h 11"/>
              <a:gd name="T10" fmla="*/ 18 w 18"/>
              <a:gd name="T11" fmla="*/ 8 h 11"/>
              <a:gd name="T12" fmla="*/ 15 w 18"/>
              <a:gd name="T13" fmla="*/ 2 h 11"/>
              <a:gd name="T14" fmla="*/ 6 w 18"/>
              <a:gd name="T15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11">
                <a:moveTo>
                  <a:pt x="6" y="0"/>
                </a:moveTo>
                <a:cubicBezTo>
                  <a:pt x="3" y="0"/>
                  <a:pt x="1" y="1"/>
                  <a:pt x="0" y="3"/>
                </a:cubicBezTo>
                <a:cubicBezTo>
                  <a:pt x="0" y="6"/>
                  <a:pt x="1" y="8"/>
                  <a:pt x="4" y="9"/>
                </a:cubicBezTo>
                <a:cubicBezTo>
                  <a:pt x="12" y="11"/>
                  <a:pt x="12" y="11"/>
                  <a:pt x="12" y="11"/>
                </a:cubicBezTo>
                <a:cubicBezTo>
                  <a:pt x="15" y="11"/>
                  <a:pt x="17" y="10"/>
                  <a:pt x="18" y="8"/>
                </a:cubicBezTo>
                <a:cubicBezTo>
                  <a:pt x="18" y="8"/>
                  <a:pt x="18" y="8"/>
                  <a:pt x="18" y="8"/>
                </a:cubicBezTo>
                <a:cubicBezTo>
                  <a:pt x="18" y="5"/>
                  <a:pt x="17" y="3"/>
                  <a:pt x="15" y="2"/>
                </a:cubicBezTo>
                <a:lnTo>
                  <a:pt x="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3" name="Freeform 282">
            <a:extLst>
              <a:ext uri="{FF2B5EF4-FFF2-40B4-BE49-F238E27FC236}">
                <a16:creationId xmlns:a16="http://schemas.microsoft.com/office/drawing/2014/main" id="{BBA5B9FD-B2F4-4F99-8941-A32E1B7F27D3}"/>
              </a:ext>
            </a:extLst>
          </p:cNvPr>
          <p:cNvSpPr>
            <a:spLocks/>
          </p:cNvSpPr>
          <p:nvPr/>
        </p:nvSpPr>
        <p:spPr bwMode="auto">
          <a:xfrm>
            <a:off x="8246211" y="3464056"/>
            <a:ext cx="10018" cy="6262"/>
          </a:xfrm>
          <a:custGeom>
            <a:avLst/>
            <a:gdLst>
              <a:gd name="T0" fmla="*/ 0 w 18"/>
              <a:gd name="T1" fmla="*/ 3 h 11"/>
              <a:gd name="T2" fmla="*/ 4 w 18"/>
              <a:gd name="T3" fmla="*/ 9 h 11"/>
              <a:gd name="T4" fmla="*/ 12 w 18"/>
              <a:gd name="T5" fmla="*/ 11 h 11"/>
              <a:gd name="T6" fmla="*/ 18 w 18"/>
              <a:gd name="T7" fmla="*/ 8 h 11"/>
              <a:gd name="T8" fmla="*/ 18 w 18"/>
              <a:gd name="T9" fmla="*/ 8 h 11"/>
              <a:gd name="T10" fmla="*/ 14 w 18"/>
              <a:gd name="T11" fmla="*/ 2 h 11"/>
              <a:gd name="T12" fmla="*/ 6 w 18"/>
              <a:gd name="T13" fmla="*/ 0 h 11"/>
              <a:gd name="T14" fmla="*/ 0 w 18"/>
              <a:gd name="T15" fmla="*/ 3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11">
                <a:moveTo>
                  <a:pt x="0" y="3"/>
                </a:moveTo>
                <a:cubicBezTo>
                  <a:pt x="0" y="6"/>
                  <a:pt x="1" y="8"/>
                  <a:pt x="4" y="9"/>
                </a:cubicBezTo>
                <a:cubicBezTo>
                  <a:pt x="12" y="11"/>
                  <a:pt x="12" y="11"/>
                  <a:pt x="12" y="11"/>
                </a:cubicBezTo>
                <a:cubicBezTo>
                  <a:pt x="15" y="11"/>
                  <a:pt x="17" y="10"/>
                  <a:pt x="18" y="8"/>
                </a:cubicBezTo>
                <a:cubicBezTo>
                  <a:pt x="18" y="8"/>
                  <a:pt x="18" y="8"/>
                  <a:pt x="18" y="8"/>
                </a:cubicBezTo>
                <a:cubicBezTo>
                  <a:pt x="18" y="5"/>
                  <a:pt x="17" y="3"/>
                  <a:pt x="14" y="2"/>
                </a:cubicBezTo>
                <a:cubicBezTo>
                  <a:pt x="6" y="0"/>
                  <a:pt x="6" y="0"/>
                  <a:pt x="6" y="0"/>
                </a:cubicBezTo>
                <a:cubicBezTo>
                  <a:pt x="3" y="0"/>
                  <a:pt x="1" y="1"/>
                  <a:pt x="0" y="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4" name="Freeform 283">
            <a:extLst>
              <a:ext uri="{FF2B5EF4-FFF2-40B4-BE49-F238E27FC236}">
                <a16:creationId xmlns:a16="http://schemas.microsoft.com/office/drawing/2014/main" id="{D2DFACDF-E5F6-4925-AF41-46ADD1470FC9}"/>
              </a:ext>
            </a:extLst>
          </p:cNvPr>
          <p:cNvSpPr>
            <a:spLocks/>
          </p:cNvSpPr>
          <p:nvPr/>
        </p:nvSpPr>
        <p:spPr bwMode="auto">
          <a:xfrm>
            <a:off x="8244959" y="3469065"/>
            <a:ext cx="10018" cy="6262"/>
          </a:xfrm>
          <a:custGeom>
            <a:avLst/>
            <a:gdLst>
              <a:gd name="T0" fmla="*/ 6 w 18"/>
              <a:gd name="T1" fmla="*/ 1 h 12"/>
              <a:gd name="T2" fmla="*/ 0 w 18"/>
              <a:gd name="T3" fmla="*/ 4 h 12"/>
              <a:gd name="T4" fmla="*/ 3 w 18"/>
              <a:gd name="T5" fmla="*/ 9 h 12"/>
              <a:gd name="T6" fmla="*/ 12 w 18"/>
              <a:gd name="T7" fmla="*/ 12 h 12"/>
              <a:gd name="T8" fmla="*/ 18 w 18"/>
              <a:gd name="T9" fmla="*/ 8 h 12"/>
              <a:gd name="T10" fmla="*/ 14 w 18"/>
              <a:gd name="T11" fmla="*/ 3 h 12"/>
              <a:gd name="T12" fmla="*/ 6 w 18"/>
              <a:gd name="T13" fmla="*/ 1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" h="12">
                <a:moveTo>
                  <a:pt x="6" y="1"/>
                </a:moveTo>
                <a:cubicBezTo>
                  <a:pt x="3" y="0"/>
                  <a:pt x="1" y="2"/>
                  <a:pt x="0" y="4"/>
                </a:cubicBezTo>
                <a:cubicBezTo>
                  <a:pt x="0" y="6"/>
                  <a:pt x="1" y="9"/>
                  <a:pt x="3" y="9"/>
                </a:cubicBezTo>
                <a:cubicBezTo>
                  <a:pt x="12" y="12"/>
                  <a:pt x="12" y="12"/>
                  <a:pt x="12" y="12"/>
                </a:cubicBezTo>
                <a:cubicBezTo>
                  <a:pt x="15" y="12"/>
                  <a:pt x="17" y="11"/>
                  <a:pt x="18" y="8"/>
                </a:cubicBezTo>
                <a:cubicBezTo>
                  <a:pt x="18" y="6"/>
                  <a:pt x="17" y="3"/>
                  <a:pt x="14" y="3"/>
                </a:cubicBezTo>
                <a:lnTo>
                  <a:pt x="6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5" name="Freeform 284">
            <a:extLst>
              <a:ext uri="{FF2B5EF4-FFF2-40B4-BE49-F238E27FC236}">
                <a16:creationId xmlns:a16="http://schemas.microsoft.com/office/drawing/2014/main" id="{84C8F5D2-DE10-4F8C-BF89-F4E98828CFC4}"/>
              </a:ext>
            </a:extLst>
          </p:cNvPr>
          <p:cNvSpPr>
            <a:spLocks/>
          </p:cNvSpPr>
          <p:nvPr/>
        </p:nvSpPr>
        <p:spPr bwMode="auto">
          <a:xfrm>
            <a:off x="8168573" y="3439012"/>
            <a:ext cx="10018" cy="10018"/>
          </a:xfrm>
          <a:custGeom>
            <a:avLst/>
            <a:gdLst>
              <a:gd name="T0" fmla="*/ 1 w 19"/>
              <a:gd name="T1" fmla="*/ 18 h 20"/>
              <a:gd name="T2" fmla="*/ 8 w 19"/>
              <a:gd name="T3" fmla="*/ 18 h 20"/>
              <a:gd name="T4" fmla="*/ 18 w 19"/>
              <a:gd name="T5" fmla="*/ 8 h 20"/>
              <a:gd name="T6" fmla="*/ 18 w 19"/>
              <a:gd name="T7" fmla="*/ 2 h 20"/>
              <a:gd name="T8" fmla="*/ 18 w 19"/>
              <a:gd name="T9" fmla="*/ 2 h 20"/>
              <a:gd name="T10" fmla="*/ 11 w 19"/>
              <a:gd name="T11" fmla="*/ 2 h 20"/>
              <a:gd name="T12" fmla="*/ 1 w 19"/>
              <a:gd name="T13" fmla="*/ 12 h 20"/>
              <a:gd name="T14" fmla="*/ 1 w 19"/>
              <a:gd name="T15" fmla="*/ 18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9" h="20">
                <a:moveTo>
                  <a:pt x="1" y="18"/>
                </a:moveTo>
                <a:cubicBezTo>
                  <a:pt x="3" y="20"/>
                  <a:pt x="6" y="20"/>
                  <a:pt x="8" y="18"/>
                </a:cubicBezTo>
                <a:cubicBezTo>
                  <a:pt x="18" y="8"/>
                  <a:pt x="18" y="8"/>
                  <a:pt x="18" y="8"/>
                </a:cubicBezTo>
                <a:cubicBezTo>
                  <a:pt x="19" y="6"/>
                  <a:pt x="19" y="3"/>
                  <a:pt x="18" y="2"/>
                </a:cubicBezTo>
                <a:cubicBezTo>
                  <a:pt x="18" y="2"/>
                  <a:pt x="18" y="2"/>
                  <a:pt x="18" y="2"/>
                </a:cubicBezTo>
                <a:cubicBezTo>
                  <a:pt x="16" y="0"/>
                  <a:pt x="13" y="0"/>
                  <a:pt x="11" y="2"/>
                </a:cubicBezTo>
                <a:cubicBezTo>
                  <a:pt x="1" y="12"/>
                  <a:pt x="1" y="12"/>
                  <a:pt x="1" y="12"/>
                </a:cubicBezTo>
                <a:cubicBezTo>
                  <a:pt x="0" y="14"/>
                  <a:pt x="0" y="16"/>
                  <a:pt x="1" y="1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6" name="Freeform 285">
            <a:extLst>
              <a:ext uri="{FF2B5EF4-FFF2-40B4-BE49-F238E27FC236}">
                <a16:creationId xmlns:a16="http://schemas.microsoft.com/office/drawing/2014/main" id="{25D6CD00-3AF3-474C-A973-1F34C001A904}"/>
              </a:ext>
            </a:extLst>
          </p:cNvPr>
          <p:cNvSpPr>
            <a:spLocks/>
          </p:cNvSpPr>
          <p:nvPr/>
        </p:nvSpPr>
        <p:spPr bwMode="auto">
          <a:xfrm>
            <a:off x="8164816" y="3436507"/>
            <a:ext cx="27549" cy="17531"/>
          </a:xfrm>
          <a:custGeom>
            <a:avLst/>
            <a:gdLst>
              <a:gd name="T0" fmla="*/ 2 w 22"/>
              <a:gd name="T1" fmla="*/ 0 h 14"/>
              <a:gd name="T2" fmla="*/ 22 w 22"/>
              <a:gd name="T3" fmla="*/ 10 h 14"/>
              <a:gd name="T4" fmla="*/ 21 w 22"/>
              <a:gd name="T5" fmla="*/ 14 h 14"/>
              <a:gd name="T6" fmla="*/ 0 w 22"/>
              <a:gd name="T7" fmla="*/ 4 h 14"/>
              <a:gd name="T8" fmla="*/ 2 w 22"/>
              <a:gd name="T9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" h="14">
                <a:moveTo>
                  <a:pt x="2" y="0"/>
                </a:moveTo>
                <a:lnTo>
                  <a:pt x="22" y="10"/>
                </a:lnTo>
                <a:lnTo>
                  <a:pt x="21" y="14"/>
                </a:lnTo>
                <a:lnTo>
                  <a:pt x="0" y="4"/>
                </a:lnTo>
                <a:lnTo>
                  <a:pt x="2" y="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7" name="Freeform 286">
            <a:extLst>
              <a:ext uri="{FF2B5EF4-FFF2-40B4-BE49-F238E27FC236}">
                <a16:creationId xmlns:a16="http://schemas.microsoft.com/office/drawing/2014/main" id="{02486B9F-9821-4DA4-8206-08D54C4F3D56}"/>
              </a:ext>
            </a:extLst>
          </p:cNvPr>
          <p:cNvSpPr>
            <a:spLocks/>
          </p:cNvSpPr>
          <p:nvPr/>
        </p:nvSpPr>
        <p:spPr bwMode="auto">
          <a:xfrm>
            <a:off x="8191113" y="3449030"/>
            <a:ext cx="5009" cy="5009"/>
          </a:xfrm>
          <a:custGeom>
            <a:avLst/>
            <a:gdLst>
              <a:gd name="T0" fmla="*/ 4 w 4"/>
              <a:gd name="T1" fmla="*/ 4 h 4"/>
              <a:gd name="T2" fmla="*/ 0 w 4"/>
              <a:gd name="T3" fmla="*/ 4 h 4"/>
              <a:gd name="T4" fmla="*/ 1 w 4"/>
              <a:gd name="T5" fmla="*/ 0 h 4"/>
              <a:gd name="T6" fmla="*/ 4 w 4"/>
              <a:gd name="T7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4">
                <a:moveTo>
                  <a:pt x="4" y="4"/>
                </a:moveTo>
                <a:lnTo>
                  <a:pt x="0" y="4"/>
                </a:lnTo>
                <a:lnTo>
                  <a:pt x="1" y="0"/>
                </a:lnTo>
                <a:lnTo>
                  <a:pt x="4" y="4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8" name="Freeform 287">
            <a:extLst>
              <a:ext uri="{FF2B5EF4-FFF2-40B4-BE49-F238E27FC236}">
                <a16:creationId xmlns:a16="http://schemas.microsoft.com/office/drawing/2014/main" id="{321E3549-36C1-447B-B3A6-D7844FD09913}"/>
              </a:ext>
            </a:extLst>
          </p:cNvPr>
          <p:cNvSpPr>
            <a:spLocks/>
          </p:cNvSpPr>
          <p:nvPr/>
        </p:nvSpPr>
        <p:spPr bwMode="auto">
          <a:xfrm>
            <a:off x="8168573" y="3445272"/>
            <a:ext cx="12522" cy="17531"/>
          </a:xfrm>
          <a:custGeom>
            <a:avLst/>
            <a:gdLst>
              <a:gd name="T0" fmla="*/ 5 w 23"/>
              <a:gd name="T1" fmla="*/ 35 h 35"/>
              <a:gd name="T2" fmla="*/ 0 w 23"/>
              <a:gd name="T3" fmla="*/ 30 h 35"/>
              <a:gd name="T4" fmla="*/ 0 w 23"/>
              <a:gd name="T5" fmla="*/ 4 h 35"/>
              <a:gd name="T6" fmla="*/ 5 w 23"/>
              <a:gd name="T7" fmla="*/ 0 h 35"/>
              <a:gd name="T8" fmla="*/ 18 w 23"/>
              <a:gd name="T9" fmla="*/ 0 h 35"/>
              <a:gd name="T10" fmla="*/ 23 w 23"/>
              <a:gd name="T11" fmla="*/ 4 h 35"/>
              <a:gd name="T12" fmla="*/ 23 w 23"/>
              <a:gd name="T13" fmla="*/ 30 h 35"/>
              <a:gd name="T14" fmla="*/ 18 w 23"/>
              <a:gd name="T15" fmla="*/ 35 h 35"/>
              <a:gd name="T16" fmla="*/ 5 w 23"/>
              <a:gd name="T17" fmla="*/ 35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" h="35">
                <a:moveTo>
                  <a:pt x="5" y="35"/>
                </a:moveTo>
                <a:cubicBezTo>
                  <a:pt x="2" y="35"/>
                  <a:pt x="0" y="33"/>
                  <a:pt x="0" y="30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5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21" y="0"/>
                  <a:pt x="23" y="2"/>
                  <a:pt x="23" y="4"/>
                </a:cubicBezTo>
                <a:cubicBezTo>
                  <a:pt x="23" y="30"/>
                  <a:pt x="23" y="30"/>
                  <a:pt x="23" y="30"/>
                </a:cubicBezTo>
                <a:cubicBezTo>
                  <a:pt x="23" y="33"/>
                  <a:pt x="21" y="35"/>
                  <a:pt x="18" y="35"/>
                </a:cubicBezTo>
                <a:lnTo>
                  <a:pt x="5" y="3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9" name="Freeform 288">
            <a:extLst>
              <a:ext uri="{FF2B5EF4-FFF2-40B4-BE49-F238E27FC236}">
                <a16:creationId xmlns:a16="http://schemas.microsoft.com/office/drawing/2014/main" id="{47B266FF-2DCA-4650-BEC1-CC91232ED29C}"/>
              </a:ext>
            </a:extLst>
          </p:cNvPr>
          <p:cNvSpPr>
            <a:spLocks/>
          </p:cNvSpPr>
          <p:nvPr/>
        </p:nvSpPr>
        <p:spPr bwMode="auto">
          <a:xfrm>
            <a:off x="8176086" y="3449030"/>
            <a:ext cx="10018" cy="5009"/>
          </a:xfrm>
          <a:custGeom>
            <a:avLst/>
            <a:gdLst>
              <a:gd name="T0" fmla="*/ 4 w 18"/>
              <a:gd name="T1" fmla="*/ 0 h 9"/>
              <a:gd name="T2" fmla="*/ 0 w 18"/>
              <a:gd name="T3" fmla="*/ 5 h 9"/>
              <a:gd name="T4" fmla="*/ 4 w 18"/>
              <a:gd name="T5" fmla="*/ 9 h 9"/>
              <a:gd name="T6" fmla="*/ 13 w 18"/>
              <a:gd name="T7" fmla="*/ 9 h 9"/>
              <a:gd name="T8" fmla="*/ 18 w 18"/>
              <a:gd name="T9" fmla="*/ 5 h 9"/>
              <a:gd name="T10" fmla="*/ 18 w 18"/>
              <a:gd name="T11" fmla="*/ 5 h 9"/>
              <a:gd name="T12" fmla="*/ 13 w 18"/>
              <a:gd name="T13" fmla="*/ 0 h 9"/>
              <a:gd name="T14" fmla="*/ 4 w 18"/>
              <a:gd name="T15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9">
                <a:moveTo>
                  <a:pt x="4" y="0"/>
                </a:moveTo>
                <a:cubicBezTo>
                  <a:pt x="2" y="0"/>
                  <a:pt x="0" y="2"/>
                  <a:pt x="0" y="5"/>
                </a:cubicBezTo>
                <a:cubicBezTo>
                  <a:pt x="0" y="7"/>
                  <a:pt x="2" y="9"/>
                  <a:pt x="4" y="9"/>
                </a:cubicBezTo>
                <a:cubicBezTo>
                  <a:pt x="13" y="9"/>
                  <a:pt x="13" y="9"/>
                  <a:pt x="13" y="9"/>
                </a:cubicBezTo>
                <a:cubicBezTo>
                  <a:pt x="16" y="9"/>
                  <a:pt x="18" y="7"/>
                  <a:pt x="18" y="5"/>
                </a:cubicBezTo>
                <a:cubicBezTo>
                  <a:pt x="18" y="5"/>
                  <a:pt x="18" y="5"/>
                  <a:pt x="18" y="5"/>
                </a:cubicBezTo>
                <a:cubicBezTo>
                  <a:pt x="18" y="2"/>
                  <a:pt x="16" y="0"/>
                  <a:pt x="13" y="0"/>
                </a:cubicBezTo>
                <a:lnTo>
                  <a:pt x="4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0" name="Freeform 289">
            <a:extLst>
              <a:ext uri="{FF2B5EF4-FFF2-40B4-BE49-F238E27FC236}">
                <a16:creationId xmlns:a16="http://schemas.microsoft.com/office/drawing/2014/main" id="{30682C32-6E39-4757-9D4A-DC3BC9B8FB0A}"/>
              </a:ext>
            </a:extLst>
          </p:cNvPr>
          <p:cNvSpPr>
            <a:spLocks/>
          </p:cNvSpPr>
          <p:nvPr/>
        </p:nvSpPr>
        <p:spPr bwMode="auto">
          <a:xfrm>
            <a:off x="8176086" y="3445272"/>
            <a:ext cx="13775" cy="3757"/>
          </a:xfrm>
          <a:custGeom>
            <a:avLst/>
            <a:gdLst>
              <a:gd name="T0" fmla="*/ 4 w 26"/>
              <a:gd name="T1" fmla="*/ 0 h 8"/>
              <a:gd name="T2" fmla="*/ 0 w 26"/>
              <a:gd name="T3" fmla="*/ 4 h 8"/>
              <a:gd name="T4" fmla="*/ 4 w 26"/>
              <a:gd name="T5" fmla="*/ 8 h 8"/>
              <a:gd name="T6" fmla="*/ 22 w 26"/>
              <a:gd name="T7" fmla="*/ 8 h 8"/>
              <a:gd name="T8" fmla="*/ 26 w 26"/>
              <a:gd name="T9" fmla="*/ 4 h 8"/>
              <a:gd name="T10" fmla="*/ 26 w 26"/>
              <a:gd name="T11" fmla="*/ 4 h 8"/>
              <a:gd name="T12" fmla="*/ 22 w 26"/>
              <a:gd name="T13" fmla="*/ 0 h 8"/>
              <a:gd name="T14" fmla="*/ 4 w 26"/>
              <a:gd name="T15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6" h="8">
                <a:moveTo>
                  <a:pt x="4" y="0"/>
                </a:moveTo>
                <a:cubicBezTo>
                  <a:pt x="2" y="0"/>
                  <a:pt x="0" y="2"/>
                  <a:pt x="0" y="4"/>
                </a:cubicBezTo>
                <a:cubicBezTo>
                  <a:pt x="0" y="6"/>
                  <a:pt x="2" y="8"/>
                  <a:pt x="4" y="8"/>
                </a:cubicBezTo>
                <a:cubicBezTo>
                  <a:pt x="22" y="8"/>
                  <a:pt x="22" y="8"/>
                  <a:pt x="22" y="8"/>
                </a:cubicBezTo>
                <a:cubicBezTo>
                  <a:pt x="24" y="8"/>
                  <a:pt x="26" y="6"/>
                  <a:pt x="26" y="4"/>
                </a:cubicBezTo>
                <a:cubicBezTo>
                  <a:pt x="26" y="4"/>
                  <a:pt x="26" y="4"/>
                  <a:pt x="26" y="4"/>
                </a:cubicBezTo>
                <a:cubicBezTo>
                  <a:pt x="26" y="1"/>
                  <a:pt x="24" y="0"/>
                  <a:pt x="22" y="0"/>
                </a:cubicBezTo>
                <a:lnTo>
                  <a:pt x="4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1" name="Freeform 290">
            <a:extLst>
              <a:ext uri="{FF2B5EF4-FFF2-40B4-BE49-F238E27FC236}">
                <a16:creationId xmlns:a16="http://schemas.microsoft.com/office/drawing/2014/main" id="{4116E2A9-82A5-4234-BDEB-00E7C673C85C}"/>
              </a:ext>
            </a:extLst>
          </p:cNvPr>
          <p:cNvSpPr>
            <a:spLocks/>
          </p:cNvSpPr>
          <p:nvPr/>
        </p:nvSpPr>
        <p:spPr bwMode="auto">
          <a:xfrm>
            <a:off x="8176086" y="3454038"/>
            <a:ext cx="10018" cy="3757"/>
          </a:xfrm>
          <a:custGeom>
            <a:avLst/>
            <a:gdLst>
              <a:gd name="T0" fmla="*/ 0 w 18"/>
              <a:gd name="T1" fmla="*/ 5 h 9"/>
              <a:gd name="T2" fmla="*/ 4 w 18"/>
              <a:gd name="T3" fmla="*/ 9 h 9"/>
              <a:gd name="T4" fmla="*/ 13 w 18"/>
              <a:gd name="T5" fmla="*/ 9 h 9"/>
              <a:gd name="T6" fmla="*/ 18 w 18"/>
              <a:gd name="T7" fmla="*/ 5 h 9"/>
              <a:gd name="T8" fmla="*/ 18 w 18"/>
              <a:gd name="T9" fmla="*/ 5 h 9"/>
              <a:gd name="T10" fmla="*/ 13 w 18"/>
              <a:gd name="T11" fmla="*/ 0 h 9"/>
              <a:gd name="T12" fmla="*/ 4 w 18"/>
              <a:gd name="T13" fmla="*/ 0 h 9"/>
              <a:gd name="T14" fmla="*/ 0 w 18"/>
              <a:gd name="T15" fmla="*/ 5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9">
                <a:moveTo>
                  <a:pt x="0" y="5"/>
                </a:moveTo>
                <a:cubicBezTo>
                  <a:pt x="0" y="7"/>
                  <a:pt x="2" y="9"/>
                  <a:pt x="4" y="9"/>
                </a:cubicBezTo>
                <a:cubicBezTo>
                  <a:pt x="13" y="9"/>
                  <a:pt x="13" y="9"/>
                  <a:pt x="13" y="9"/>
                </a:cubicBezTo>
                <a:cubicBezTo>
                  <a:pt x="16" y="9"/>
                  <a:pt x="18" y="7"/>
                  <a:pt x="18" y="5"/>
                </a:cubicBezTo>
                <a:cubicBezTo>
                  <a:pt x="18" y="5"/>
                  <a:pt x="18" y="5"/>
                  <a:pt x="18" y="5"/>
                </a:cubicBezTo>
                <a:cubicBezTo>
                  <a:pt x="18" y="2"/>
                  <a:pt x="16" y="0"/>
                  <a:pt x="13" y="0"/>
                </a:cubicBez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2" name="Freeform 291">
            <a:extLst>
              <a:ext uri="{FF2B5EF4-FFF2-40B4-BE49-F238E27FC236}">
                <a16:creationId xmlns:a16="http://schemas.microsoft.com/office/drawing/2014/main" id="{9E8463FD-7467-4310-BB94-0907F0BF4452}"/>
              </a:ext>
            </a:extLst>
          </p:cNvPr>
          <p:cNvSpPr>
            <a:spLocks/>
          </p:cNvSpPr>
          <p:nvPr/>
        </p:nvSpPr>
        <p:spPr bwMode="auto">
          <a:xfrm>
            <a:off x="8176086" y="3457795"/>
            <a:ext cx="10018" cy="5009"/>
          </a:xfrm>
          <a:custGeom>
            <a:avLst/>
            <a:gdLst>
              <a:gd name="T0" fmla="*/ 4 w 18"/>
              <a:gd name="T1" fmla="*/ 0 h 9"/>
              <a:gd name="T2" fmla="*/ 0 w 18"/>
              <a:gd name="T3" fmla="*/ 4 h 9"/>
              <a:gd name="T4" fmla="*/ 4 w 18"/>
              <a:gd name="T5" fmla="*/ 9 h 9"/>
              <a:gd name="T6" fmla="*/ 13 w 18"/>
              <a:gd name="T7" fmla="*/ 9 h 9"/>
              <a:gd name="T8" fmla="*/ 18 w 18"/>
              <a:gd name="T9" fmla="*/ 4 h 9"/>
              <a:gd name="T10" fmla="*/ 13 w 18"/>
              <a:gd name="T11" fmla="*/ 0 h 9"/>
              <a:gd name="T12" fmla="*/ 4 w 18"/>
              <a:gd name="T13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" h="9">
                <a:moveTo>
                  <a:pt x="4" y="0"/>
                </a:moveTo>
                <a:cubicBezTo>
                  <a:pt x="2" y="0"/>
                  <a:pt x="0" y="2"/>
                  <a:pt x="0" y="4"/>
                </a:cubicBezTo>
                <a:cubicBezTo>
                  <a:pt x="0" y="7"/>
                  <a:pt x="2" y="9"/>
                  <a:pt x="4" y="9"/>
                </a:cubicBezTo>
                <a:cubicBezTo>
                  <a:pt x="13" y="9"/>
                  <a:pt x="13" y="9"/>
                  <a:pt x="13" y="9"/>
                </a:cubicBezTo>
                <a:cubicBezTo>
                  <a:pt x="16" y="9"/>
                  <a:pt x="18" y="7"/>
                  <a:pt x="18" y="4"/>
                </a:cubicBezTo>
                <a:cubicBezTo>
                  <a:pt x="18" y="2"/>
                  <a:pt x="16" y="0"/>
                  <a:pt x="13" y="0"/>
                </a:cubicBezTo>
                <a:lnTo>
                  <a:pt x="4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3" name="Freeform 292">
            <a:extLst>
              <a:ext uri="{FF2B5EF4-FFF2-40B4-BE49-F238E27FC236}">
                <a16:creationId xmlns:a16="http://schemas.microsoft.com/office/drawing/2014/main" id="{7A2C34C3-A4AE-43E9-BA73-45862A75D2A4}"/>
              </a:ext>
            </a:extLst>
          </p:cNvPr>
          <p:cNvSpPr>
            <a:spLocks/>
          </p:cNvSpPr>
          <p:nvPr/>
        </p:nvSpPr>
        <p:spPr bwMode="auto">
          <a:xfrm>
            <a:off x="7994512" y="3381409"/>
            <a:ext cx="88909" cy="363148"/>
          </a:xfrm>
          <a:custGeom>
            <a:avLst/>
            <a:gdLst>
              <a:gd name="T0" fmla="*/ 110 w 172"/>
              <a:gd name="T1" fmla="*/ 1 h 698"/>
              <a:gd name="T2" fmla="*/ 171 w 172"/>
              <a:gd name="T3" fmla="*/ 184 h 698"/>
              <a:gd name="T4" fmla="*/ 171 w 172"/>
              <a:gd name="T5" fmla="*/ 450 h 698"/>
              <a:gd name="T6" fmla="*/ 147 w 172"/>
              <a:gd name="T7" fmla="*/ 698 h 698"/>
              <a:gd name="T8" fmla="*/ 0 w 172"/>
              <a:gd name="T9" fmla="*/ 698 h 698"/>
              <a:gd name="T10" fmla="*/ 20 w 172"/>
              <a:gd name="T11" fmla="*/ 420 h 698"/>
              <a:gd name="T12" fmla="*/ 16 w 172"/>
              <a:gd name="T13" fmla="*/ 48 h 698"/>
              <a:gd name="T14" fmla="*/ 51 w 172"/>
              <a:gd name="T15" fmla="*/ 0 h 698"/>
              <a:gd name="T16" fmla="*/ 110 w 172"/>
              <a:gd name="T17" fmla="*/ 1 h 6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2" h="698">
                <a:moveTo>
                  <a:pt x="110" y="1"/>
                </a:moveTo>
                <a:cubicBezTo>
                  <a:pt x="171" y="184"/>
                  <a:pt x="171" y="184"/>
                  <a:pt x="171" y="184"/>
                </a:cubicBezTo>
                <a:cubicBezTo>
                  <a:pt x="171" y="184"/>
                  <a:pt x="172" y="416"/>
                  <a:pt x="171" y="450"/>
                </a:cubicBezTo>
                <a:cubicBezTo>
                  <a:pt x="170" y="483"/>
                  <a:pt x="147" y="698"/>
                  <a:pt x="147" y="698"/>
                </a:cubicBezTo>
                <a:cubicBezTo>
                  <a:pt x="147" y="698"/>
                  <a:pt x="11" y="698"/>
                  <a:pt x="0" y="698"/>
                </a:cubicBezTo>
                <a:cubicBezTo>
                  <a:pt x="8" y="639"/>
                  <a:pt x="20" y="485"/>
                  <a:pt x="20" y="420"/>
                </a:cubicBezTo>
                <a:cubicBezTo>
                  <a:pt x="20" y="362"/>
                  <a:pt x="20" y="73"/>
                  <a:pt x="16" y="48"/>
                </a:cubicBezTo>
                <a:cubicBezTo>
                  <a:pt x="12" y="22"/>
                  <a:pt x="31" y="0"/>
                  <a:pt x="51" y="0"/>
                </a:cubicBezTo>
                <a:cubicBezTo>
                  <a:pt x="64" y="0"/>
                  <a:pt x="110" y="1"/>
                  <a:pt x="110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4" name="Freeform 293">
            <a:extLst>
              <a:ext uri="{FF2B5EF4-FFF2-40B4-BE49-F238E27FC236}">
                <a16:creationId xmlns:a16="http://schemas.microsoft.com/office/drawing/2014/main" id="{1FDB2E93-0261-48F3-AD0F-5B27DBFEE99E}"/>
              </a:ext>
            </a:extLst>
          </p:cNvPr>
          <p:cNvSpPr>
            <a:spLocks/>
          </p:cNvSpPr>
          <p:nvPr/>
        </p:nvSpPr>
        <p:spPr bwMode="auto">
          <a:xfrm>
            <a:off x="8095943" y="3381409"/>
            <a:ext cx="43829" cy="363148"/>
          </a:xfrm>
          <a:custGeom>
            <a:avLst/>
            <a:gdLst>
              <a:gd name="T0" fmla="*/ 6 w 84"/>
              <a:gd name="T1" fmla="*/ 1 h 698"/>
              <a:gd name="T2" fmla="*/ 0 w 84"/>
              <a:gd name="T3" fmla="*/ 184 h 698"/>
              <a:gd name="T4" fmla="*/ 10 w 84"/>
              <a:gd name="T5" fmla="*/ 450 h 698"/>
              <a:gd name="T6" fmla="*/ 32 w 84"/>
              <a:gd name="T7" fmla="*/ 698 h 698"/>
              <a:gd name="T8" fmla="*/ 84 w 84"/>
              <a:gd name="T9" fmla="*/ 698 h 698"/>
              <a:gd name="T10" fmla="*/ 76 w 84"/>
              <a:gd name="T11" fmla="*/ 423 h 698"/>
              <a:gd name="T12" fmla="*/ 74 w 84"/>
              <a:gd name="T13" fmla="*/ 48 h 698"/>
              <a:gd name="T14" fmla="*/ 39 w 84"/>
              <a:gd name="T15" fmla="*/ 0 h 698"/>
              <a:gd name="T16" fmla="*/ 6 w 84"/>
              <a:gd name="T17" fmla="*/ 1 h 6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4" h="698">
                <a:moveTo>
                  <a:pt x="6" y="1"/>
                </a:moveTo>
                <a:cubicBezTo>
                  <a:pt x="0" y="184"/>
                  <a:pt x="0" y="184"/>
                  <a:pt x="0" y="184"/>
                </a:cubicBezTo>
                <a:cubicBezTo>
                  <a:pt x="0" y="184"/>
                  <a:pt x="9" y="416"/>
                  <a:pt x="10" y="450"/>
                </a:cubicBezTo>
                <a:cubicBezTo>
                  <a:pt x="11" y="483"/>
                  <a:pt x="32" y="698"/>
                  <a:pt x="32" y="698"/>
                </a:cubicBezTo>
                <a:cubicBezTo>
                  <a:pt x="32" y="698"/>
                  <a:pt x="73" y="698"/>
                  <a:pt x="84" y="698"/>
                </a:cubicBezTo>
                <a:cubicBezTo>
                  <a:pt x="76" y="639"/>
                  <a:pt x="76" y="477"/>
                  <a:pt x="76" y="423"/>
                </a:cubicBezTo>
                <a:cubicBezTo>
                  <a:pt x="76" y="365"/>
                  <a:pt x="70" y="73"/>
                  <a:pt x="74" y="48"/>
                </a:cubicBezTo>
                <a:cubicBezTo>
                  <a:pt x="78" y="22"/>
                  <a:pt x="59" y="0"/>
                  <a:pt x="39" y="0"/>
                </a:cubicBezTo>
                <a:cubicBezTo>
                  <a:pt x="26" y="0"/>
                  <a:pt x="6" y="1"/>
                  <a:pt x="6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5" name="Freeform 294">
            <a:extLst>
              <a:ext uri="{FF2B5EF4-FFF2-40B4-BE49-F238E27FC236}">
                <a16:creationId xmlns:a16="http://schemas.microsoft.com/office/drawing/2014/main" id="{3D9EEC83-D967-4962-92B1-AD52C97A059C}"/>
              </a:ext>
            </a:extLst>
          </p:cNvPr>
          <p:cNvSpPr>
            <a:spLocks/>
          </p:cNvSpPr>
          <p:nvPr/>
        </p:nvSpPr>
        <p:spPr bwMode="auto">
          <a:xfrm>
            <a:off x="8095943" y="3451534"/>
            <a:ext cx="67621" cy="58855"/>
          </a:xfrm>
          <a:custGeom>
            <a:avLst/>
            <a:gdLst>
              <a:gd name="T0" fmla="*/ 114 w 129"/>
              <a:gd name="T1" fmla="*/ 0 h 114"/>
              <a:gd name="T2" fmla="*/ 0 w 129"/>
              <a:gd name="T3" fmla="*/ 52 h 114"/>
              <a:gd name="T4" fmla="*/ 2 w 129"/>
              <a:gd name="T5" fmla="*/ 114 h 114"/>
              <a:gd name="T6" fmla="*/ 73 w 129"/>
              <a:gd name="T7" fmla="*/ 75 h 114"/>
              <a:gd name="T8" fmla="*/ 73 w 129"/>
              <a:gd name="T9" fmla="*/ 53 h 114"/>
              <a:gd name="T10" fmla="*/ 84 w 129"/>
              <a:gd name="T11" fmla="*/ 67 h 114"/>
              <a:gd name="T12" fmla="*/ 129 w 129"/>
              <a:gd name="T13" fmla="*/ 29 h 114"/>
              <a:gd name="T14" fmla="*/ 114 w 129"/>
              <a:gd name="T15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9" h="114">
                <a:moveTo>
                  <a:pt x="114" y="0"/>
                </a:moveTo>
                <a:cubicBezTo>
                  <a:pt x="84" y="17"/>
                  <a:pt x="34" y="44"/>
                  <a:pt x="0" y="52"/>
                </a:cubicBezTo>
                <a:cubicBezTo>
                  <a:pt x="0" y="60"/>
                  <a:pt x="1" y="83"/>
                  <a:pt x="2" y="114"/>
                </a:cubicBezTo>
                <a:cubicBezTo>
                  <a:pt x="24" y="106"/>
                  <a:pt x="48" y="93"/>
                  <a:pt x="73" y="75"/>
                </a:cubicBezTo>
                <a:cubicBezTo>
                  <a:pt x="73" y="67"/>
                  <a:pt x="73" y="60"/>
                  <a:pt x="73" y="53"/>
                </a:cubicBezTo>
                <a:cubicBezTo>
                  <a:pt x="77" y="58"/>
                  <a:pt x="80" y="62"/>
                  <a:pt x="84" y="67"/>
                </a:cubicBezTo>
                <a:cubicBezTo>
                  <a:pt x="99" y="56"/>
                  <a:pt x="114" y="43"/>
                  <a:pt x="129" y="29"/>
                </a:cubicBezTo>
                <a:cubicBezTo>
                  <a:pt x="125" y="21"/>
                  <a:pt x="120" y="11"/>
                  <a:pt x="114" y="0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6" name="Freeform 295">
            <a:extLst>
              <a:ext uri="{FF2B5EF4-FFF2-40B4-BE49-F238E27FC236}">
                <a16:creationId xmlns:a16="http://schemas.microsoft.com/office/drawing/2014/main" id="{57D277D2-7364-4B9F-9C3C-BF5A5ECD9B83}"/>
              </a:ext>
            </a:extLst>
          </p:cNvPr>
          <p:cNvSpPr>
            <a:spLocks/>
          </p:cNvSpPr>
          <p:nvPr/>
        </p:nvSpPr>
        <p:spPr bwMode="auto">
          <a:xfrm>
            <a:off x="8004530" y="3382661"/>
            <a:ext cx="78891" cy="132737"/>
          </a:xfrm>
          <a:custGeom>
            <a:avLst/>
            <a:gdLst>
              <a:gd name="T0" fmla="*/ 149 w 150"/>
              <a:gd name="T1" fmla="*/ 184 h 254"/>
              <a:gd name="T2" fmla="*/ 83 w 150"/>
              <a:gd name="T3" fmla="*/ 30 h 254"/>
              <a:gd name="T4" fmla="*/ 12 w 150"/>
              <a:gd name="T5" fmla="*/ 69 h 254"/>
              <a:gd name="T6" fmla="*/ 117 w 150"/>
              <a:gd name="T7" fmla="*/ 251 h 254"/>
              <a:gd name="T8" fmla="*/ 138 w 150"/>
              <a:gd name="T9" fmla="*/ 254 h 254"/>
              <a:gd name="T10" fmla="*/ 150 w 150"/>
              <a:gd name="T11" fmla="*/ 253 h 254"/>
              <a:gd name="T12" fmla="*/ 150 w 150"/>
              <a:gd name="T13" fmla="*/ 184 h 254"/>
              <a:gd name="T14" fmla="*/ 149 w 150"/>
              <a:gd name="T15" fmla="*/ 184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0" h="254">
                <a:moveTo>
                  <a:pt x="149" y="184"/>
                </a:moveTo>
                <a:cubicBezTo>
                  <a:pt x="116" y="170"/>
                  <a:pt x="100" y="117"/>
                  <a:pt x="83" y="30"/>
                </a:cubicBezTo>
                <a:cubicBezTo>
                  <a:pt x="78" y="0"/>
                  <a:pt x="0" y="14"/>
                  <a:pt x="12" y="69"/>
                </a:cubicBezTo>
                <a:cubicBezTo>
                  <a:pt x="32" y="162"/>
                  <a:pt x="71" y="234"/>
                  <a:pt x="117" y="251"/>
                </a:cubicBezTo>
                <a:cubicBezTo>
                  <a:pt x="123" y="253"/>
                  <a:pt x="130" y="254"/>
                  <a:pt x="138" y="254"/>
                </a:cubicBezTo>
                <a:cubicBezTo>
                  <a:pt x="142" y="254"/>
                  <a:pt x="146" y="254"/>
                  <a:pt x="150" y="253"/>
                </a:cubicBezTo>
                <a:cubicBezTo>
                  <a:pt x="150" y="220"/>
                  <a:pt x="150" y="193"/>
                  <a:pt x="150" y="184"/>
                </a:cubicBezTo>
                <a:cubicBezTo>
                  <a:pt x="150" y="184"/>
                  <a:pt x="149" y="184"/>
                  <a:pt x="149" y="184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7" name="Freeform 296">
            <a:extLst>
              <a:ext uri="{FF2B5EF4-FFF2-40B4-BE49-F238E27FC236}">
                <a16:creationId xmlns:a16="http://schemas.microsoft.com/office/drawing/2014/main" id="{4B6FA3F7-F06C-49A1-B327-B765E90F917B}"/>
              </a:ext>
            </a:extLst>
          </p:cNvPr>
          <p:cNvSpPr>
            <a:spLocks/>
          </p:cNvSpPr>
          <p:nvPr/>
        </p:nvSpPr>
        <p:spPr bwMode="auto">
          <a:xfrm>
            <a:off x="8004530" y="3378904"/>
            <a:ext cx="162790" cy="140250"/>
          </a:xfrm>
          <a:custGeom>
            <a:avLst/>
            <a:gdLst>
              <a:gd name="T0" fmla="*/ 14 w 313"/>
              <a:gd name="T1" fmla="*/ 76 h 270"/>
              <a:gd name="T2" fmla="*/ 120 w 313"/>
              <a:gd name="T3" fmla="*/ 254 h 270"/>
              <a:gd name="T4" fmla="*/ 313 w 313"/>
              <a:gd name="T5" fmla="*/ 156 h 270"/>
              <a:gd name="T6" fmla="*/ 313 w 313"/>
              <a:gd name="T7" fmla="*/ 130 h 270"/>
              <a:gd name="T8" fmla="*/ 149 w 313"/>
              <a:gd name="T9" fmla="*/ 194 h 270"/>
              <a:gd name="T10" fmla="*/ 85 w 313"/>
              <a:gd name="T11" fmla="*/ 37 h 270"/>
              <a:gd name="T12" fmla="*/ 14 w 313"/>
              <a:gd name="T13" fmla="*/ 76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3" h="270">
                <a:moveTo>
                  <a:pt x="14" y="76"/>
                </a:moveTo>
                <a:cubicBezTo>
                  <a:pt x="34" y="168"/>
                  <a:pt x="76" y="237"/>
                  <a:pt x="120" y="254"/>
                </a:cubicBezTo>
                <a:cubicBezTo>
                  <a:pt x="166" y="270"/>
                  <a:pt x="244" y="221"/>
                  <a:pt x="313" y="156"/>
                </a:cubicBezTo>
                <a:cubicBezTo>
                  <a:pt x="313" y="130"/>
                  <a:pt x="313" y="130"/>
                  <a:pt x="313" y="130"/>
                </a:cubicBezTo>
                <a:cubicBezTo>
                  <a:pt x="263" y="161"/>
                  <a:pt x="179" y="207"/>
                  <a:pt x="149" y="194"/>
                </a:cubicBezTo>
                <a:cubicBezTo>
                  <a:pt x="114" y="180"/>
                  <a:pt x="102" y="124"/>
                  <a:pt x="85" y="37"/>
                </a:cubicBezTo>
                <a:cubicBezTo>
                  <a:pt x="78" y="0"/>
                  <a:pt x="0" y="13"/>
                  <a:pt x="14" y="7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8" name="Freeform 297">
            <a:extLst>
              <a:ext uri="{FF2B5EF4-FFF2-40B4-BE49-F238E27FC236}">
                <a16:creationId xmlns:a16="http://schemas.microsoft.com/office/drawing/2014/main" id="{368C551A-A914-49A4-9015-3575578A163E}"/>
              </a:ext>
            </a:extLst>
          </p:cNvPr>
          <p:cNvSpPr>
            <a:spLocks/>
          </p:cNvSpPr>
          <p:nvPr/>
        </p:nvSpPr>
        <p:spPr bwMode="auto">
          <a:xfrm>
            <a:off x="9728856" y="6406805"/>
            <a:ext cx="62612" cy="95170"/>
          </a:xfrm>
          <a:custGeom>
            <a:avLst/>
            <a:gdLst>
              <a:gd name="T0" fmla="*/ 49 w 50"/>
              <a:gd name="T1" fmla="*/ 76 h 76"/>
              <a:gd name="T2" fmla="*/ 0 w 50"/>
              <a:gd name="T3" fmla="*/ 76 h 76"/>
              <a:gd name="T4" fmla="*/ 20 w 50"/>
              <a:gd name="T5" fmla="*/ 0 h 76"/>
              <a:gd name="T6" fmla="*/ 50 w 50"/>
              <a:gd name="T7" fmla="*/ 0 h 76"/>
              <a:gd name="T8" fmla="*/ 50 w 50"/>
              <a:gd name="T9" fmla="*/ 7 h 76"/>
              <a:gd name="T10" fmla="*/ 41 w 50"/>
              <a:gd name="T11" fmla="*/ 7 h 76"/>
              <a:gd name="T12" fmla="*/ 25 w 50"/>
              <a:gd name="T13" fmla="*/ 69 h 76"/>
              <a:gd name="T14" fmla="*/ 49 w 50"/>
              <a:gd name="T15" fmla="*/ 69 h 76"/>
              <a:gd name="T16" fmla="*/ 49 w 50"/>
              <a:gd name="T17" fmla="*/ 76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0" h="76">
                <a:moveTo>
                  <a:pt x="49" y="76"/>
                </a:moveTo>
                <a:lnTo>
                  <a:pt x="0" y="76"/>
                </a:lnTo>
                <a:lnTo>
                  <a:pt x="20" y="0"/>
                </a:lnTo>
                <a:lnTo>
                  <a:pt x="50" y="0"/>
                </a:lnTo>
                <a:lnTo>
                  <a:pt x="50" y="7"/>
                </a:lnTo>
                <a:lnTo>
                  <a:pt x="41" y="7"/>
                </a:lnTo>
                <a:lnTo>
                  <a:pt x="25" y="69"/>
                </a:lnTo>
                <a:lnTo>
                  <a:pt x="49" y="69"/>
                </a:lnTo>
                <a:lnTo>
                  <a:pt x="49" y="76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9" name="Rectangle 298">
            <a:extLst>
              <a:ext uri="{FF2B5EF4-FFF2-40B4-BE49-F238E27FC236}">
                <a16:creationId xmlns:a16="http://schemas.microsoft.com/office/drawing/2014/main" id="{C61B3721-FC93-42A7-A0C7-FEFBADD8E3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22594" y="6320401"/>
            <a:ext cx="118963" cy="154025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0" name="Freeform 299">
            <a:extLst>
              <a:ext uri="{FF2B5EF4-FFF2-40B4-BE49-F238E27FC236}">
                <a16:creationId xmlns:a16="http://schemas.microsoft.com/office/drawing/2014/main" id="{08909037-0899-4A47-AC36-1ED50E4BE3AD}"/>
              </a:ext>
            </a:extLst>
          </p:cNvPr>
          <p:cNvSpPr>
            <a:spLocks/>
          </p:cNvSpPr>
          <p:nvPr/>
        </p:nvSpPr>
        <p:spPr bwMode="auto">
          <a:xfrm>
            <a:off x="9711325" y="6320401"/>
            <a:ext cx="11270" cy="154025"/>
          </a:xfrm>
          <a:custGeom>
            <a:avLst/>
            <a:gdLst>
              <a:gd name="T0" fmla="*/ 0 w 9"/>
              <a:gd name="T1" fmla="*/ 119 h 123"/>
              <a:gd name="T2" fmla="*/ 9 w 9"/>
              <a:gd name="T3" fmla="*/ 123 h 123"/>
              <a:gd name="T4" fmla="*/ 9 w 9"/>
              <a:gd name="T5" fmla="*/ 0 h 123"/>
              <a:gd name="T6" fmla="*/ 0 w 9"/>
              <a:gd name="T7" fmla="*/ 3 h 123"/>
              <a:gd name="T8" fmla="*/ 0 w 9"/>
              <a:gd name="T9" fmla="*/ 119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123">
                <a:moveTo>
                  <a:pt x="0" y="119"/>
                </a:moveTo>
                <a:lnTo>
                  <a:pt x="9" y="123"/>
                </a:lnTo>
                <a:lnTo>
                  <a:pt x="9" y="0"/>
                </a:lnTo>
                <a:lnTo>
                  <a:pt x="0" y="3"/>
                </a:lnTo>
                <a:lnTo>
                  <a:pt x="0" y="119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1" name="Rectangle 300">
            <a:extLst>
              <a:ext uri="{FF2B5EF4-FFF2-40B4-BE49-F238E27FC236}">
                <a16:creationId xmlns:a16="http://schemas.microsoft.com/office/drawing/2014/main" id="{7970B18C-6531-46DB-8527-AEC5B631F9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36369" y="6335428"/>
            <a:ext cx="91413" cy="11896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2" name="Rectangle 301">
            <a:extLst>
              <a:ext uri="{FF2B5EF4-FFF2-40B4-BE49-F238E27FC236}">
                <a16:creationId xmlns:a16="http://schemas.microsoft.com/office/drawing/2014/main" id="{B3C43BBD-7C05-4AB9-9D9A-93341600B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47639" y="6347950"/>
            <a:ext cx="68873" cy="626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3" name="Rectangle 302">
            <a:extLst>
              <a:ext uri="{FF2B5EF4-FFF2-40B4-BE49-F238E27FC236}">
                <a16:creationId xmlns:a16="http://schemas.microsoft.com/office/drawing/2014/main" id="{AEB97A90-E06B-48E9-B41F-65ABBCC184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47639" y="6361725"/>
            <a:ext cx="35063" cy="626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4" name="Rectangle 303">
            <a:extLst>
              <a:ext uri="{FF2B5EF4-FFF2-40B4-BE49-F238E27FC236}">
                <a16:creationId xmlns:a16="http://schemas.microsoft.com/office/drawing/2014/main" id="{C195EFD0-FFC0-40BB-94AC-7EA82DC77A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47639" y="6375499"/>
            <a:ext cx="46333" cy="626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5" name="Rectangle 304">
            <a:extLst>
              <a:ext uri="{FF2B5EF4-FFF2-40B4-BE49-F238E27FC236}">
                <a16:creationId xmlns:a16="http://schemas.microsoft.com/office/drawing/2014/main" id="{1775F8AE-F588-47C7-9356-F4FE5C2BF8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47639" y="6389274"/>
            <a:ext cx="61360" cy="626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6" name="Rectangle 305">
            <a:extLst>
              <a:ext uri="{FF2B5EF4-FFF2-40B4-BE49-F238E27FC236}">
                <a16:creationId xmlns:a16="http://schemas.microsoft.com/office/drawing/2014/main" id="{B34F8814-DE3C-4918-8016-B3435863F1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47639" y="6403048"/>
            <a:ext cx="52594" cy="626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7" name="Rectangle 306">
            <a:extLst>
              <a:ext uri="{FF2B5EF4-FFF2-40B4-BE49-F238E27FC236}">
                <a16:creationId xmlns:a16="http://schemas.microsoft.com/office/drawing/2014/main" id="{4E44006C-B46B-47C1-9D70-9DFEAF043F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47639" y="6416823"/>
            <a:ext cx="35063" cy="626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8" name="Rectangle 307">
            <a:extLst>
              <a:ext uri="{FF2B5EF4-FFF2-40B4-BE49-F238E27FC236}">
                <a16:creationId xmlns:a16="http://schemas.microsoft.com/office/drawing/2014/main" id="{A42C03DB-E2A8-481F-B2C2-F09A5253C0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47639" y="6430597"/>
            <a:ext cx="66369" cy="626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9" name="Freeform 308">
            <a:extLst>
              <a:ext uri="{FF2B5EF4-FFF2-40B4-BE49-F238E27FC236}">
                <a16:creationId xmlns:a16="http://schemas.microsoft.com/office/drawing/2014/main" id="{9A769DAE-7B74-4E59-802F-264F435B87B3}"/>
              </a:ext>
            </a:extLst>
          </p:cNvPr>
          <p:cNvSpPr>
            <a:spLocks/>
          </p:cNvSpPr>
          <p:nvPr/>
        </p:nvSpPr>
        <p:spPr bwMode="auto">
          <a:xfrm>
            <a:off x="9884133" y="6406805"/>
            <a:ext cx="62612" cy="95170"/>
          </a:xfrm>
          <a:custGeom>
            <a:avLst/>
            <a:gdLst>
              <a:gd name="T0" fmla="*/ 49 w 50"/>
              <a:gd name="T1" fmla="*/ 76 h 76"/>
              <a:gd name="T2" fmla="*/ 0 w 50"/>
              <a:gd name="T3" fmla="*/ 76 h 76"/>
              <a:gd name="T4" fmla="*/ 20 w 50"/>
              <a:gd name="T5" fmla="*/ 0 h 76"/>
              <a:gd name="T6" fmla="*/ 50 w 50"/>
              <a:gd name="T7" fmla="*/ 0 h 76"/>
              <a:gd name="T8" fmla="*/ 50 w 50"/>
              <a:gd name="T9" fmla="*/ 7 h 76"/>
              <a:gd name="T10" fmla="*/ 41 w 50"/>
              <a:gd name="T11" fmla="*/ 7 h 76"/>
              <a:gd name="T12" fmla="*/ 25 w 50"/>
              <a:gd name="T13" fmla="*/ 69 h 76"/>
              <a:gd name="T14" fmla="*/ 49 w 50"/>
              <a:gd name="T15" fmla="*/ 69 h 76"/>
              <a:gd name="T16" fmla="*/ 49 w 50"/>
              <a:gd name="T17" fmla="*/ 76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0" h="76">
                <a:moveTo>
                  <a:pt x="49" y="76"/>
                </a:moveTo>
                <a:lnTo>
                  <a:pt x="0" y="76"/>
                </a:lnTo>
                <a:lnTo>
                  <a:pt x="20" y="0"/>
                </a:lnTo>
                <a:lnTo>
                  <a:pt x="50" y="0"/>
                </a:lnTo>
                <a:lnTo>
                  <a:pt x="50" y="7"/>
                </a:lnTo>
                <a:lnTo>
                  <a:pt x="41" y="7"/>
                </a:lnTo>
                <a:lnTo>
                  <a:pt x="25" y="69"/>
                </a:lnTo>
                <a:lnTo>
                  <a:pt x="49" y="69"/>
                </a:lnTo>
                <a:lnTo>
                  <a:pt x="49" y="76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0" name="Rectangle 309">
            <a:extLst>
              <a:ext uri="{FF2B5EF4-FFF2-40B4-BE49-F238E27FC236}">
                <a16:creationId xmlns:a16="http://schemas.microsoft.com/office/drawing/2014/main" id="{A5D7BC98-BE14-41CD-A8A2-22CE7693C8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7871" y="6320401"/>
            <a:ext cx="120214" cy="154025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1" name="Freeform 310">
            <a:extLst>
              <a:ext uri="{FF2B5EF4-FFF2-40B4-BE49-F238E27FC236}">
                <a16:creationId xmlns:a16="http://schemas.microsoft.com/office/drawing/2014/main" id="{CB793D14-0EFF-45EC-8CF9-E66780BFB99B}"/>
              </a:ext>
            </a:extLst>
          </p:cNvPr>
          <p:cNvSpPr>
            <a:spLocks/>
          </p:cNvSpPr>
          <p:nvPr/>
        </p:nvSpPr>
        <p:spPr bwMode="auto">
          <a:xfrm>
            <a:off x="9867853" y="6320401"/>
            <a:ext cx="10018" cy="154025"/>
          </a:xfrm>
          <a:custGeom>
            <a:avLst/>
            <a:gdLst>
              <a:gd name="T0" fmla="*/ 0 w 8"/>
              <a:gd name="T1" fmla="*/ 119 h 123"/>
              <a:gd name="T2" fmla="*/ 8 w 8"/>
              <a:gd name="T3" fmla="*/ 123 h 123"/>
              <a:gd name="T4" fmla="*/ 8 w 8"/>
              <a:gd name="T5" fmla="*/ 0 h 123"/>
              <a:gd name="T6" fmla="*/ 0 w 8"/>
              <a:gd name="T7" fmla="*/ 3 h 123"/>
              <a:gd name="T8" fmla="*/ 0 w 8"/>
              <a:gd name="T9" fmla="*/ 119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123">
                <a:moveTo>
                  <a:pt x="0" y="119"/>
                </a:moveTo>
                <a:lnTo>
                  <a:pt x="8" y="123"/>
                </a:lnTo>
                <a:lnTo>
                  <a:pt x="8" y="0"/>
                </a:lnTo>
                <a:lnTo>
                  <a:pt x="0" y="3"/>
                </a:lnTo>
                <a:lnTo>
                  <a:pt x="0" y="119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2" name="Rectangle 311">
            <a:extLst>
              <a:ext uri="{FF2B5EF4-FFF2-40B4-BE49-F238E27FC236}">
                <a16:creationId xmlns:a16="http://schemas.microsoft.com/office/drawing/2014/main" id="{11BE42C2-7969-4D97-A772-A2C2192EBB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1646" y="6335428"/>
            <a:ext cx="92665" cy="11896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3" name="Oval 312">
            <a:extLst>
              <a:ext uri="{FF2B5EF4-FFF2-40B4-BE49-F238E27FC236}">
                <a16:creationId xmlns:a16="http://schemas.microsoft.com/office/drawing/2014/main" id="{B0FC90E9-1E1A-45B7-8139-38AB6FE7ED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07925" y="6431850"/>
            <a:ext cx="1253" cy="2504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4" name="Oval 313">
            <a:extLst>
              <a:ext uri="{FF2B5EF4-FFF2-40B4-BE49-F238E27FC236}">
                <a16:creationId xmlns:a16="http://schemas.microsoft.com/office/drawing/2014/main" id="{19017874-DA51-4B90-8514-C89B3C8A90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17943" y="6429346"/>
            <a:ext cx="1253" cy="2504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5" name="Oval 314">
            <a:extLst>
              <a:ext uri="{FF2B5EF4-FFF2-40B4-BE49-F238E27FC236}">
                <a16:creationId xmlns:a16="http://schemas.microsoft.com/office/drawing/2014/main" id="{13CF50BE-B15A-4DC3-8400-72C077D50E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7961" y="6424337"/>
            <a:ext cx="2504" cy="2504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6" name="Oval 315">
            <a:extLst>
              <a:ext uri="{FF2B5EF4-FFF2-40B4-BE49-F238E27FC236}">
                <a16:creationId xmlns:a16="http://schemas.microsoft.com/office/drawing/2014/main" id="{A4189968-8848-49B2-990D-5115175487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7979" y="6430597"/>
            <a:ext cx="2504" cy="1253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7" name="Oval 316">
            <a:extLst>
              <a:ext uri="{FF2B5EF4-FFF2-40B4-BE49-F238E27FC236}">
                <a16:creationId xmlns:a16="http://schemas.microsoft.com/office/drawing/2014/main" id="{6E3162B5-ACD5-4B40-B347-72DF517606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49249" y="6438111"/>
            <a:ext cx="2504" cy="2504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8" name="Oval 317">
            <a:extLst>
              <a:ext uri="{FF2B5EF4-FFF2-40B4-BE49-F238E27FC236}">
                <a16:creationId xmlns:a16="http://schemas.microsoft.com/office/drawing/2014/main" id="{E100A632-B6CF-4130-A5AB-FC2BBD8549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9267" y="6428093"/>
            <a:ext cx="2504" cy="2504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9" name="Oval 318">
            <a:extLst>
              <a:ext uri="{FF2B5EF4-FFF2-40B4-BE49-F238E27FC236}">
                <a16:creationId xmlns:a16="http://schemas.microsoft.com/office/drawing/2014/main" id="{4D9470CA-7079-4EAA-9FC5-4457CE5D35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9285" y="6423084"/>
            <a:ext cx="2504" cy="2504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0" name="Freeform 319">
            <a:extLst>
              <a:ext uri="{FF2B5EF4-FFF2-40B4-BE49-F238E27FC236}">
                <a16:creationId xmlns:a16="http://schemas.microsoft.com/office/drawing/2014/main" id="{6003B980-2FA8-46A7-8E23-5F01A4775053}"/>
              </a:ext>
            </a:extLst>
          </p:cNvPr>
          <p:cNvSpPr>
            <a:spLocks/>
          </p:cNvSpPr>
          <p:nvPr/>
        </p:nvSpPr>
        <p:spPr bwMode="auto">
          <a:xfrm>
            <a:off x="9907925" y="6424337"/>
            <a:ext cx="63864" cy="15027"/>
          </a:xfrm>
          <a:custGeom>
            <a:avLst/>
            <a:gdLst>
              <a:gd name="T0" fmla="*/ 34 w 51"/>
              <a:gd name="T1" fmla="*/ 12 h 12"/>
              <a:gd name="T2" fmla="*/ 25 w 51"/>
              <a:gd name="T3" fmla="*/ 6 h 12"/>
              <a:gd name="T4" fmla="*/ 17 w 51"/>
              <a:gd name="T5" fmla="*/ 1 h 12"/>
              <a:gd name="T6" fmla="*/ 9 w 51"/>
              <a:gd name="T7" fmla="*/ 5 h 12"/>
              <a:gd name="T8" fmla="*/ 0 w 51"/>
              <a:gd name="T9" fmla="*/ 7 h 12"/>
              <a:gd name="T10" fmla="*/ 0 w 51"/>
              <a:gd name="T11" fmla="*/ 6 h 12"/>
              <a:gd name="T12" fmla="*/ 9 w 51"/>
              <a:gd name="T13" fmla="*/ 5 h 12"/>
              <a:gd name="T14" fmla="*/ 17 w 51"/>
              <a:gd name="T15" fmla="*/ 0 h 12"/>
              <a:gd name="T16" fmla="*/ 25 w 51"/>
              <a:gd name="T17" fmla="*/ 5 h 12"/>
              <a:gd name="T18" fmla="*/ 34 w 51"/>
              <a:gd name="T19" fmla="*/ 11 h 12"/>
              <a:gd name="T20" fmla="*/ 42 w 51"/>
              <a:gd name="T21" fmla="*/ 4 h 12"/>
              <a:gd name="T22" fmla="*/ 50 w 51"/>
              <a:gd name="T23" fmla="*/ 0 h 12"/>
              <a:gd name="T24" fmla="*/ 51 w 51"/>
              <a:gd name="T25" fmla="*/ 0 h 12"/>
              <a:gd name="T26" fmla="*/ 42 w 51"/>
              <a:gd name="T27" fmla="*/ 4 h 12"/>
              <a:gd name="T28" fmla="*/ 34 w 51"/>
              <a:gd name="T29" fmla="*/ 12 h 12"/>
              <a:gd name="T30" fmla="*/ 34 w 51"/>
              <a:gd name="T31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" h="12">
                <a:moveTo>
                  <a:pt x="34" y="12"/>
                </a:moveTo>
                <a:lnTo>
                  <a:pt x="25" y="6"/>
                </a:lnTo>
                <a:lnTo>
                  <a:pt x="17" y="1"/>
                </a:lnTo>
                <a:lnTo>
                  <a:pt x="9" y="5"/>
                </a:lnTo>
                <a:lnTo>
                  <a:pt x="0" y="7"/>
                </a:lnTo>
                <a:lnTo>
                  <a:pt x="0" y="6"/>
                </a:lnTo>
                <a:lnTo>
                  <a:pt x="9" y="5"/>
                </a:lnTo>
                <a:lnTo>
                  <a:pt x="17" y="0"/>
                </a:lnTo>
                <a:lnTo>
                  <a:pt x="25" y="5"/>
                </a:lnTo>
                <a:lnTo>
                  <a:pt x="34" y="11"/>
                </a:lnTo>
                <a:lnTo>
                  <a:pt x="42" y="4"/>
                </a:lnTo>
                <a:lnTo>
                  <a:pt x="50" y="0"/>
                </a:lnTo>
                <a:lnTo>
                  <a:pt x="51" y="0"/>
                </a:lnTo>
                <a:lnTo>
                  <a:pt x="42" y="4"/>
                </a:lnTo>
                <a:lnTo>
                  <a:pt x="34" y="12"/>
                </a:lnTo>
                <a:lnTo>
                  <a:pt x="34" y="12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1" name="Oval 320">
            <a:extLst>
              <a:ext uri="{FF2B5EF4-FFF2-40B4-BE49-F238E27FC236}">
                <a16:creationId xmlns:a16="http://schemas.microsoft.com/office/drawing/2014/main" id="{A0795EBF-3CBB-49BD-8C11-F89BFA25B4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07925" y="6441868"/>
            <a:ext cx="1253" cy="1253"/>
          </a:xfrm>
          <a:prstGeom prst="ellipse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2" name="Oval 321">
            <a:extLst>
              <a:ext uri="{FF2B5EF4-FFF2-40B4-BE49-F238E27FC236}">
                <a16:creationId xmlns:a16="http://schemas.microsoft.com/office/drawing/2014/main" id="{04CB1744-2DF0-45FF-93BE-BD9D6DF087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17943" y="6436859"/>
            <a:ext cx="1253" cy="1253"/>
          </a:xfrm>
          <a:prstGeom prst="ellipse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3" name="Oval 322">
            <a:extLst>
              <a:ext uri="{FF2B5EF4-FFF2-40B4-BE49-F238E27FC236}">
                <a16:creationId xmlns:a16="http://schemas.microsoft.com/office/drawing/2014/main" id="{5FD87ECF-8B62-424B-8F7A-2CD6A60D1B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7961" y="6440615"/>
            <a:ext cx="2504" cy="2504"/>
          </a:xfrm>
          <a:prstGeom prst="ellipse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4" name="Oval 323">
            <a:extLst>
              <a:ext uri="{FF2B5EF4-FFF2-40B4-BE49-F238E27FC236}">
                <a16:creationId xmlns:a16="http://schemas.microsoft.com/office/drawing/2014/main" id="{FD7CAB96-ABC1-47DB-86CB-C75ACDCF35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7979" y="6438111"/>
            <a:ext cx="2504" cy="2504"/>
          </a:xfrm>
          <a:prstGeom prst="ellipse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5" name="Oval 324">
            <a:extLst>
              <a:ext uri="{FF2B5EF4-FFF2-40B4-BE49-F238E27FC236}">
                <a16:creationId xmlns:a16="http://schemas.microsoft.com/office/drawing/2014/main" id="{AF96F6AF-9CDC-49B1-9139-01146C3C63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49249" y="6431850"/>
            <a:ext cx="2504" cy="2504"/>
          </a:xfrm>
          <a:prstGeom prst="ellipse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6" name="Oval 325">
            <a:extLst>
              <a:ext uri="{FF2B5EF4-FFF2-40B4-BE49-F238E27FC236}">
                <a16:creationId xmlns:a16="http://schemas.microsoft.com/office/drawing/2014/main" id="{D9A16C3D-CAC8-46C9-858F-85EEA04B97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9267" y="6436859"/>
            <a:ext cx="2504" cy="1253"/>
          </a:xfrm>
          <a:prstGeom prst="ellipse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7" name="Oval 326">
            <a:extLst>
              <a:ext uri="{FF2B5EF4-FFF2-40B4-BE49-F238E27FC236}">
                <a16:creationId xmlns:a16="http://schemas.microsoft.com/office/drawing/2014/main" id="{60855806-B8A1-4400-B05C-76ED31706B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9285" y="6433102"/>
            <a:ext cx="2504" cy="2504"/>
          </a:xfrm>
          <a:prstGeom prst="ellipse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8" name="Freeform 327">
            <a:extLst>
              <a:ext uri="{FF2B5EF4-FFF2-40B4-BE49-F238E27FC236}">
                <a16:creationId xmlns:a16="http://schemas.microsoft.com/office/drawing/2014/main" id="{B2C66960-A6D0-46CC-9D09-8EAB22E86633}"/>
              </a:ext>
            </a:extLst>
          </p:cNvPr>
          <p:cNvSpPr>
            <a:spLocks/>
          </p:cNvSpPr>
          <p:nvPr/>
        </p:nvSpPr>
        <p:spPr bwMode="auto">
          <a:xfrm>
            <a:off x="9907925" y="6433102"/>
            <a:ext cx="62612" cy="10018"/>
          </a:xfrm>
          <a:custGeom>
            <a:avLst/>
            <a:gdLst>
              <a:gd name="T0" fmla="*/ 0 w 50"/>
              <a:gd name="T1" fmla="*/ 8 h 8"/>
              <a:gd name="T2" fmla="*/ 0 w 50"/>
              <a:gd name="T3" fmla="*/ 7 h 8"/>
              <a:gd name="T4" fmla="*/ 9 w 50"/>
              <a:gd name="T5" fmla="*/ 3 h 8"/>
              <a:gd name="T6" fmla="*/ 17 w 50"/>
              <a:gd name="T7" fmla="*/ 6 h 8"/>
              <a:gd name="T8" fmla="*/ 25 w 50"/>
              <a:gd name="T9" fmla="*/ 5 h 8"/>
              <a:gd name="T10" fmla="*/ 34 w 50"/>
              <a:gd name="T11" fmla="*/ 0 h 8"/>
              <a:gd name="T12" fmla="*/ 42 w 50"/>
              <a:gd name="T13" fmla="*/ 3 h 8"/>
              <a:gd name="T14" fmla="*/ 50 w 50"/>
              <a:gd name="T15" fmla="*/ 1 h 8"/>
              <a:gd name="T16" fmla="*/ 50 w 50"/>
              <a:gd name="T17" fmla="*/ 1 h 8"/>
              <a:gd name="T18" fmla="*/ 42 w 50"/>
              <a:gd name="T19" fmla="*/ 4 h 8"/>
              <a:gd name="T20" fmla="*/ 34 w 50"/>
              <a:gd name="T21" fmla="*/ 0 h 8"/>
              <a:gd name="T22" fmla="*/ 25 w 50"/>
              <a:gd name="T23" fmla="*/ 5 h 8"/>
              <a:gd name="T24" fmla="*/ 17 w 50"/>
              <a:gd name="T25" fmla="*/ 7 h 8"/>
              <a:gd name="T26" fmla="*/ 9 w 50"/>
              <a:gd name="T27" fmla="*/ 4 h 8"/>
              <a:gd name="T28" fmla="*/ 0 w 50"/>
              <a:gd name="T29" fmla="*/ 8 h 8"/>
              <a:gd name="T30" fmla="*/ 0 w 50"/>
              <a:gd name="T3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0" h="8">
                <a:moveTo>
                  <a:pt x="0" y="8"/>
                </a:moveTo>
                <a:lnTo>
                  <a:pt x="0" y="7"/>
                </a:lnTo>
                <a:lnTo>
                  <a:pt x="9" y="3"/>
                </a:lnTo>
                <a:lnTo>
                  <a:pt x="17" y="6"/>
                </a:lnTo>
                <a:lnTo>
                  <a:pt x="25" y="5"/>
                </a:lnTo>
                <a:lnTo>
                  <a:pt x="34" y="0"/>
                </a:lnTo>
                <a:lnTo>
                  <a:pt x="42" y="3"/>
                </a:lnTo>
                <a:lnTo>
                  <a:pt x="50" y="1"/>
                </a:lnTo>
                <a:lnTo>
                  <a:pt x="50" y="1"/>
                </a:lnTo>
                <a:lnTo>
                  <a:pt x="42" y="4"/>
                </a:lnTo>
                <a:lnTo>
                  <a:pt x="34" y="0"/>
                </a:lnTo>
                <a:lnTo>
                  <a:pt x="25" y="5"/>
                </a:lnTo>
                <a:lnTo>
                  <a:pt x="17" y="7"/>
                </a:lnTo>
                <a:lnTo>
                  <a:pt x="9" y="4"/>
                </a:lnTo>
                <a:lnTo>
                  <a:pt x="0" y="8"/>
                </a:lnTo>
                <a:lnTo>
                  <a:pt x="0" y="8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9" name="Oval 328">
            <a:extLst>
              <a:ext uri="{FF2B5EF4-FFF2-40B4-BE49-F238E27FC236}">
                <a16:creationId xmlns:a16="http://schemas.microsoft.com/office/drawing/2014/main" id="{FC1C9133-67C2-44A1-9DAB-E383D42F55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9285" y="6428093"/>
            <a:ext cx="2504" cy="2504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0" name="Oval 329">
            <a:extLst>
              <a:ext uri="{FF2B5EF4-FFF2-40B4-BE49-F238E27FC236}">
                <a16:creationId xmlns:a16="http://schemas.microsoft.com/office/drawing/2014/main" id="{9F2311FD-7C16-4CDF-A29F-2B568AA914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9267" y="6421832"/>
            <a:ext cx="2504" cy="2504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1" name="Oval 330">
            <a:extLst>
              <a:ext uri="{FF2B5EF4-FFF2-40B4-BE49-F238E27FC236}">
                <a16:creationId xmlns:a16="http://schemas.microsoft.com/office/drawing/2014/main" id="{B3DA48F4-D44C-41C9-BD23-D29EC48E66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49249" y="6426841"/>
            <a:ext cx="2504" cy="2504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2" name="Oval 331">
            <a:extLst>
              <a:ext uri="{FF2B5EF4-FFF2-40B4-BE49-F238E27FC236}">
                <a16:creationId xmlns:a16="http://schemas.microsoft.com/office/drawing/2014/main" id="{69D6CE5A-6BBF-49B3-9B17-52086B8692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7979" y="6441868"/>
            <a:ext cx="2504" cy="1253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3" name="Oval 332">
            <a:extLst>
              <a:ext uri="{FF2B5EF4-FFF2-40B4-BE49-F238E27FC236}">
                <a16:creationId xmlns:a16="http://schemas.microsoft.com/office/drawing/2014/main" id="{CC53EA0D-8FAD-45EB-88E1-304512C4F5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7961" y="6435606"/>
            <a:ext cx="2504" cy="2504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4" name="Oval 333">
            <a:extLst>
              <a:ext uri="{FF2B5EF4-FFF2-40B4-BE49-F238E27FC236}">
                <a16:creationId xmlns:a16="http://schemas.microsoft.com/office/drawing/2014/main" id="{4A33ACA0-5E23-4C41-8610-ECBC5D6470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17943" y="6440615"/>
            <a:ext cx="1253" cy="1253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5" name="Oval 334">
            <a:extLst>
              <a:ext uri="{FF2B5EF4-FFF2-40B4-BE49-F238E27FC236}">
                <a16:creationId xmlns:a16="http://schemas.microsoft.com/office/drawing/2014/main" id="{F99FF643-C53E-4C75-B15A-7E2ECE14A3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07925" y="6436859"/>
            <a:ext cx="1253" cy="2504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6" name="Freeform 335">
            <a:extLst>
              <a:ext uri="{FF2B5EF4-FFF2-40B4-BE49-F238E27FC236}">
                <a16:creationId xmlns:a16="http://schemas.microsoft.com/office/drawing/2014/main" id="{00D2EF19-CD1D-4F8B-8845-B5C2E936AC72}"/>
              </a:ext>
            </a:extLst>
          </p:cNvPr>
          <p:cNvSpPr>
            <a:spLocks/>
          </p:cNvSpPr>
          <p:nvPr/>
        </p:nvSpPr>
        <p:spPr bwMode="auto">
          <a:xfrm>
            <a:off x="9907925" y="6423084"/>
            <a:ext cx="63864" cy="20036"/>
          </a:xfrm>
          <a:custGeom>
            <a:avLst/>
            <a:gdLst>
              <a:gd name="T0" fmla="*/ 25 w 51"/>
              <a:gd name="T1" fmla="*/ 16 h 16"/>
              <a:gd name="T2" fmla="*/ 17 w 51"/>
              <a:gd name="T3" fmla="*/ 11 h 16"/>
              <a:gd name="T4" fmla="*/ 9 w 51"/>
              <a:gd name="T5" fmla="*/ 14 h 16"/>
              <a:gd name="T6" fmla="*/ 0 w 51"/>
              <a:gd name="T7" fmla="*/ 12 h 16"/>
              <a:gd name="T8" fmla="*/ 0 w 51"/>
              <a:gd name="T9" fmla="*/ 11 h 16"/>
              <a:gd name="T10" fmla="*/ 9 w 51"/>
              <a:gd name="T11" fmla="*/ 14 h 16"/>
              <a:gd name="T12" fmla="*/ 17 w 51"/>
              <a:gd name="T13" fmla="*/ 11 h 16"/>
              <a:gd name="T14" fmla="*/ 25 w 51"/>
              <a:gd name="T15" fmla="*/ 15 h 16"/>
              <a:gd name="T16" fmla="*/ 34 w 51"/>
              <a:gd name="T17" fmla="*/ 4 h 16"/>
              <a:gd name="T18" fmla="*/ 42 w 51"/>
              <a:gd name="T19" fmla="*/ 0 h 16"/>
              <a:gd name="T20" fmla="*/ 51 w 51"/>
              <a:gd name="T21" fmla="*/ 4 h 16"/>
              <a:gd name="T22" fmla="*/ 50 w 51"/>
              <a:gd name="T23" fmla="*/ 5 h 16"/>
              <a:gd name="T24" fmla="*/ 42 w 51"/>
              <a:gd name="T25" fmla="*/ 1 h 16"/>
              <a:gd name="T26" fmla="*/ 34 w 51"/>
              <a:gd name="T27" fmla="*/ 4 h 16"/>
              <a:gd name="T28" fmla="*/ 25 w 51"/>
              <a:gd name="T29" fmla="*/ 16 h 16"/>
              <a:gd name="T30" fmla="*/ 25 w 51"/>
              <a:gd name="T31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" h="16">
                <a:moveTo>
                  <a:pt x="25" y="16"/>
                </a:moveTo>
                <a:lnTo>
                  <a:pt x="17" y="11"/>
                </a:lnTo>
                <a:lnTo>
                  <a:pt x="9" y="14"/>
                </a:lnTo>
                <a:lnTo>
                  <a:pt x="0" y="12"/>
                </a:lnTo>
                <a:lnTo>
                  <a:pt x="0" y="11"/>
                </a:lnTo>
                <a:lnTo>
                  <a:pt x="9" y="14"/>
                </a:lnTo>
                <a:lnTo>
                  <a:pt x="17" y="11"/>
                </a:lnTo>
                <a:lnTo>
                  <a:pt x="25" y="15"/>
                </a:lnTo>
                <a:lnTo>
                  <a:pt x="34" y="4"/>
                </a:lnTo>
                <a:lnTo>
                  <a:pt x="42" y="0"/>
                </a:lnTo>
                <a:lnTo>
                  <a:pt x="51" y="4"/>
                </a:lnTo>
                <a:lnTo>
                  <a:pt x="50" y="5"/>
                </a:lnTo>
                <a:lnTo>
                  <a:pt x="42" y="1"/>
                </a:lnTo>
                <a:lnTo>
                  <a:pt x="34" y="4"/>
                </a:lnTo>
                <a:lnTo>
                  <a:pt x="25" y="16"/>
                </a:lnTo>
                <a:lnTo>
                  <a:pt x="25" y="16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7" name="Oval 336">
            <a:extLst>
              <a:ext uri="{FF2B5EF4-FFF2-40B4-BE49-F238E27FC236}">
                <a16:creationId xmlns:a16="http://schemas.microsoft.com/office/drawing/2014/main" id="{BD8963E5-FB5A-428C-87E9-91FE8098C5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02916" y="6345445"/>
            <a:ext cx="28802" cy="28802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8" name="Freeform 337">
            <a:extLst>
              <a:ext uri="{FF2B5EF4-FFF2-40B4-BE49-F238E27FC236}">
                <a16:creationId xmlns:a16="http://schemas.microsoft.com/office/drawing/2014/main" id="{19AFDC7D-40C7-4122-B445-8EAEF041B0A4}"/>
              </a:ext>
            </a:extLst>
          </p:cNvPr>
          <p:cNvSpPr>
            <a:spLocks/>
          </p:cNvSpPr>
          <p:nvPr/>
        </p:nvSpPr>
        <p:spPr bwMode="auto">
          <a:xfrm>
            <a:off x="9902916" y="6345445"/>
            <a:ext cx="28802" cy="28802"/>
          </a:xfrm>
          <a:custGeom>
            <a:avLst/>
            <a:gdLst>
              <a:gd name="T0" fmla="*/ 27 w 55"/>
              <a:gd name="T1" fmla="*/ 0 h 55"/>
              <a:gd name="T2" fmla="*/ 55 w 55"/>
              <a:gd name="T3" fmla="*/ 27 h 55"/>
              <a:gd name="T4" fmla="*/ 27 w 55"/>
              <a:gd name="T5" fmla="*/ 55 h 55"/>
              <a:gd name="T6" fmla="*/ 0 w 55"/>
              <a:gd name="T7" fmla="*/ 27 h 55"/>
              <a:gd name="T8" fmla="*/ 3 w 55"/>
              <a:gd name="T9" fmla="*/ 14 h 55"/>
              <a:gd name="T10" fmla="*/ 27 w 55"/>
              <a:gd name="T11" fmla="*/ 27 h 55"/>
              <a:gd name="T12" fmla="*/ 27 w 55"/>
              <a:gd name="T13" fmla="*/ 0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5" h="55">
                <a:moveTo>
                  <a:pt x="27" y="0"/>
                </a:move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5"/>
                  <a:pt x="27" y="55"/>
                </a:cubicBezTo>
                <a:cubicBezTo>
                  <a:pt x="12" y="55"/>
                  <a:pt x="0" y="42"/>
                  <a:pt x="0" y="27"/>
                </a:cubicBezTo>
                <a:cubicBezTo>
                  <a:pt x="0" y="22"/>
                  <a:pt x="1" y="18"/>
                  <a:pt x="3" y="14"/>
                </a:cubicBezTo>
                <a:cubicBezTo>
                  <a:pt x="27" y="27"/>
                  <a:pt x="27" y="27"/>
                  <a:pt x="27" y="27"/>
                </a:cubicBezTo>
                <a:lnTo>
                  <a:pt x="27" y="0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9" name="Freeform 338">
            <a:extLst>
              <a:ext uri="{FF2B5EF4-FFF2-40B4-BE49-F238E27FC236}">
                <a16:creationId xmlns:a16="http://schemas.microsoft.com/office/drawing/2014/main" id="{797C3384-6382-4FA6-B236-0C3B8DFC0421}"/>
              </a:ext>
            </a:extLst>
          </p:cNvPr>
          <p:cNvSpPr>
            <a:spLocks/>
          </p:cNvSpPr>
          <p:nvPr/>
        </p:nvSpPr>
        <p:spPr bwMode="auto">
          <a:xfrm>
            <a:off x="9909178" y="6345445"/>
            <a:ext cx="22540" cy="28802"/>
          </a:xfrm>
          <a:custGeom>
            <a:avLst/>
            <a:gdLst>
              <a:gd name="T0" fmla="*/ 15 w 43"/>
              <a:gd name="T1" fmla="*/ 0 h 55"/>
              <a:gd name="T2" fmla="*/ 43 w 43"/>
              <a:gd name="T3" fmla="*/ 27 h 55"/>
              <a:gd name="T4" fmla="*/ 15 w 43"/>
              <a:gd name="T5" fmla="*/ 55 h 55"/>
              <a:gd name="T6" fmla="*/ 0 w 43"/>
              <a:gd name="T7" fmla="*/ 50 h 55"/>
              <a:gd name="T8" fmla="*/ 15 w 43"/>
              <a:gd name="T9" fmla="*/ 27 h 55"/>
              <a:gd name="T10" fmla="*/ 15 w 43"/>
              <a:gd name="T11" fmla="*/ 0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3" h="55">
                <a:moveTo>
                  <a:pt x="15" y="0"/>
                </a:moveTo>
                <a:cubicBezTo>
                  <a:pt x="30" y="0"/>
                  <a:pt x="43" y="12"/>
                  <a:pt x="43" y="27"/>
                </a:cubicBezTo>
                <a:cubicBezTo>
                  <a:pt x="43" y="42"/>
                  <a:pt x="30" y="55"/>
                  <a:pt x="15" y="55"/>
                </a:cubicBezTo>
                <a:cubicBezTo>
                  <a:pt x="10" y="55"/>
                  <a:pt x="5" y="53"/>
                  <a:pt x="0" y="50"/>
                </a:cubicBezTo>
                <a:cubicBezTo>
                  <a:pt x="15" y="27"/>
                  <a:pt x="15" y="27"/>
                  <a:pt x="15" y="27"/>
                </a:cubicBezTo>
                <a:lnTo>
                  <a:pt x="15" y="0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0" name="Freeform 339">
            <a:extLst>
              <a:ext uri="{FF2B5EF4-FFF2-40B4-BE49-F238E27FC236}">
                <a16:creationId xmlns:a16="http://schemas.microsoft.com/office/drawing/2014/main" id="{846CC413-8BF0-4256-BCE6-CA8AEE07791E}"/>
              </a:ext>
            </a:extLst>
          </p:cNvPr>
          <p:cNvSpPr>
            <a:spLocks/>
          </p:cNvSpPr>
          <p:nvPr/>
        </p:nvSpPr>
        <p:spPr bwMode="auto">
          <a:xfrm>
            <a:off x="9914187" y="6345445"/>
            <a:ext cx="17531" cy="28802"/>
          </a:xfrm>
          <a:custGeom>
            <a:avLst/>
            <a:gdLst>
              <a:gd name="T0" fmla="*/ 4 w 32"/>
              <a:gd name="T1" fmla="*/ 0 h 55"/>
              <a:gd name="T2" fmla="*/ 32 w 32"/>
              <a:gd name="T3" fmla="*/ 27 h 55"/>
              <a:gd name="T4" fmla="*/ 4 w 32"/>
              <a:gd name="T5" fmla="*/ 55 h 55"/>
              <a:gd name="T6" fmla="*/ 0 w 32"/>
              <a:gd name="T7" fmla="*/ 54 h 55"/>
              <a:gd name="T8" fmla="*/ 4 w 32"/>
              <a:gd name="T9" fmla="*/ 27 h 55"/>
              <a:gd name="T10" fmla="*/ 4 w 32"/>
              <a:gd name="T11" fmla="*/ 0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2" h="55">
                <a:moveTo>
                  <a:pt x="4" y="0"/>
                </a:moveTo>
                <a:cubicBezTo>
                  <a:pt x="19" y="0"/>
                  <a:pt x="32" y="12"/>
                  <a:pt x="32" y="27"/>
                </a:cubicBezTo>
                <a:cubicBezTo>
                  <a:pt x="32" y="42"/>
                  <a:pt x="19" y="55"/>
                  <a:pt x="4" y="55"/>
                </a:cubicBezTo>
                <a:cubicBezTo>
                  <a:pt x="3" y="55"/>
                  <a:pt x="1" y="55"/>
                  <a:pt x="0" y="54"/>
                </a:cubicBezTo>
                <a:cubicBezTo>
                  <a:pt x="4" y="27"/>
                  <a:pt x="4" y="27"/>
                  <a:pt x="4" y="27"/>
                </a:cubicBezTo>
                <a:lnTo>
                  <a:pt x="4" y="0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1" name="Oval 340">
            <a:extLst>
              <a:ext uri="{FF2B5EF4-FFF2-40B4-BE49-F238E27FC236}">
                <a16:creationId xmlns:a16="http://schemas.microsoft.com/office/drawing/2014/main" id="{E2243F65-01EB-4FBA-BD40-2CE7F74C1B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40483" y="6345445"/>
            <a:ext cx="28802" cy="28802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2" name="Freeform 341">
            <a:extLst>
              <a:ext uri="{FF2B5EF4-FFF2-40B4-BE49-F238E27FC236}">
                <a16:creationId xmlns:a16="http://schemas.microsoft.com/office/drawing/2014/main" id="{23495171-797F-4DB9-BC9F-8E433DA0626F}"/>
              </a:ext>
            </a:extLst>
          </p:cNvPr>
          <p:cNvSpPr>
            <a:spLocks/>
          </p:cNvSpPr>
          <p:nvPr/>
        </p:nvSpPr>
        <p:spPr bwMode="auto">
          <a:xfrm>
            <a:off x="9941736" y="6345445"/>
            <a:ext cx="27549" cy="28802"/>
          </a:xfrm>
          <a:custGeom>
            <a:avLst/>
            <a:gdLst>
              <a:gd name="T0" fmla="*/ 23 w 51"/>
              <a:gd name="T1" fmla="*/ 0 h 55"/>
              <a:gd name="T2" fmla="*/ 51 w 51"/>
              <a:gd name="T3" fmla="*/ 27 h 55"/>
              <a:gd name="T4" fmla="*/ 23 w 51"/>
              <a:gd name="T5" fmla="*/ 55 h 55"/>
              <a:gd name="T6" fmla="*/ 0 w 51"/>
              <a:gd name="T7" fmla="*/ 43 h 55"/>
              <a:gd name="T8" fmla="*/ 23 w 51"/>
              <a:gd name="T9" fmla="*/ 27 h 55"/>
              <a:gd name="T10" fmla="*/ 23 w 51"/>
              <a:gd name="T11" fmla="*/ 0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1" h="55">
                <a:moveTo>
                  <a:pt x="23" y="0"/>
                </a:moveTo>
                <a:cubicBezTo>
                  <a:pt x="38" y="0"/>
                  <a:pt x="51" y="12"/>
                  <a:pt x="51" y="27"/>
                </a:cubicBezTo>
                <a:cubicBezTo>
                  <a:pt x="51" y="42"/>
                  <a:pt x="38" y="55"/>
                  <a:pt x="23" y="55"/>
                </a:cubicBezTo>
                <a:cubicBezTo>
                  <a:pt x="14" y="55"/>
                  <a:pt x="5" y="50"/>
                  <a:pt x="0" y="43"/>
                </a:cubicBezTo>
                <a:cubicBezTo>
                  <a:pt x="23" y="27"/>
                  <a:pt x="23" y="27"/>
                  <a:pt x="23" y="27"/>
                </a:cubicBezTo>
                <a:lnTo>
                  <a:pt x="23" y="0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3" name="Freeform 342">
            <a:extLst>
              <a:ext uri="{FF2B5EF4-FFF2-40B4-BE49-F238E27FC236}">
                <a16:creationId xmlns:a16="http://schemas.microsoft.com/office/drawing/2014/main" id="{7A5100B7-C54B-4D42-8D9A-0F2EDA3DAF41}"/>
              </a:ext>
            </a:extLst>
          </p:cNvPr>
          <p:cNvSpPr>
            <a:spLocks/>
          </p:cNvSpPr>
          <p:nvPr/>
        </p:nvSpPr>
        <p:spPr bwMode="auto">
          <a:xfrm>
            <a:off x="9954258" y="6345445"/>
            <a:ext cx="15027" cy="21288"/>
          </a:xfrm>
          <a:custGeom>
            <a:avLst/>
            <a:gdLst>
              <a:gd name="T0" fmla="*/ 0 w 28"/>
              <a:gd name="T1" fmla="*/ 0 h 40"/>
              <a:gd name="T2" fmla="*/ 28 w 28"/>
              <a:gd name="T3" fmla="*/ 27 h 40"/>
              <a:gd name="T4" fmla="*/ 24 w 28"/>
              <a:gd name="T5" fmla="*/ 40 h 40"/>
              <a:gd name="T6" fmla="*/ 0 w 28"/>
              <a:gd name="T7" fmla="*/ 27 h 40"/>
              <a:gd name="T8" fmla="*/ 0 w 28"/>
              <a:gd name="T9" fmla="*/ 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" h="40">
                <a:moveTo>
                  <a:pt x="0" y="0"/>
                </a:moveTo>
                <a:cubicBezTo>
                  <a:pt x="15" y="0"/>
                  <a:pt x="28" y="12"/>
                  <a:pt x="28" y="27"/>
                </a:cubicBezTo>
                <a:cubicBezTo>
                  <a:pt x="28" y="32"/>
                  <a:pt x="26" y="37"/>
                  <a:pt x="24" y="40"/>
                </a:cubicBezTo>
                <a:cubicBezTo>
                  <a:pt x="0" y="27"/>
                  <a:pt x="0" y="27"/>
                  <a:pt x="0" y="27"/>
                </a:cubicBezTo>
                <a:lnTo>
                  <a:pt x="0" y="0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4" name="Freeform 343">
            <a:extLst>
              <a:ext uri="{FF2B5EF4-FFF2-40B4-BE49-F238E27FC236}">
                <a16:creationId xmlns:a16="http://schemas.microsoft.com/office/drawing/2014/main" id="{2984B7AE-3673-4258-B47B-AC7461D89332}"/>
              </a:ext>
            </a:extLst>
          </p:cNvPr>
          <p:cNvSpPr>
            <a:spLocks/>
          </p:cNvSpPr>
          <p:nvPr/>
        </p:nvSpPr>
        <p:spPr bwMode="auto">
          <a:xfrm>
            <a:off x="9954258" y="6345445"/>
            <a:ext cx="15027" cy="18784"/>
          </a:xfrm>
          <a:custGeom>
            <a:avLst/>
            <a:gdLst>
              <a:gd name="T0" fmla="*/ 0 w 28"/>
              <a:gd name="T1" fmla="*/ 0 h 36"/>
              <a:gd name="T2" fmla="*/ 28 w 28"/>
              <a:gd name="T3" fmla="*/ 27 h 36"/>
              <a:gd name="T4" fmla="*/ 26 w 28"/>
              <a:gd name="T5" fmla="*/ 36 h 36"/>
              <a:gd name="T6" fmla="*/ 0 w 28"/>
              <a:gd name="T7" fmla="*/ 27 h 36"/>
              <a:gd name="T8" fmla="*/ 0 w 28"/>
              <a:gd name="T9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" h="36">
                <a:moveTo>
                  <a:pt x="0" y="0"/>
                </a:moveTo>
                <a:cubicBezTo>
                  <a:pt x="15" y="0"/>
                  <a:pt x="28" y="12"/>
                  <a:pt x="28" y="27"/>
                </a:cubicBezTo>
                <a:cubicBezTo>
                  <a:pt x="28" y="30"/>
                  <a:pt x="27" y="33"/>
                  <a:pt x="26" y="36"/>
                </a:cubicBezTo>
                <a:cubicBezTo>
                  <a:pt x="0" y="27"/>
                  <a:pt x="0" y="27"/>
                  <a:pt x="0" y="27"/>
                </a:cubicBezTo>
                <a:lnTo>
                  <a:pt x="0" y="0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5" name="Rectangle 344">
            <a:extLst>
              <a:ext uri="{FF2B5EF4-FFF2-40B4-BE49-F238E27FC236}">
                <a16:creationId xmlns:a16="http://schemas.microsoft.com/office/drawing/2014/main" id="{63CB1448-3DD3-49F0-A8AD-4ED666CED0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04169" y="6396787"/>
            <a:ext cx="5009" cy="13775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6" name="Rectangle 345">
            <a:extLst>
              <a:ext uri="{FF2B5EF4-FFF2-40B4-BE49-F238E27FC236}">
                <a16:creationId xmlns:a16="http://schemas.microsoft.com/office/drawing/2014/main" id="{39ECB530-1D57-455E-A7A3-696EC39824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14187" y="6403048"/>
            <a:ext cx="5009" cy="7513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7" name="Rectangle 346">
            <a:extLst>
              <a:ext uri="{FF2B5EF4-FFF2-40B4-BE49-F238E27FC236}">
                <a16:creationId xmlns:a16="http://schemas.microsoft.com/office/drawing/2014/main" id="{3CE19634-1CB9-478C-BC42-0201006BD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5456" y="6400544"/>
            <a:ext cx="3757" cy="10018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8" name="Rectangle 347">
            <a:extLst>
              <a:ext uri="{FF2B5EF4-FFF2-40B4-BE49-F238E27FC236}">
                <a16:creationId xmlns:a16="http://schemas.microsoft.com/office/drawing/2014/main" id="{5B370AA8-8C82-400B-8945-E593C882C5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5474" y="6398039"/>
            <a:ext cx="5009" cy="1252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9" name="Rectangle 348">
            <a:extLst>
              <a:ext uri="{FF2B5EF4-FFF2-40B4-BE49-F238E27FC236}">
                <a16:creationId xmlns:a16="http://schemas.microsoft.com/office/drawing/2014/main" id="{FF1A0FA7-C9F3-494C-B0DC-6D79B65C6D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45492" y="6399292"/>
            <a:ext cx="5009" cy="11270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0" name="Rectangle 349">
            <a:extLst>
              <a:ext uri="{FF2B5EF4-FFF2-40B4-BE49-F238E27FC236}">
                <a16:creationId xmlns:a16="http://schemas.microsoft.com/office/drawing/2014/main" id="{49207608-2870-484B-8A0C-20251473D2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6762" y="6403048"/>
            <a:ext cx="3757" cy="7513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1" name="Rectangle 350">
            <a:extLst>
              <a:ext uri="{FF2B5EF4-FFF2-40B4-BE49-F238E27FC236}">
                <a16:creationId xmlns:a16="http://schemas.microsoft.com/office/drawing/2014/main" id="{67BFA8EB-BF85-46EF-A0E5-05440ACD03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6780" y="6396787"/>
            <a:ext cx="5009" cy="13775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2" name="Rectangle 351">
            <a:extLst>
              <a:ext uri="{FF2B5EF4-FFF2-40B4-BE49-F238E27FC236}">
                <a16:creationId xmlns:a16="http://schemas.microsoft.com/office/drawing/2014/main" id="{6AB11842-E63F-454F-AC80-8B5CF94182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04169" y="6394283"/>
            <a:ext cx="5009" cy="2504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3" name="Rectangle 352">
            <a:extLst>
              <a:ext uri="{FF2B5EF4-FFF2-40B4-BE49-F238E27FC236}">
                <a16:creationId xmlns:a16="http://schemas.microsoft.com/office/drawing/2014/main" id="{962E3D34-C429-4AFA-B039-FD8DBE22F3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14187" y="6400544"/>
            <a:ext cx="5009" cy="2504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4" name="Rectangle 353">
            <a:extLst>
              <a:ext uri="{FF2B5EF4-FFF2-40B4-BE49-F238E27FC236}">
                <a16:creationId xmlns:a16="http://schemas.microsoft.com/office/drawing/2014/main" id="{56E5570A-2882-4625-8FAD-1E7007E928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5456" y="6396787"/>
            <a:ext cx="3757" cy="3757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5" name="Rectangle 354">
            <a:extLst>
              <a:ext uri="{FF2B5EF4-FFF2-40B4-BE49-F238E27FC236}">
                <a16:creationId xmlns:a16="http://schemas.microsoft.com/office/drawing/2014/main" id="{B025D42D-44D3-4E06-BC5E-764C29DE37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5474" y="6394283"/>
            <a:ext cx="5009" cy="3757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6" name="Rectangle 355">
            <a:extLst>
              <a:ext uri="{FF2B5EF4-FFF2-40B4-BE49-F238E27FC236}">
                <a16:creationId xmlns:a16="http://schemas.microsoft.com/office/drawing/2014/main" id="{CCA1B964-E3C2-4BDC-9373-064953D96C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45492" y="6396787"/>
            <a:ext cx="5009" cy="2504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7" name="Rectangle 356">
            <a:extLst>
              <a:ext uri="{FF2B5EF4-FFF2-40B4-BE49-F238E27FC236}">
                <a16:creationId xmlns:a16="http://schemas.microsoft.com/office/drawing/2014/main" id="{0AE0D46C-5AAD-4AB0-8912-3264F99564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6762" y="6400544"/>
            <a:ext cx="3757" cy="2504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8" name="Rectangle 357">
            <a:extLst>
              <a:ext uri="{FF2B5EF4-FFF2-40B4-BE49-F238E27FC236}">
                <a16:creationId xmlns:a16="http://schemas.microsoft.com/office/drawing/2014/main" id="{B9C750FA-DD74-4DCC-9519-35EC8C5CFA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6780" y="6389274"/>
            <a:ext cx="5009" cy="7513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9" name="Rectangle 358">
            <a:extLst>
              <a:ext uri="{FF2B5EF4-FFF2-40B4-BE49-F238E27FC236}">
                <a16:creationId xmlns:a16="http://schemas.microsoft.com/office/drawing/2014/main" id="{D478B14B-8828-451B-8E94-15E3520124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04169" y="6391779"/>
            <a:ext cx="5009" cy="2504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0" name="Rectangle 359">
            <a:extLst>
              <a:ext uri="{FF2B5EF4-FFF2-40B4-BE49-F238E27FC236}">
                <a16:creationId xmlns:a16="http://schemas.microsoft.com/office/drawing/2014/main" id="{CDB0BD9C-F3BC-4541-A9D9-8633AC535C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14187" y="6399292"/>
            <a:ext cx="5009" cy="1253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1" name="Rectangle 360">
            <a:extLst>
              <a:ext uri="{FF2B5EF4-FFF2-40B4-BE49-F238E27FC236}">
                <a16:creationId xmlns:a16="http://schemas.microsoft.com/office/drawing/2014/main" id="{C0116BEA-F0FD-4CC7-B22B-B8C62FA04E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5456" y="6394283"/>
            <a:ext cx="3757" cy="2504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2" name="Rectangle 361">
            <a:extLst>
              <a:ext uri="{FF2B5EF4-FFF2-40B4-BE49-F238E27FC236}">
                <a16:creationId xmlns:a16="http://schemas.microsoft.com/office/drawing/2014/main" id="{B345D504-9B72-48BC-B91E-BF1948DD82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5474" y="6393030"/>
            <a:ext cx="5009" cy="1253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3" name="Rectangle 362">
            <a:extLst>
              <a:ext uri="{FF2B5EF4-FFF2-40B4-BE49-F238E27FC236}">
                <a16:creationId xmlns:a16="http://schemas.microsoft.com/office/drawing/2014/main" id="{7155D67C-438F-497E-8C34-F69DEFE495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45492" y="6394283"/>
            <a:ext cx="5009" cy="2504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4" name="Rectangle 363">
            <a:extLst>
              <a:ext uri="{FF2B5EF4-FFF2-40B4-BE49-F238E27FC236}">
                <a16:creationId xmlns:a16="http://schemas.microsoft.com/office/drawing/2014/main" id="{364C449B-536E-4494-B181-B88B6A91CD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6762" y="6396787"/>
            <a:ext cx="3757" cy="3757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5" name="Rectangle 364">
            <a:extLst>
              <a:ext uri="{FF2B5EF4-FFF2-40B4-BE49-F238E27FC236}">
                <a16:creationId xmlns:a16="http://schemas.microsoft.com/office/drawing/2014/main" id="{EEB1F224-DE2F-47A6-8EE7-0C3288DD3E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6780" y="6388021"/>
            <a:ext cx="5009" cy="1253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6" name="Rectangle 365">
            <a:extLst>
              <a:ext uri="{FF2B5EF4-FFF2-40B4-BE49-F238E27FC236}">
                <a16:creationId xmlns:a16="http://schemas.microsoft.com/office/drawing/2014/main" id="{3D33F315-B943-4377-A9A0-439209250C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3758" y="6501975"/>
            <a:ext cx="557244" cy="11270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7" name="Rectangle 366">
            <a:extLst>
              <a:ext uri="{FF2B5EF4-FFF2-40B4-BE49-F238E27FC236}">
                <a16:creationId xmlns:a16="http://schemas.microsoft.com/office/drawing/2014/main" id="{E3E42449-FBC9-45AC-871D-6E865188E1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3758" y="6513245"/>
            <a:ext cx="185331" cy="192844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8" name="Rectangle 367">
            <a:extLst>
              <a:ext uri="{FF2B5EF4-FFF2-40B4-BE49-F238E27FC236}">
                <a16:creationId xmlns:a16="http://schemas.microsoft.com/office/drawing/2014/main" id="{5EE97C5F-117D-41D2-B3E0-C487D4A7FC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58193" y="6513245"/>
            <a:ext cx="171556" cy="192844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9" name="Freeform 368">
            <a:extLst>
              <a:ext uri="{FF2B5EF4-FFF2-40B4-BE49-F238E27FC236}">
                <a16:creationId xmlns:a16="http://schemas.microsoft.com/office/drawing/2014/main" id="{6C94AAC2-E510-4F7D-9567-6BF5F3BCA543}"/>
              </a:ext>
            </a:extLst>
          </p:cNvPr>
          <p:cNvSpPr>
            <a:spLocks/>
          </p:cNvSpPr>
          <p:nvPr/>
        </p:nvSpPr>
        <p:spPr bwMode="auto">
          <a:xfrm>
            <a:off x="9800233" y="6484444"/>
            <a:ext cx="72630" cy="17531"/>
          </a:xfrm>
          <a:custGeom>
            <a:avLst/>
            <a:gdLst>
              <a:gd name="T0" fmla="*/ 58 w 58"/>
              <a:gd name="T1" fmla="*/ 8 h 14"/>
              <a:gd name="T2" fmla="*/ 2 w 58"/>
              <a:gd name="T3" fmla="*/ 0 h 14"/>
              <a:gd name="T4" fmla="*/ 0 w 58"/>
              <a:gd name="T5" fmla="*/ 14 h 14"/>
              <a:gd name="T6" fmla="*/ 56 w 58"/>
              <a:gd name="T7" fmla="*/ 14 h 14"/>
              <a:gd name="T8" fmla="*/ 58 w 58"/>
              <a:gd name="T9" fmla="*/ 8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" h="14">
                <a:moveTo>
                  <a:pt x="58" y="8"/>
                </a:moveTo>
                <a:lnTo>
                  <a:pt x="2" y="0"/>
                </a:lnTo>
                <a:lnTo>
                  <a:pt x="0" y="14"/>
                </a:lnTo>
                <a:lnTo>
                  <a:pt x="56" y="14"/>
                </a:lnTo>
                <a:lnTo>
                  <a:pt x="58" y="8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0" name="Freeform 369">
            <a:extLst>
              <a:ext uri="{FF2B5EF4-FFF2-40B4-BE49-F238E27FC236}">
                <a16:creationId xmlns:a16="http://schemas.microsoft.com/office/drawing/2014/main" id="{4EA9189A-8198-4C07-941B-C95D7C70048B}"/>
              </a:ext>
            </a:extLst>
          </p:cNvPr>
          <p:cNvSpPr>
            <a:spLocks/>
          </p:cNvSpPr>
          <p:nvPr/>
        </p:nvSpPr>
        <p:spPr bwMode="auto">
          <a:xfrm>
            <a:off x="9803990" y="6484444"/>
            <a:ext cx="184079" cy="10018"/>
          </a:xfrm>
          <a:custGeom>
            <a:avLst/>
            <a:gdLst>
              <a:gd name="T0" fmla="*/ 91 w 147"/>
              <a:gd name="T1" fmla="*/ 0 h 8"/>
              <a:gd name="T2" fmla="*/ 147 w 147"/>
              <a:gd name="T3" fmla="*/ 8 h 8"/>
              <a:gd name="T4" fmla="*/ 56 w 147"/>
              <a:gd name="T5" fmla="*/ 8 h 8"/>
              <a:gd name="T6" fmla="*/ 0 w 147"/>
              <a:gd name="T7" fmla="*/ 0 h 8"/>
              <a:gd name="T8" fmla="*/ 91 w 147"/>
              <a:gd name="T9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7" h="8">
                <a:moveTo>
                  <a:pt x="91" y="0"/>
                </a:moveTo>
                <a:lnTo>
                  <a:pt x="147" y="8"/>
                </a:lnTo>
                <a:lnTo>
                  <a:pt x="56" y="8"/>
                </a:lnTo>
                <a:lnTo>
                  <a:pt x="0" y="0"/>
                </a:lnTo>
                <a:lnTo>
                  <a:pt x="91" y="0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1" name="Freeform 370">
            <a:extLst>
              <a:ext uri="{FF2B5EF4-FFF2-40B4-BE49-F238E27FC236}">
                <a16:creationId xmlns:a16="http://schemas.microsoft.com/office/drawing/2014/main" id="{1B195A66-4F56-4CD4-A56B-A6D674325B5D}"/>
              </a:ext>
            </a:extLst>
          </p:cNvPr>
          <p:cNvSpPr>
            <a:spLocks/>
          </p:cNvSpPr>
          <p:nvPr/>
        </p:nvSpPr>
        <p:spPr bwMode="auto">
          <a:xfrm>
            <a:off x="9870358" y="6494462"/>
            <a:ext cx="116458" cy="7513"/>
          </a:xfrm>
          <a:custGeom>
            <a:avLst/>
            <a:gdLst>
              <a:gd name="T0" fmla="*/ 0 w 93"/>
              <a:gd name="T1" fmla="*/ 6 h 6"/>
              <a:gd name="T2" fmla="*/ 92 w 93"/>
              <a:gd name="T3" fmla="*/ 6 h 6"/>
              <a:gd name="T4" fmla="*/ 93 w 93"/>
              <a:gd name="T5" fmla="*/ 0 h 6"/>
              <a:gd name="T6" fmla="*/ 2 w 93"/>
              <a:gd name="T7" fmla="*/ 0 h 6"/>
              <a:gd name="T8" fmla="*/ 0 w 93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" h="6">
                <a:moveTo>
                  <a:pt x="0" y="6"/>
                </a:moveTo>
                <a:lnTo>
                  <a:pt x="92" y="6"/>
                </a:lnTo>
                <a:lnTo>
                  <a:pt x="93" y="0"/>
                </a:lnTo>
                <a:lnTo>
                  <a:pt x="2" y="0"/>
                </a:lnTo>
                <a:lnTo>
                  <a:pt x="0" y="6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2" name="Freeform 371">
            <a:extLst>
              <a:ext uri="{FF2B5EF4-FFF2-40B4-BE49-F238E27FC236}">
                <a16:creationId xmlns:a16="http://schemas.microsoft.com/office/drawing/2014/main" id="{3A68B3D1-6DD8-4991-BE07-BA4247F05817}"/>
              </a:ext>
            </a:extLst>
          </p:cNvPr>
          <p:cNvSpPr>
            <a:spLocks/>
          </p:cNvSpPr>
          <p:nvPr/>
        </p:nvSpPr>
        <p:spPr bwMode="auto">
          <a:xfrm>
            <a:off x="9915438" y="6451886"/>
            <a:ext cx="43829" cy="33811"/>
          </a:xfrm>
          <a:custGeom>
            <a:avLst/>
            <a:gdLst>
              <a:gd name="T0" fmla="*/ 83 w 83"/>
              <a:gd name="T1" fmla="*/ 37 h 67"/>
              <a:gd name="T2" fmla="*/ 67 w 83"/>
              <a:gd name="T3" fmla="*/ 67 h 67"/>
              <a:gd name="T4" fmla="*/ 48 w 83"/>
              <a:gd name="T5" fmla="*/ 55 h 67"/>
              <a:gd name="T6" fmla="*/ 37 w 83"/>
              <a:gd name="T7" fmla="*/ 21 h 67"/>
              <a:gd name="T8" fmla="*/ 11 w 83"/>
              <a:gd name="T9" fmla="*/ 16 h 67"/>
              <a:gd name="T10" fmla="*/ 10 w 83"/>
              <a:gd name="T11" fmla="*/ 3 h 67"/>
              <a:gd name="T12" fmla="*/ 52 w 83"/>
              <a:gd name="T13" fmla="*/ 13 h 67"/>
              <a:gd name="T14" fmla="*/ 83 w 83"/>
              <a:gd name="T15" fmla="*/ 37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3" h="67">
                <a:moveTo>
                  <a:pt x="83" y="37"/>
                </a:moveTo>
                <a:cubicBezTo>
                  <a:pt x="67" y="67"/>
                  <a:pt x="67" y="67"/>
                  <a:pt x="67" y="67"/>
                </a:cubicBezTo>
                <a:cubicBezTo>
                  <a:pt x="67" y="67"/>
                  <a:pt x="59" y="62"/>
                  <a:pt x="48" y="55"/>
                </a:cubicBezTo>
                <a:cubicBezTo>
                  <a:pt x="36" y="48"/>
                  <a:pt x="39" y="29"/>
                  <a:pt x="37" y="21"/>
                </a:cubicBezTo>
                <a:cubicBezTo>
                  <a:pt x="35" y="12"/>
                  <a:pt x="19" y="14"/>
                  <a:pt x="11" y="16"/>
                </a:cubicBezTo>
                <a:cubicBezTo>
                  <a:pt x="3" y="17"/>
                  <a:pt x="0" y="6"/>
                  <a:pt x="10" y="3"/>
                </a:cubicBezTo>
                <a:cubicBezTo>
                  <a:pt x="19" y="1"/>
                  <a:pt x="44" y="0"/>
                  <a:pt x="52" y="13"/>
                </a:cubicBezTo>
                <a:cubicBezTo>
                  <a:pt x="59" y="26"/>
                  <a:pt x="70" y="29"/>
                  <a:pt x="83" y="37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3" name="Freeform 372">
            <a:extLst>
              <a:ext uri="{FF2B5EF4-FFF2-40B4-BE49-F238E27FC236}">
                <a16:creationId xmlns:a16="http://schemas.microsoft.com/office/drawing/2014/main" id="{BC1FE5B5-088D-48A8-BE66-F8626FCEB86E}"/>
              </a:ext>
            </a:extLst>
          </p:cNvPr>
          <p:cNvSpPr>
            <a:spLocks/>
          </p:cNvSpPr>
          <p:nvPr/>
        </p:nvSpPr>
        <p:spPr bwMode="auto">
          <a:xfrm>
            <a:off x="9916691" y="6455642"/>
            <a:ext cx="31306" cy="15027"/>
          </a:xfrm>
          <a:custGeom>
            <a:avLst/>
            <a:gdLst>
              <a:gd name="T0" fmla="*/ 51 w 60"/>
              <a:gd name="T1" fmla="*/ 10 h 30"/>
              <a:gd name="T2" fmla="*/ 8 w 60"/>
              <a:gd name="T3" fmla="*/ 15 h 30"/>
              <a:gd name="T4" fmla="*/ 13 w 60"/>
              <a:gd name="T5" fmla="*/ 26 h 30"/>
              <a:gd name="T6" fmla="*/ 40 w 60"/>
              <a:gd name="T7" fmla="*/ 22 h 30"/>
              <a:gd name="T8" fmla="*/ 51 w 60"/>
              <a:gd name="T9" fmla="*/ 1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0" h="30">
                <a:moveTo>
                  <a:pt x="51" y="10"/>
                </a:moveTo>
                <a:cubicBezTo>
                  <a:pt x="40" y="0"/>
                  <a:pt x="16" y="9"/>
                  <a:pt x="8" y="15"/>
                </a:cubicBezTo>
                <a:cubicBezTo>
                  <a:pt x="0" y="20"/>
                  <a:pt x="7" y="30"/>
                  <a:pt x="13" y="26"/>
                </a:cubicBezTo>
                <a:cubicBezTo>
                  <a:pt x="20" y="22"/>
                  <a:pt x="32" y="16"/>
                  <a:pt x="40" y="22"/>
                </a:cubicBezTo>
                <a:cubicBezTo>
                  <a:pt x="47" y="27"/>
                  <a:pt x="60" y="18"/>
                  <a:pt x="51" y="10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4" name="Freeform 373">
            <a:extLst>
              <a:ext uri="{FF2B5EF4-FFF2-40B4-BE49-F238E27FC236}">
                <a16:creationId xmlns:a16="http://schemas.microsoft.com/office/drawing/2014/main" id="{1588D460-9CFE-412A-9B28-AC87B8FEF9A5}"/>
              </a:ext>
            </a:extLst>
          </p:cNvPr>
          <p:cNvSpPr>
            <a:spLocks/>
          </p:cNvSpPr>
          <p:nvPr/>
        </p:nvSpPr>
        <p:spPr bwMode="auto">
          <a:xfrm>
            <a:off x="9922952" y="6460651"/>
            <a:ext cx="30054" cy="18784"/>
          </a:xfrm>
          <a:custGeom>
            <a:avLst/>
            <a:gdLst>
              <a:gd name="T0" fmla="*/ 48 w 58"/>
              <a:gd name="T1" fmla="*/ 8 h 35"/>
              <a:gd name="T2" fmla="*/ 7 w 58"/>
              <a:gd name="T3" fmla="*/ 20 h 35"/>
              <a:gd name="T4" fmla="*/ 14 w 58"/>
              <a:gd name="T5" fmla="*/ 30 h 35"/>
              <a:gd name="T6" fmla="*/ 39 w 58"/>
              <a:gd name="T7" fmla="*/ 22 h 35"/>
              <a:gd name="T8" fmla="*/ 48 w 58"/>
              <a:gd name="T9" fmla="*/ 8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" h="35">
                <a:moveTo>
                  <a:pt x="48" y="8"/>
                </a:moveTo>
                <a:cubicBezTo>
                  <a:pt x="35" y="0"/>
                  <a:pt x="14" y="13"/>
                  <a:pt x="7" y="20"/>
                </a:cubicBezTo>
                <a:cubicBezTo>
                  <a:pt x="0" y="27"/>
                  <a:pt x="8" y="35"/>
                  <a:pt x="14" y="30"/>
                </a:cubicBezTo>
                <a:cubicBezTo>
                  <a:pt x="20" y="25"/>
                  <a:pt x="30" y="17"/>
                  <a:pt x="39" y="22"/>
                </a:cubicBezTo>
                <a:cubicBezTo>
                  <a:pt x="47" y="26"/>
                  <a:pt x="58" y="14"/>
                  <a:pt x="48" y="8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5" name="Freeform 374">
            <a:extLst>
              <a:ext uri="{FF2B5EF4-FFF2-40B4-BE49-F238E27FC236}">
                <a16:creationId xmlns:a16="http://schemas.microsoft.com/office/drawing/2014/main" id="{D132A999-EF66-472F-AF00-F3E07623EA5C}"/>
              </a:ext>
            </a:extLst>
          </p:cNvPr>
          <p:cNvSpPr>
            <a:spLocks/>
          </p:cNvSpPr>
          <p:nvPr/>
        </p:nvSpPr>
        <p:spPr bwMode="auto">
          <a:xfrm>
            <a:off x="9986816" y="6351707"/>
            <a:ext cx="118963" cy="177817"/>
          </a:xfrm>
          <a:custGeom>
            <a:avLst/>
            <a:gdLst>
              <a:gd name="T0" fmla="*/ 164 w 230"/>
              <a:gd name="T1" fmla="*/ 47 h 343"/>
              <a:gd name="T2" fmla="*/ 77 w 230"/>
              <a:gd name="T3" fmla="*/ 79 h 343"/>
              <a:gd name="T4" fmla="*/ 17 w 230"/>
              <a:gd name="T5" fmla="*/ 197 h 343"/>
              <a:gd name="T6" fmla="*/ 0 w 230"/>
              <a:gd name="T7" fmla="*/ 227 h 343"/>
              <a:gd name="T8" fmla="*/ 164 w 230"/>
              <a:gd name="T9" fmla="*/ 47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0" h="343">
                <a:moveTo>
                  <a:pt x="164" y="47"/>
                </a:moveTo>
                <a:cubicBezTo>
                  <a:pt x="144" y="0"/>
                  <a:pt x="62" y="38"/>
                  <a:pt x="77" y="79"/>
                </a:cubicBezTo>
                <a:cubicBezTo>
                  <a:pt x="129" y="222"/>
                  <a:pt x="143" y="255"/>
                  <a:pt x="17" y="197"/>
                </a:cubicBezTo>
                <a:cubicBezTo>
                  <a:pt x="0" y="227"/>
                  <a:pt x="0" y="227"/>
                  <a:pt x="0" y="227"/>
                </a:cubicBezTo>
                <a:cubicBezTo>
                  <a:pt x="226" y="343"/>
                  <a:pt x="230" y="206"/>
                  <a:pt x="164" y="4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6" name="Freeform 375">
            <a:extLst>
              <a:ext uri="{FF2B5EF4-FFF2-40B4-BE49-F238E27FC236}">
                <a16:creationId xmlns:a16="http://schemas.microsoft.com/office/drawing/2014/main" id="{B43D6129-4CB0-4E2F-A472-30C900DCAEA9}"/>
              </a:ext>
            </a:extLst>
          </p:cNvPr>
          <p:cNvSpPr>
            <a:spLocks/>
          </p:cNvSpPr>
          <p:nvPr/>
        </p:nvSpPr>
        <p:spPr bwMode="auto">
          <a:xfrm>
            <a:off x="9953005" y="6438111"/>
            <a:ext cx="31306" cy="15027"/>
          </a:xfrm>
          <a:custGeom>
            <a:avLst/>
            <a:gdLst>
              <a:gd name="T0" fmla="*/ 51 w 60"/>
              <a:gd name="T1" fmla="*/ 10 h 29"/>
              <a:gd name="T2" fmla="*/ 9 w 60"/>
              <a:gd name="T3" fmla="*/ 14 h 29"/>
              <a:gd name="T4" fmla="*/ 13 w 60"/>
              <a:gd name="T5" fmla="*/ 26 h 29"/>
              <a:gd name="T6" fmla="*/ 40 w 60"/>
              <a:gd name="T7" fmla="*/ 22 h 29"/>
              <a:gd name="T8" fmla="*/ 51 w 60"/>
              <a:gd name="T9" fmla="*/ 10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0" h="29">
                <a:moveTo>
                  <a:pt x="51" y="10"/>
                </a:moveTo>
                <a:cubicBezTo>
                  <a:pt x="41" y="0"/>
                  <a:pt x="17" y="9"/>
                  <a:pt x="9" y="14"/>
                </a:cubicBezTo>
                <a:cubicBezTo>
                  <a:pt x="0" y="19"/>
                  <a:pt x="6" y="29"/>
                  <a:pt x="13" y="26"/>
                </a:cubicBezTo>
                <a:cubicBezTo>
                  <a:pt x="20" y="22"/>
                  <a:pt x="32" y="16"/>
                  <a:pt x="40" y="22"/>
                </a:cubicBezTo>
                <a:cubicBezTo>
                  <a:pt x="46" y="28"/>
                  <a:pt x="60" y="18"/>
                  <a:pt x="51" y="10"/>
                </a:cubicBezTo>
                <a:close/>
              </a:path>
            </a:pathLst>
          </a:custGeom>
          <a:solidFill>
            <a:srgbClr val="5BBBC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7" name="Freeform 376">
            <a:extLst>
              <a:ext uri="{FF2B5EF4-FFF2-40B4-BE49-F238E27FC236}">
                <a16:creationId xmlns:a16="http://schemas.microsoft.com/office/drawing/2014/main" id="{0B5E36FD-4059-4A3C-B803-1CB4AE3EC7D5}"/>
              </a:ext>
            </a:extLst>
          </p:cNvPr>
          <p:cNvSpPr>
            <a:spLocks/>
          </p:cNvSpPr>
          <p:nvPr/>
        </p:nvSpPr>
        <p:spPr bwMode="auto">
          <a:xfrm>
            <a:off x="9958014" y="6443120"/>
            <a:ext cx="31306" cy="18784"/>
          </a:xfrm>
          <a:custGeom>
            <a:avLst/>
            <a:gdLst>
              <a:gd name="T0" fmla="*/ 49 w 59"/>
              <a:gd name="T1" fmla="*/ 8 h 35"/>
              <a:gd name="T2" fmla="*/ 7 w 59"/>
              <a:gd name="T3" fmla="*/ 19 h 35"/>
              <a:gd name="T4" fmla="*/ 14 w 59"/>
              <a:gd name="T5" fmla="*/ 30 h 35"/>
              <a:gd name="T6" fmla="*/ 40 w 59"/>
              <a:gd name="T7" fmla="*/ 22 h 35"/>
              <a:gd name="T8" fmla="*/ 49 w 59"/>
              <a:gd name="T9" fmla="*/ 8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9" h="35">
                <a:moveTo>
                  <a:pt x="49" y="8"/>
                </a:moveTo>
                <a:cubicBezTo>
                  <a:pt x="37" y="0"/>
                  <a:pt x="15" y="13"/>
                  <a:pt x="7" y="19"/>
                </a:cubicBezTo>
                <a:cubicBezTo>
                  <a:pt x="0" y="26"/>
                  <a:pt x="8" y="35"/>
                  <a:pt x="14" y="30"/>
                </a:cubicBezTo>
                <a:cubicBezTo>
                  <a:pt x="20" y="25"/>
                  <a:pt x="31" y="17"/>
                  <a:pt x="40" y="22"/>
                </a:cubicBezTo>
                <a:cubicBezTo>
                  <a:pt x="47" y="26"/>
                  <a:pt x="59" y="15"/>
                  <a:pt x="49" y="8"/>
                </a:cubicBezTo>
                <a:close/>
              </a:path>
            </a:pathLst>
          </a:custGeom>
          <a:solidFill>
            <a:srgbClr val="5BBBC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8" name="Freeform 377">
            <a:extLst>
              <a:ext uri="{FF2B5EF4-FFF2-40B4-BE49-F238E27FC236}">
                <a16:creationId xmlns:a16="http://schemas.microsoft.com/office/drawing/2014/main" id="{08295DD6-CCC1-43E5-AEF0-A77851C0E8CE}"/>
              </a:ext>
            </a:extLst>
          </p:cNvPr>
          <p:cNvSpPr>
            <a:spLocks/>
          </p:cNvSpPr>
          <p:nvPr/>
        </p:nvSpPr>
        <p:spPr bwMode="auto">
          <a:xfrm>
            <a:off x="9953005" y="6434354"/>
            <a:ext cx="42576" cy="35063"/>
          </a:xfrm>
          <a:custGeom>
            <a:avLst/>
            <a:gdLst>
              <a:gd name="T0" fmla="*/ 82 w 82"/>
              <a:gd name="T1" fmla="*/ 38 h 68"/>
              <a:gd name="T2" fmla="*/ 65 w 82"/>
              <a:gd name="T3" fmla="*/ 68 h 68"/>
              <a:gd name="T4" fmla="*/ 46 w 82"/>
              <a:gd name="T5" fmla="*/ 56 h 68"/>
              <a:gd name="T6" fmla="*/ 36 w 82"/>
              <a:gd name="T7" fmla="*/ 21 h 68"/>
              <a:gd name="T8" fmla="*/ 10 w 82"/>
              <a:gd name="T9" fmla="*/ 15 h 68"/>
              <a:gd name="T10" fmla="*/ 10 w 82"/>
              <a:gd name="T11" fmla="*/ 2 h 68"/>
              <a:gd name="T12" fmla="*/ 51 w 82"/>
              <a:gd name="T13" fmla="*/ 13 h 68"/>
              <a:gd name="T14" fmla="*/ 82 w 82"/>
              <a:gd name="T15" fmla="*/ 3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2" h="68">
                <a:moveTo>
                  <a:pt x="82" y="38"/>
                </a:moveTo>
                <a:cubicBezTo>
                  <a:pt x="65" y="68"/>
                  <a:pt x="65" y="68"/>
                  <a:pt x="65" y="68"/>
                </a:cubicBezTo>
                <a:cubicBezTo>
                  <a:pt x="65" y="68"/>
                  <a:pt x="57" y="63"/>
                  <a:pt x="46" y="56"/>
                </a:cubicBezTo>
                <a:cubicBezTo>
                  <a:pt x="35" y="48"/>
                  <a:pt x="38" y="29"/>
                  <a:pt x="36" y="21"/>
                </a:cubicBezTo>
                <a:cubicBezTo>
                  <a:pt x="34" y="12"/>
                  <a:pt x="18" y="14"/>
                  <a:pt x="10" y="15"/>
                </a:cubicBezTo>
                <a:cubicBezTo>
                  <a:pt x="2" y="16"/>
                  <a:pt x="0" y="4"/>
                  <a:pt x="10" y="2"/>
                </a:cubicBezTo>
                <a:cubicBezTo>
                  <a:pt x="19" y="0"/>
                  <a:pt x="44" y="1"/>
                  <a:pt x="51" y="13"/>
                </a:cubicBezTo>
                <a:cubicBezTo>
                  <a:pt x="58" y="26"/>
                  <a:pt x="69" y="30"/>
                  <a:pt x="82" y="38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9" name="Freeform 378">
            <a:extLst>
              <a:ext uri="{FF2B5EF4-FFF2-40B4-BE49-F238E27FC236}">
                <a16:creationId xmlns:a16="http://schemas.microsoft.com/office/drawing/2014/main" id="{371A47CA-0582-4619-A4A7-707B9580281A}"/>
              </a:ext>
            </a:extLst>
          </p:cNvPr>
          <p:cNvSpPr>
            <a:spLocks/>
          </p:cNvSpPr>
          <p:nvPr/>
        </p:nvSpPr>
        <p:spPr bwMode="auto">
          <a:xfrm>
            <a:off x="9966780" y="6456895"/>
            <a:ext cx="15027" cy="11270"/>
          </a:xfrm>
          <a:custGeom>
            <a:avLst/>
            <a:gdLst>
              <a:gd name="T0" fmla="*/ 9 w 29"/>
              <a:gd name="T1" fmla="*/ 20 h 22"/>
              <a:gd name="T2" fmla="*/ 2 w 29"/>
              <a:gd name="T3" fmla="*/ 18 h 22"/>
              <a:gd name="T4" fmla="*/ 4 w 29"/>
              <a:gd name="T5" fmla="*/ 11 h 22"/>
              <a:gd name="T6" fmla="*/ 20 w 29"/>
              <a:gd name="T7" fmla="*/ 2 h 22"/>
              <a:gd name="T8" fmla="*/ 27 w 29"/>
              <a:gd name="T9" fmla="*/ 4 h 22"/>
              <a:gd name="T10" fmla="*/ 25 w 29"/>
              <a:gd name="T11" fmla="*/ 11 h 22"/>
              <a:gd name="T12" fmla="*/ 9 w 29"/>
              <a:gd name="T13" fmla="*/ 2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" h="22">
                <a:moveTo>
                  <a:pt x="9" y="20"/>
                </a:moveTo>
                <a:cubicBezTo>
                  <a:pt x="6" y="22"/>
                  <a:pt x="3" y="21"/>
                  <a:pt x="2" y="18"/>
                </a:cubicBezTo>
                <a:cubicBezTo>
                  <a:pt x="0" y="16"/>
                  <a:pt x="1" y="12"/>
                  <a:pt x="4" y="11"/>
                </a:cubicBezTo>
                <a:cubicBezTo>
                  <a:pt x="20" y="2"/>
                  <a:pt x="20" y="2"/>
                  <a:pt x="20" y="2"/>
                </a:cubicBezTo>
                <a:cubicBezTo>
                  <a:pt x="23" y="0"/>
                  <a:pt x="26" y="1"/>
                  <a:pt x="27" y="4"/>
                </a:cubicBezTo>
                <a:cubicBezTo>
                  <a:pt x="29" y="6"/>
                  <a:pt x="28" y="10"/>
                  <a:pt x="25" y="11"/>
                </a:cubicBezTo>
                <a:lnTo>
                  <a:pt x="9" y="20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0" name="Freeform 379">
            <a:extLst>
              <a:ext uri="{FF2B5EF4-FFF2-40B4-BE49-F238E27FC236}">
                <a16:creationId xmlns:a16="http://schemas.microsoft.com/office/drawing/2014/main" id="{77CFF381-E700-4FCA-ADF4-3AFDC640C49A}"/>
              </a:ext>
            </a:extLst>
          </p:cNvPr>
          <p:cNvSpPr>
            <a:spLocks/>
          </p:cNvSpPr>
          <p:nvPr/>
        </p:nvSpPr>
        <p:spPr bwMode="auto">
          <a:xfrm>
            <a:off x="9925456" y="6535785"/>
            <a:ext cx="215384" cy="155277"/>
          </a:xfrm>
          <a:custGeom>
            <a:avLst/>
            <a:gdLst>
              <a:gd name="T0" fmla="*/ 415 w 415"/>
              <a:gd name="T1" fmla="*/ 62 h 297"/>
              <a:gd name="T2" fmla="*/ 309 w 415"/>
              <a:gd name="T3" fmla="*/ 0 h 297"/>
              <a:gd name="T4" fmla="*/ 121 w 415"/>
              <a:gd name="T5" fmla="*/ 297 h 297"/>
              <a:gd name="T6" fmla="*/ 147 w 415"/>
              <a:gd name="T7" fmla="*/ 296 h 297"/>
              <a:gd name="T8" fmla="*/ 360 w 415"/>
              <a:gd name="T9" fmla="*/ 97 h 297"/>
              <a:gd name="T10" fmla="*/ 415 w 415"/>
              <a:gd name="T11" fmla="*/ 62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5" h="297">
                <a:moveTo>
                  <a:pt x="415" y="62"/>
                </a:moveTo>
                <a:cubicBezTo>
                  <a:pt x="415" y="43"/>
                  <a:pt x="395" y="0"/>
                  <a:pt x="309" y="0"/>
                </a:cubicBezTo>
                <a:cubicBezTo>
                  <a:pt x="100" y="0"/>
                  <a:pt x="0" y="44"/>
                  <a:pt x="121" y="297"/>
                </a:cubicBezTo>
                <a:cubicBezTo>
                  <a:pt x="126" y="296"/>
                  <a:pt x="141" y="296"/>
                  <a:pt x="147" y="296"/>
                </a:cubicBezTo>
                <a:cubicBezTo>
                  <a:pt x="61" y="8"/>
                  <a:pt x="269" y="102"/>
                  <a:pt x="360" y="97"/>
                </a:cubicBezTo>
                <a:cubicBezTo>
                  <a:pt x="397" y="94"/>
                  <a:pt x="415" y="81"/>
                  <a:pt x="415" y="62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1" name="Freeform 380">
            <a:extLst>
              <a:ext uri="{FF2B5EF4-FFF2-40B4-BE49-F238E27FC236}">
                <a16:creationId xmlns:a16="http://schemas.microsoft.com/office/drawing/2014/main" id="{CDAAA28A-B265-4452-A97E-4183750D14D2}"/>
              </a:ext>
            </a:extLst>
          </p:cNvPr>
          <p:cNvSpPr>
            <a:spLocks/>
          </p:cNvSpPr>
          <p:nvPr/>
        </p:nvSpPr>
        <p:spPr bwMode="auto">
          <a:xfrm>
            <a:off x="9969285" y="6694819"/>
            <a:ext cx="33811" cy="12522"/>
          </a:xfrm>
          <a:custGeom>
            <a:avLst/>
            <a:gdLst>
              <a:gd name="T0" fmla="*/ 39 w 67"/>
              <a:gd name="T1" fmla="*/ 0 h 24"/>
              <a:gd name="T2" fmla="*/ 16 w 67"/>
              <a:gd name="T3" fmla="*/ 6 h 24"/>
              <a:gd name="T4" fmla="*/ 11 w 67"/>
              <a:gd name="T5" fmla="*/ 17 h 24"/>
              <a:gd name="T6" fmla="*/ 48 w 67"/>
              <a:gd name="T7" fmla="*/ 15 h 24"/>
              <a:gd name="T8" fmla="*/ 48 w 67"/>
              <a:gd name="T9" fmla="*/ 20 h 24"/>
              <a:gd name="T10" fmla="*/ 67 w 67"/>
              <a:gd name="T11" fmla="*/ 20 h 24"/>
              <a:gd name="T12" fmla="*/ 66 w 67"/>
              <a:gd name="T13" fmla="*/ 1 h 24"/>
              <a:gd name="T14" fmla="*/ 39 w 67"/>
              <a:gd name="T15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7" h="24">
                <a:moveTo>
                  <a:pt x="39" y="0"/>
                </a:moveTo>
                <a:cubicBezTo>
                  <a:pt x="37" y="5"/>
                  <a:pt x="22" y="10"/>
                  <a:pt x="16" y="6"/>
                </a:cubicBezTo>
                <a:cubicBezTo>
                  <a:pt x="10" y="3"/>
                  <a:pt x="0" y="10"/>
                  <a:pt x="11" y="17"/>
                </a:cubicBezTo>
                <a:cubicBezTo>
                  <a:pt x="23" y="24"/>
                  <a:pt x="43" y="21"/>
                  <a:pt x="48" y="15"/>
                </a:cubicBezTo>
                <a:cubicBezTo>
                  <a:pt x="48" y="17"/>
                  <a:pt x="48" y="20"/>
                  <a:pt x="48" y="20"/>
                </a:cubicBezTo>
                <a:cubicBezTo>
                  <a:pt x="67" y="20"/>
                  <a:pt x="67" y="20"/>
                  <a:pt x="67" y="20"/>
                </a:cubicBezTo>
                <a:cubicBezTo>
                  <a:pt x="66" y="1"/>
                  <a:pt x="66" y="1"/>
                  <a:pt x="66" y="1"/>
                </a:cubicBezTo>
                <a:lnTo>
                  <a:pt x="39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2" name="Freeform 381">
            <a:extLst>
              <a:ext uri="{FF2B5EF4-FFF2-40B4-BE49-F238E27FC236}">
                <a16:creationId xmlns:a16="http://schemas.microsoft.com/office/drawing/2014/main" id="{4BC7B7DC-0015-4BEE-93BC-708ED9945D0F}"/>
              </a:ext>
            </a:extLst>
          </p:cNvPr>
          <p:cNvSpPr>
            <a:spLocks/>
          </p:cNvSpPr>
          <p:nvPr/>
        </p:nvSpPr>
        <p:spPr bwMode="auto">
          <a:xfrm>
            <a:off x="9915438" y="6535785"/>
            <a:ext cx="225402" cy="155277"/>
          </a:xfrm>
          <a:custGeom>
            <a:avLst/>
            <a:gdLst>
              <a:gd name="T0" fmla="*/ 433 w 433"/>
              <a:gd name="T1" fmla="*/ 62 h 297"/>
              <a:gd name="T2" fmla="*/ 327 w 433"/>
              <a:gd name="T3" fmla="*/ 0 h 297"/>
              <a:gd name="T4" fmla="*/ 51 w 433"/>
              <a:gd name="T5" fmla="*/ 297 h 297"/>
              <a:gd name="T6" fmla="*/ 78 w 433"/>
              <a:gd name="T7" fmla="*/ 296 h 297"/>
              <a:gd name="T8" fmla="*/ 378 w 433"/>
              <a:gd name="T9" fmla="*/ 97 h 297"/>
              <a:gd name="T10" fmla="*/ 433 w 433"/>
              <a:gd name="T11" fmla="*/ 62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33" h="297">
                <a:moveTo>
                  <a:pt x="433" y="62"/>
                </a:moveTo>
                <a:cubicBezTo>
                  <a:pt x="433" y="43"/>
                  <a:pt x="396" y="0"/>
                  <a:pt x="327" y="0"/>
                </a:cubicBezTo>
                <a:cubicBezTo>
                  <a:pt x="113" y="0"/>
                  <a:pt x="0" y="39"/>
                  <a:pt x="51" y="297"/>
                </a:cubicBezTo>
                <a:cubicBezTo>
                  <a:pt x="56" y="296"/>
                  <a:pt x="71" y="296"/>
                  <a:pt x="78" y="296"/>
                </a:cubicBezTo>
                <a:cubicBezTo>
                  <a:pt x="44" y="8"/>
                  <a:pt x="315" y="101"/>
                  <a:pt x="378" y="97"/>
                </a:cubicBezTo>
                <a:cubicBezTo>
                  <a:pt x="415" y="94"/>
                  <a:pt x="433" y="81"/>
                  <a:pt x="433" y="62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3" name="Freeform 382">
            <a:extLst>
              <a:ext uri="{FF2B5EF4-FFF2-40B4-BE49-F238E27FC236}">
                <a16:creationId xmlns:a16="http://schemas.microsoft.com/office/drawing/2014/main" id="{E52E4B95-4AA6-4095-918D-030E46625D1E}"/>
              </a:ext>
            </a:extLst>
          </p:cNvPr>
          <p:cNvSpPr>
            <a:spLocks/>
          </p:cNvSpPr>
          <p:nvPr/>
        </p:nvSpPr>
        <p:spPr bwMode="auto">
          <a:xfrm>
            <a:off x="9921700" y="6694819"/>
            <a:ext cx="35063" cy="12522"/>
          </a:xfrm>
          <a:custGeom>
            <a:avLst/>
            <a:gdLst>
              <a:gd name="T0" fmla="*/ 39 w 67"/>
              <a:gd name="T1" fmla="*/ 0 h 24"/>
              <a:gd name="T2" fmla="*/ 16 w 67"/>
              <a:gd name="T3" fmla="*/ 6 h 24"/>
              <a:gd name="T4" fmla="*/ 11 w 67"/>
              <a:gd name="T5" fmla="*/ 17 h 24"/>
              <a:gd name="T6" fmla="*/ 48 w 67"/>
              <a:gd name="T7" fmla="*/ 15 h 24"/>
              <a:gd name="T8" fmla="*/ 48 w 67"/>
              <a:gd name="T9" fmla="*/ 20 h 24"/>
              <a:gd name="T10" fmla="*/ 67 w 67"/>
              <a:gd name="T11" fmla="*/ 20 h 24"/>
              <a:gd name="T12" fmla="*/ 65 w 67"/>
              <a:gd name="T13" fmla="*/ 1 h 24"/>
              <a:gd name="T14" fmla="*/ 39 w 67"/>
              <a:gd name="T15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7" h="24">
                <a:moveTo>
                  <a:pt x="39" y="0"/>
                </a:moveTo>
                <a:cubicBezTo>
                  <a:pt x="37" y="5"/>
                  <a:pt x="22" y="10"/>
                  <a:pt x="16" y="6"/>
                </a:cubicBezTo>
                <a:cubicBezTo>
                  <a:pt x="9" y="3"/>
                  <a:pt x="0" y="10"/>
                  <a:pt x="11" y="17"/>
                </a:cubicBezTo>
                <a:cubicBezTo>
                  <a:pt x="22" y="24"/>
                  <a:pt x="43" y="21"/>
                  <a:pt x="48" y="15"/>
                </a:cubicBezTo>
                <a:cubicBezTo>
                  <a:pt x="48" y="17"/>
                  <a:pt x="48" y="20"/>
                  <a:pt x="48" y="20"/>
                </a:cubicBezTo>
                <a:cubicBezTo>
                  <a:pt x="67" y="20"/>
                  <a:pt x="67" y="20"/>
                  <a:pt x="67" y="20"/>
                </a:cubicBezTo>
                <a:cubicBezTo>
                  <a:pt x="65" y="1"/>
                  <a:pt x="65" y="1"/>
                  <a:pt x="65" y="1"/>
                </a:cubicBezTo>
                <a:lnTo>
                  <a:pt x="39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4" name="Freeform 383">
            <a:extLst>
              <a:ext uri="{FF2B5EF4-FFF2-40B4-BE49-F238E27FC236}">
                <a16:creationId xmlns:a16="http://schemas.microsoft.com/office/drawing/2014/main" id="{F66735CD-7005-4CFE-BAC7-BD3C50EEC91D}"/>
              </a:ext>
            </a:extLst>
          </p:cNvPr>
          <p:cNvSpPr>
            <a:spLocks/>
          </p:cNvSpPr>
          <p:nvPr/>
        </p:nvSpPr>
        <p:spPr bwMode="auto">
          <a:xfrm>
            <a:off x="10000590" y="6317896"/>
            <a:ext cx="56351" cy="61360"/>
          </a:xfrm>
          <a:custGeom>
            <a:avLst/>
            <a:gdLst>
              <a:gd name="T0" fmla="*/ 83 w 109"/>
              <a:gd name="T1" fmla="*/ 37 h 116"/>
              <a:gd name="T2" fmla="*/ 47 w 109"/>
              <a:gd name="T3" fmla="*/ 0 h 116"/>
              <a:gd name="T4" fmla="*/ 10 w 109"/>
              <a:gd name="T5" fmla="*/ 19 h 116"/>
              <a:gd name="T6" fmla="*/ 0 w 109"/>
              <a:gd name="T7" fmla="*/ 45 h 116"/>
              <a:gd name="T8" fmla="*/ 10 w 109"/>
              <a:gd name="T9" fmla="*/ 45 h 116"/>
              <a:gd name="T10" fmla="*/ 9 w 109"/>
              <a:gd name="T11" fmla="*/ 53 h 116"/>
              <a:gd name="T12" fmla="*/ 13 w 109"/>
              <a:gd name="T13" fmla="*/ 57 h 116"/>
              <a:gd name="T14" fmla="*/ 9 w 109"/>
              <a:gd name="T15" fmla="*/ 62 h 116"/>
              <a:gd name="T16" fmla="*/ 11 w 109"/>
              <a:gd name="T17" fmla="*/ 68 h 116"/>
              <a:gd name="T18" fmla="*/ 35 w 109"/>
              <a:gd name="T19" fmla="*/ 116 h 116"/>
              <a:gd name="T20" fmla="*/ 109 w 109"/>
              <a:gd name="T21" fmla="*/ 73 h 116"/>
              <a:gd name="T22" fmla="*/ 83 w 109"/>
              <a:gd name="T23" fmla="*/ 37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9" h="116">
                <a:moveTo>
                  <a:pt x="83" y="37"/>
                </a:moveTo>
                <a:cubicBezTo>
                  <a:pt x="80" y="24"/>
                  <a:pt x="69" y="0"/>
                  <a:pt x="47" y="0"/>
                </a:cubicBezTo>
                <a:cubicBezTo>
                  <a:pt x="28" y="0"/>
                  <a:pt x="16" y="5"/>
                  <a:pt x="10" y="19"/>
                </a:cubicBezTo>
                <a:cubicBezTo>
                  <a:pt x="4" y="33"/>
                  <a:pt x="0" y="45"/>
                  <a:pt x="0" y="45"/>
                </a:cubicBezTo>
                <a:cubicBezTo>
                  <a:pt x="10" y="45"/>
                  <a:pt x="10" y="45"/>
                  <a:pt x="10" y="45"/>
                </a:cubicBezTo>
                <a:cubicBezTo>
                  <a:pt x="10" y="45"/>
                  <a:pt x="9" y="51"/>
                  <a:pt x="9" y="53"/>
                </a:cubicBezTo>
                <a:cubicBezTo>
                  <a:pt x="9" y="56"/>
                  <a:pt x="11" y="56"/>
                  <a:pt x="13" y="57"/>
                </a:cubicBezTo>
                <a:cubicBezTo>
                  <a:pt x="11" y="58"/>
                  <a:pt x="9" y="59"/>
                  <a:pt x="9" y="62"/>
                </a:cubicBezTo>
                <a:cubicBezTo>
                  <a:pt x="9" y="65"/>
                  <a:pt x="10" y="67"/>
                  <a:pt x="11" y="68"/>
                </a:cubicBezTo>
                <a:cubicBezTo>
                  <a:pt x="17" y="83"/>
                  <a:pt x="26" y="101"/>
                  <a:pt x="35" y="116"/>
                </a:cubicBezTo>
                <a:cubicBezTo>
                  <a:pt x="109" y="73"/>
                  <a:pt x="109" y="73"/>
                  <a:pt x="109" y="73"/>
                </a:cubicBezTo>
                <a:cubicBezTo>
                  <a:pt x="100" y="70"/>
                  <a:pt x="87" y="53"/>
                  <a:pt x="83" y="37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5" name="Freeform 384">
            <a:extLst>
              <a:ext uri="{FF2B5EF4-FFF2-40B4-BE49-F238E27FC236}">
                <a16:creationId xmlns:a16="http://schemas.microsoft.com/office/drawing/2014/main" id="{0CB7BE91-89D5-4CF5-992C-ADB07336DEEC}"/>
              </a:ext>
            </a:extLst>
          </p:cNvPr>
          <p:cNvSpPr>
            <a:spLocks/>
          </p:cNvSpPr>
          <p:nvPr/>
        </p:nvSpPr>
        <p:spPr bwMode="auto">
          <a:xfrm>
            <a:off x="10009356" y="6329167"/>
            <a:ext cx="5009" cy="5009"/>
          </a:xfrm>
          <a:custGeom>
            <a:avLst/>
            <a:gdLst>
              <a:gd name="T0" fmla="*/ 1 w 9"/>
              <a:gd name="T1" fmla="*/ 4 h 9"/>
              <a:gd name="T2" fmla="*/ 3 w 9"/>
              <a:gd name="T3" fmla="*/ 9 h 9"/>
              <a:gd name="T4" fmla="*/ 9 w 9"/>
              <a:gd name="T5" fmla="*/ 6 h 9"/>
              <a:gd name="T6" fmla="*/ 6 w 9"/>
              <a:gd name="T7" fmla="*/ 1 h 9"/>
              <a:gd name="T8" fmla="*/ 1 w 9"/>
              <a:gd name="T9" fmla="*/ 4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9">
                <a:moveTo>
                  <a:pt x="1" y="4"/>
                </a:moveTo>
                <a:cubicBezTo>
                  <a:pt x="0" y="6"/>
                  <a:pt x="1" y="8"/>
                  <a:pt x="3" y="9"/>
                </a:cubicBezTo>
                <a:cubicBezTo>
                  <a:pt x="6" y="9"/>
                  <a:pt x="8" y="8"/>
                  <a:pt x="9" y="6"/>
                </a:cubicBezTo>
                <a:cubicBezTo>
                  <a:pt x="9" y="4"/>
                  <a:pt x="8" y="1"/>
                  <a:pt x="6" y="1"/>
                </a:cubicBezTo>
                <a:cubicBezTo>
                  <a:pt x="4" y="0"/>
                  <a:pt x="1" y="1"/>
                  <a:pt x="1" y="4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6" name="Freeform 385">
            <a:extLst>
              <a:ext uri="{FF2B5EF4-FFF2-40B4-BE49-F238E27FC236}">
                <a16:creationId xmlns:a16="http://schemas.microsoft.com/office/drawing/2014/main" id="{92F239DF-41C6-4157-BE3E-64C453DF279C}"/>
              </a:ext>
            </a:extLst>
          </p:cNvPr>
          <p:cNvSpPr>
            <a:spLocks/>
          </p:cNvSpPr>
          <p:nvPr/>
        </p:nvSpPr>
        <p:spPr bwMode="auto">
          <a:xfrm>
            <a:off x="10014365" y="6329167"/>
            <a:ext cx="5009" cy="5009"/>
          </a:xfrm>
          <a:custGeom>
            <a:avLst/>
            <a:gdLst>
              <a:gd name="T0" fmla="*/ 0 w 9"/>
              <a:gd name="T1" fmla="*/ 3 h 9"/>
              <a:gd name="T2" fmla="*/ 3 w 9"/>
              <a:gd name="T3" fmla="*/ 9 h 9"/>
              <a:gd name="T4" fmla="*/ 8 w 9"/>
              <a:gd name="T5" fmla="*/ 6 h 9"/>
              <a:gd name="T6" fmla="*/ 6 w 9"/>
              <a:gd name="T7" fmla="*/ 1 h 9"/>
              <a:gd name="T8" fmla="*/ 0 w 9"/>
              <a:gd name="T9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9">
                <a:moveTo>
                  <a:pt x="0" y="3"/>
                </a:moveTo>
                <a:cubicBezTo>
                  <a:pt x="0" y="6"/>
                  <a:pt x="1" y="8"/>
                  <a:pt x="3" y="9"/>
                </a:cubicBezTo>
                <a:cubicBezTo>
                  <a:pt x="5" y="9"/>
                  <a:pt x="8" y="8"/>
                  <a:pt x="8" y="6"/>
                </a:cubicBezTo>
                <a:cubicBezTo>
                  <a:pt x="9" y="4"/>
                  <a:pt x="8" y="1"/>
                  <a:pt x="6" y="1"/>
                </a:cubicBezTo>
                <a:cubicBezTo>
                  <a:pt x="3" y="0"/>
                  <a:pt x="1" y="1"/>
                  <a:pt x="0" y="3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7" name="Freeform 386">
            <a:extLst>
              <a:ext uri="{FF2B5EF4-FFF2-40B4-BE49-F238E27FC236}">
                <a16:creationId xmlns:a16="http://schemas.microsoft.com/office/drawing/2014/main" id="{2E61BC89-03D6-4B3A-80DD-75A0F3F8FF99}"/>
              </a:ext>
            </a:extLst>
          </p:cNvPr>
          <p:cNvSpPr>
            <a:spLocks/>
          </p:cNvSpPr>
          <p:nvPr/>
        </p:nvSpPr>
        <p:spPr bwMode="auto">
          <a:xfrm>
            <a:off x="10016870" y="6311636"/>
            <a:ext cx="31306" cy="26297"/>
          </a:xfrm>
          <a:custGeom>
            <a:avLst/>
            <a:gdLst>
              <a:gd name="T0" fmla="*/ 44 w 60"/>
              <a:gd name="T1" fmla="*/ 17 h 50"/>
              <a:gd name="T2" fmla="*/ 23 w 60"/>
              <a:gd name="T3" fmla="*/ 4 h 50"/>
              <a:gd name="T4" fmla="*/ 7 w 60"/>
              <a:gd name="T5" fmla="*/ 0 h 50"/>
              <a:gd name="T6" fmla="*/ 10 w 60"/>
              <a:gd name="T7" fmla="*/ 23 h 50"/>
              <a:gd name="T8" fmla="*/ 41 w 60"/>
              <a:gd name="T9" fmla="*/ 27 h 50"/>
              <a:gd name="T10" fmla="*/ 52 w 60"/>
              <a:gd name="T11" fmla="*/ 50 h 50"/>
              <a:gd name="T12" fmla="*/ 44 w 60"/>
              <a:gd name="T13" fmla="*/ 17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0" h="50">
                <a:moveTo>
                  <a:pt x="44" y="17"/>
                </a:moveTo>
                <a:cubicBezTo>
                  <a:pt x="43" y="8"/>
                  <a:pt x="33" y="1"/>
                  <a:pt x="23" y="4"/>
                </a:cubicBezTo>
                <a:cubicBezTo>
                  <a:pt x="14" y="6"/>
                  <a:pt x="6" y="4"/>
                  <a:pt x="7" y="0"/>
                </a:cubicBezTo>
                <a:cubicBezTo>
                  <a:pt x="0" y="6"/>
                  <a:pt x="2" y="18"/>
                  <a:pt x="10" y="23"/>
                </a:cubicBezTo>
                <a:cubicBezTo>
                  <a:pt x="18" y="28"/>
                  <a:pt x="37" y="27"/>
                  <a:pt x="41" y="27"/>
                </a:cubicBezTo>
                <a:cubicBezTo>
                  <a:pt x="39" y="32"/>
                  <a:pt x="47" y="50"/>
                  <a:pt x="52" y="50"/>
                </a:cubicBezTo>
                <a:cubicBezTo>
                  <a:pt x="60" y="41"/>
                  <a:pt x="57" y="17"/>
                  <a:pt x="44" y="17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8" name="Freeform 387">
            <a:extLst>
              <a:ext uri="{FF2B5EF4-FFF2-40B4-BE49-F238E27FC236}">
                <a16:creationId xmlns:a16="http://schemas.microsoft.com/office/drawing/2014/main" id="{B15451B6-351C-4AB8-B669-B7775BDAB440}"/>
              </a:ext>
            </a:extLst>
          </p:cNvPr>
          <p:cNvSpPr>
            <a:spLocks/>
          </p:cNvSpPr>
          <p:nvPr/>
        </p:nvSpPr>
        <p:spPr bwMode="auto">
          <a:xfrm>
            <a:off x="9929213" y="6354212"/>
            <a:ext cx="229159" cy="285509"/>
          </a:xfrm>
          <a:custGeom>
            <a:avLst/>
            <a:gdLst>
              <a:gd name="T0" fmla="*/ 253 w 441"/>
              <a:gd name="T1" fmla="*/ 0 h 548"/>
              <a:gd name="T2" fmla="*/ 160 w 441"/>
              <a:gd name="T3" fmla="*/ 53 h 548"/>
              <a:gd name="T4" fmla="*/ 208 w 441"/>
              <a:gd name="T5" fmla="*/ 345 h 548"/>
              <a:gd name="T6" fmla="*/ 0 w 441"/>
              <a:gd name="T7" fmla="*/ 527 h 548"/>
              <a:gd name="T8" fmla="*/ 149 w 441"/>
              <a:gd name="T9" fmla="*/ 533 h 548"/>
              <a:gd name="T10" fmla="*/ 255 w 441"/>
              <a:gd name="T11" fmla="*/ 438 h 548"/>
              <a:gd name="T12" fmla="*/ 406 w 441"/>
              <a:gd name="T13" fmla="*/ 438 h 548"/>
              <a:gd name="T14" fmla="*/ 253 w 441"/>
              <a:gd name="T15" fmla="*/ 0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1" h="548">
                <a:moveTo>
                  <a:pt x="253" y="0"/>
                </a:moveTo>
                <a:cubicBezTo>
                  <a:pt x="227" y="15"/>
                  <a:pt x="184" y="39"/>
                  <a:pt x="160" y="53"/>
                </a:cubicBezTo>
                <a:cubicBezTo>
                  <a:pt x="191" y="143"/>
                  <a:pt x="251" y="338"/>
                  <a:pt x="208" y="345"/>
                </a:cubicBezTo>
                <a:cubicBezTo>
                  <a:pt x="128" y="359"/>
                  <a:pt x="0" y="390"/>
                  <a:pt x="0" y="527"/>
                </a:cubicBezTo>
                <a:cubicBezTo>
                  <a:pt x="31" y="548"/>
                  <a:pt x="117" y="544"/>
                  <a:pt x="149" y="533"/>
                </a:cubicBezTo>
                <a:cubicBezTo>
                  <a:pt x="164" y="494"/>
                  <a:pt x="202" y="456"/>
                  <a:pt x="255" y="438"/>
                </a:cubicBezTo>
                <a:cubicBezTo>
                  <a:pt x="328" y="438"/>
                  <a:pt x="395" y="438"/>
                  <a:pt x="406" y="438"/>
                </a:cubicBezTo>
                <a:cubicBezTo>
                  <a:pt x="441" y="250"/>
                  <a:pt x="383" y="143"/>
                  <a:pt x="253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9" name="Freeform 388">
            <a:extLst>
              <a:ext uri="{FF2B5EF4-FFF2-40B4-BE49-F238E27FC236}">
                <a16:creationId xmlns:a16="http://schemas.microsoft.com/office/drawing/2014/main" id="{DA1A26CE-B8FC-477A-AC79-568C2565F1A6}"/>
              </a:ext>
            </a:extLst>
          </p:cNvPr>
          <p:cNvSpPr>
            <a:spLocks/>
          </p:cNvSpPr>
          <p:nvPr/>
        </p:nvSpPr>
        <p:spPr bwMode="auto">
          <a:xfrm>
            <a:off x="10010608" y="6369238"/>
            <a:ext cx="66369" cy="135241"/>
          </a:xfrm>
          <a:custGeom>
            <a:avLst/>
            <a:gdLst>
              <a:gd name="T0" fmla="*/ 127 w 127"/>
              <a:gd name="T1" fmla="*/ 49 h 258"/>
              <a:gd name="T2" fmla="*/ 37 w 127"/>
              <a:gd name="T3" fmla="*/ 46 h 258"/>
              <a:gd name="T4" fmla="*/ 31 w 127"/>
              <a:gd name="T5" fmla="*/ 114 h 258"/>
              <a:gd name="T6" fmla="*/ 51 w 127"/>
              <a:gd name="T7" fmla="*/ 189 h 258"/>
              <a:gd name="T8" fmla="*/ 24 w 127"/>
              <a:gd name="T9" fmla="*/ 185 h 258"/>
              <a:gd name="T10" fmla="*/ 0 w 127"/>
              <a:gd name="T11" fmla="*/ 214 h 258"/>
              <a:gd name="T12" fmla="*/ 60 w 127"/>
              <a:gd name="T13" fmla="*/ 232 h 258"/>
              <a:gd name="T14" fmla="*/ 64 w 127"/>
              <a:gd name="T15" fmla="*/ 258 h 258"/>
              <a:gd name="T16" fmla="*/ 127 w 127"/>
              <a:gd name="T17" fmla="*/ 49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7" h="258">
                <a:moveTo>
                  <a:pt x="127" y="49"/>
                </a:moveTo>
                <a:cubicBezTo>
                  <a:pt x="127" y="0"/>
                  <a:pt x="38" y="3"/>
                  <a:pt x="37" y="46"/>
                </a:cubicBezTo>
                <a:cubicBezTo>
                  <a:pt x="36" y="71"/>
                  <a:pt x="31" y="94"/>
                  <a:pt x="31" y="114"/>
                </a:cubicBezTo>
                <a:cubicBezTo>
                  <a:pt x="39" y="139"/>
                  <a:pt x="46" y="165"/>
                  <a:pt x="51" y="189"/>
                </a:cubicBezTo>
                <a:cubicBezTo>
                  <a:pt x="45" y="190"/>
                  <a:pt x="36" y="188"/>
                  <a:pt x="24" y="185"/>
                </a:cubicBezTo>
                <a:cubicBezTo>
                  <a:pt x="20" y="200"/>
                  <a:pt x="13" y="210"/>
                  <a:pt x="0" y="214"/>
                </a:cubicBezTo>
                <a:cubicBezTo>
                  <a:pt x="23" y="223"/>
                  <a:pt x="43" y="229"/>
                  <a:pt x="60" y="232"/>
                </a:cubicBezTo>
                <a:cubicBezTo>
                  <a:pt x="62" y="241"/>
                  <a:pt x="63" y="250"/>
                  <a:pt x="64" y="258"/>
                </a:cubicBezTo>
                <a:cubicBezTo>
                  <a:pt x="106" y="227"/>
                  <a:pt x="127" y="159"/>
                  <a:pt x="127" y="49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0" name="Freeform 389">
            <a:extLst>
              <a:ext uri="{FF2B5EF4-FFF2-40B4-BE49-F238E27FC236}">
                <a16:creationId xmlns:a16="http://schemas.microsoft.com/office/drawing/2014/main" id="{946D5292-DBED-4C99-A4DD-80158C30A447}"/>
              </a:ext>
            </a:extLst>
          </p:cNvPr>
          <p:cNvSpPr>
            <a:spLocks/>
          </p:cNvSpPr>
          <p:nvPr/>
        </p:nvSpPr>
        <p:spPr bwMode="auto">
          <a:xfrm>
            <a:off x="9950501" y="6364229"/>
            <a:ext cx="126476" cy="189088"/>
          </a:xfrm>
          <a:custGeom>
            <a:avLst/>
            <a:gdLst>
              <a:gd name="T0" fmla="*/ 243 w 244"/>
              <a:gd name="T1" fmla="*/ 59 h 362"/>
              <a:gd name="T2" fmla="*/ 153 w 244"/>
              <a:gd name="T3" fmla="*/ 56 h 362"/>
              <a:gd name="T4" fmla="*/ 16 w 244"/>
              <a:gd name="T5" fmla="*/ 204 h 362"/>
              <a:gd name="T6" fmla="*/ 0 w 244"/>
              <a:gd name="T7" fmla="*/ 234 h 362"/>
              <a:gd name="T8" fmla="*/ 243 w 244"/>
              <a:gd name="T9" fmla="*/ 59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4" h="362">
                <a:moveTo>
                  <a:pt x="243" y="59"/>
                </a:moveTo>
                <a:cubicBezTo>
                  <a:pt x="244" y="0"/>
                  <a:pt x="154" y="4"/>
                  <a:pt x="153" y="56"/>
                </a:cubicBezTo>
                <a:cubicBezTo>
                  <a:pt x="150" y="197"/>
                  <a:pt x="166" y="275"/>
                  <a:pt x="16" y="204"/>
                </a:cubicBezTo>
                <a:cubicBezTo>
                  <a:pt x="0" y="234"/>
                  <a:pt x="0" y="234"/>
                  <a:pt x="0" y="234"/>
                </a:cubicBezTo>
                <a:cubicBezTo>
                  <a:pt x="198" y="362"/>
                  <a:pt x="240" y="201"/>
                  <a:pt x="243" y="5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1" name="Freeform 390">
            <a:extLst>
              <a:ext uri="{FF2B5EF4-FFF2-40B4-BE49-F238E27FC236}">
                <a16:creationId xmlns:a16="http://schemas.microsoft.com/office/drawing/2014/main" id="{1844B5D6-5991-4FCE-9C67-C92E1104589F}"/>
              </a:ext>
            </a:extLst>
          </p:cNvPr>
          <p:cNvSpPr>
            <a:spLocks/>
          </p:cNvSpPr>
          <p:nvPr/>
        </p:nvSpPr>
        <p:spPr bwMode="auto">
          <a:xfrm>
            <a:off x="10018122" y="6582118"/>
            <a:ext cx="147764" cy="28802"/>
          </a:xfrm>
          <a:custGeom>
            <a:avLst/>
            <a:gdLst>
              <a:gd name="T0" fmla="*/ 286 w 286"/>
              <a:gd name="T1" fmla="*/ 28 h 56"/>
              <a:gd name="T2" fmla="*/ 258 w 286"/>
              <a:gd name="T3" fmla="*/ 56 h 56"/>
              <a:gd name="T4" fmla="*/ 28 w 286"/>
              <a:gd name="T5" fmla="*/ 56 h 56"/>
              <a:gd name="T6" fmla="*/ 0 w 286"/>
              <a:gd name="T7" fmla="*/ 28 h 56"/>
              <a:gd name="T8" fmla="*/ 0 w 286"/>
              <a:gd name="T9" fmla="*/ 28 h 56"/>
              <a:gd name="T10" fmla="*/ 28 w 286"/>
              <a:gd name="T11" fmla="*/ 0 h 56"/>
              <a:gd name="T12" fmla="*/ 258 w 286"/>
              <a:gd name="T13" fmla="*/ 0 h 56"/>
              <a:gd name="T14" fmla="*/ 286 w 286"/>
              <a:gd name="T15" fmla="*/ 28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6" h="56">
                <a:moveTo>
                  <a:pt x="286" y="28"/>
                </a:moveTo>
                <a:cubicBezTo>
                  <a:pt x="286" y="43"/>
                  <a:pt x="273" y="56"/>
                  <a:pt x="258" y="56"/>
                </a:cubicBezTo>
                <a:cubicBezTo>
                  <a:pt x="28" y="56"/>
                  <a:pt x="28" y="56"/>
                  <a:pt x="28" y="56"/>
                </a:cubicBezTo>
                <a:cubicBezTo>
                  <a:pt x="13" y="56"/>
                  <a:pt x="0" y="43"/>
                  <a:pt x="0" y="2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12"/>
                  <a:pt x="13" y="0"/>
                  <a:pt x="28" y="0"/>
                </a:cubicBezTo>
                <a:cubicBezTo>
                  <a:pt x="258" y="0"/>
                  <a:pt x="258" y="0"/>
                  <a:pt x="258" y="0"/>
                </a:cubicBezTo>
                <a:cubicBezTo>
                  <a:pt x="273" y="0"/>
                  <a:pt x="286" y="12"/>
                  <a:pt x="286" y="28"/>
                </a:cubicBez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2" name="Freeform 391">
            <a:extLst>
              <a:ext uri="{FF2B5EF4-FFF2-40B4-BE49-F238E27FC236}">
                <a16:creationId xmlns:a16="http://schemas.microsoft.com/office/drawing/2014/main" id="{05074E04-30BE-4C14-878C-AC174A370DB4}"/>
              </a:ext>
            </a:extLst>
          </p:cNvPr>
          <p:cNvSpPr>
            <a:spLocks noEditPoints="1"/>
          </p:cNvSpPr>
          <p:nvPr/>
        </p:nvSpPr>
        <p:spPr bwMode="auto">
          <a:xfrm>
            <a:off x="10016870" y="6580865"/>
            <a:ext cx="150268" cy="31306"/>
          </a:xfrm>
          <a:custGeom>
            <a:avLst/>
            <a:gdLst>
              <a:gd name="T0" fmla="*/ 260 w 290"/>
              <a:gd name="T1" fmla="*/ 61 h 61"/>
              <a:gd name="T2" fmla="*/ 30 w 290"/>
              <a:gd name="T3" fmla="*/ 61 h 61"/>
              <a:gd name="T4" fmla="*/ 0 w 290"/>
              <a:gd name="T5" fmla="*/ 31 h 61"/>
              <a:gd name="T6" fmla="*/ 30 w 290"/>
              <a:gd name="T7" fmla="*/ 0 h 61"/>
              <a:gd name="T8" fmla="*/ 260 w 290"/>
              <a:gd name="T9" fmla="*/ 0 h 61"/>
              <a:gd name="T10" fmla="*/ 290 w 290"/>
              <a:gd name="T11" fmla="*/ 31 h 61"/>
              <a:gd name="T12" fmla="*/ 260 w 290"/>
              <a:gd name="T13" fmla="*/ 61 h 61"/>
              <a:gd name="T14" fmla="*/ 30 w 290"/>
              <a:gd name="T15" fmla="*/ 5 h 61"/>
              <a:gd name="T16" fmla="*/ 5 w 290"/>
              <a:gd name="T17" fmla="*/ 31 h 61"/>
              <a:gd name="T18" fmla="*/ 30 w 290"/>
              <a:gd name="T19" fmla="*/ 56 h 61"/>
              <a:gd name="T20" fmla="*/ 260 w 290"/>
              <a:gd name="T21" fmla="*/ 56 h 61"/>
              <a:gd name="T22" fmla="*/ 286 w 290"/>
              <a:gd name="T23" fmla="*/ 31 h 61"/>
              <a:gd name="T24" fmla="*/ 260 w 290"/>
              <a:gd name="T25" fmla="*/ 5 h 61"/>
              <a:gd name="T26" fmla="*/ 30 w 290"/>
              <a:gd name="T27" fmla="*/ 5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90" h="61">
                <a:moveTo>
                  <a:pt x="260" y="61"/>
                </a:moveTo>
                <a:cubicBezTo>
                  <a:pt x="30" y="61"/>
                  <a:pt x="30" y="61"/>
                  <a:pt x="30" y="61"/>
                </a:cubicBezTo>
                <a:cubicBezTo>
                  <a:pt x="14" y="61"/>
                  <a:pt x="0" y="48"/>
                  <a:pt x="0" y="31"/>
                </a:cubicBezTo>
                <a:cubicBezTo>
                  <a:pt x="0" y="14"/>
                  <a:pt x="14" y="0"/>
                  <a:pt x="30" y="0"/>
                </a:cubicBezTo>
                <a:cubicBezTo>
                  <a:pt x="260" y="0"/>
                  <a:pt x="260" y="0"/>
                  <a:pt x="260" y="0"/>
                </a:cubicBezTo>
                <a:cubicBezTo>
                  <a:pt x="277" y="0"/>
                  <a:pt x="290" y="14"/>
                  <a:pt x="290" y="31"/>
                </a:cubicBezTo>
                <a:cubicBezTo>
                  <a:pt x="290" y="48"/>
                  <a:pt x="277" y="61"/>
                  <a:pt x="260" y="61"/>
                </a:cubicBezTo>
                <a:close/>
                <a:moveTo>
                  <a:pt x="30" y="5"/>
                </a:moveTo>
                <a:cubicBezTo>
                  <a:pt x="16" y="5"/>
                  <a:pt x="5" y="17"/>
                  <a:pt x="5" y="31"/>
                </a:cubicBezTo>
                <a:cubicBezTo>
                  <a:pt x="5" y="45"/>
                  <a:pt x="16" y="56"/>
                  <a:pt x="30" y="56"/>
                </a:cubicBezTo>
                <a:cubicBezTo>
                  <a:pt x="260" y="56"/>
                  <a:pt x="260" y="56"/>
                  <a:pt x="260" y="56"/>
                </a:cubicBezTo>
                <a:cubicBezTo>
                  <a:pt x="274" y="56"/>
                  <a:pt x="286" y="45"/>
                  <a:pt x="286" y="31"/>
                </a:cubicBezTo>
                <a:cubicBezTo>
                  <a:pt x="286" y="17"/>
                  <a:pt x="274" y="5"/>
                  <a:pt x="260" y="5"/>
                </a:cubicBezTo>
                <a:cubicBezTo>
                  <a:pt x="30" y="5"/>
                  <a:pt x="30" y="5"/>
                  <a:pt x="30" y="5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3" name="Rectangle 392">
            <a:extLst>
              <a:ext uri="{FF2B5EF4-FFF2-40B4-BE49-F238E27FC236}">
                <a16:creationId xmlns:a16="http://schemas.microsoft.com/office/drawing/2014/main" id="{348FE503-2F39-4D78-8918-105B2D098A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75724" y="6610919"/>
            <a:ext cx="25045" cy="17531"/>
          </a:xfrm>
          <a:prstGeom prst="rect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4" name="Rectangle 393">
            <a:extLst>
              <a:ext uri="{FF2B5EF4-FFF2-40B4-BE49-F238E27FC236}">
                <a16:creationId xmlns:a16="http://schemas.microsoft.com/office/drawing/2014/main" id="{F71B1E0A-F648-4F67-B9E1-B7EF9403AB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81986" y="6628450"/>
            <a:ext cx="12522" cy="5509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5" name="Rectangle 394">
            <a:extLst>
              <a:ext uri="{FF2B5EF4-FFF2-40B4-BE49-F238E27FC236}">
                <a16:creationId xmlns:a16="http://schemas.microsoft.com/office/drawing/2014/main" id="{365E9EF7-BC83-4FF7-9E88-3924756053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26888" y="6678540"/>
            <a:ext cx="6262" cy="137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6" name="Rectangle 395">
            <a:extLst>
              <a:ext uri="{FF2B5EF4-FFF2-40B4-BE49-F238E27FC236}">
                <a16:creationId xmlns:a16="http://schemas.microsoft.com/office/drawing/2014/main" id="{6B126C91-E919-4E86-B7A1-C50F7139E9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84490" y="6678540"/>
            <a:ext cx="7513" cy="137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7" name="Freeform 396">
            <a:extLst>
              <a:ext uri="{FF2B5EF4-FFF2-40B4-BE49-F238E27FC236}">
                <a16:creationId xmlns:a16="http://schemas.microsoft.com/office/drawing/2014/main" id="{49809879-EDFD-4D7E-B449-A4855A7F13FE}"/>
              </a:ext>
            </a:extLst>
          </p:cNvPr>
          <p:cNvSpPr>
            <a:spLocks/>
          </p:cNvSpPr>
          <p:nvPr/>
        </p:nvSpPr>
        <p:spPr bwMode="auto">
          <a:xfrm>
            <a:off x="10033148" y="6669774"/>
            <a:ext cx="50089" cy="15027"/>
          </a:xfrm>
          <a:custGeom>
            <a:avLst/>
            <a:gdLst>
              <a:gd name="T0" fmla="*/ 40 w 40"/>
              <a:gd name="T1" fmla="*/ 8 h 12"/>
              <a:gd name="T2" fmla="*/ 0 w 40"/>
              <a:gd name="T3" fmla="*/ 12 h 12"/>
              <a:gd name="T4" fmla="*/ 0 w 40"/>
              <a:gd name="T5" fmla="*/ 7 h 12"/>
              <a:gd name="T6" fmla="*/ 40 w 40"/>
              <a:gd name="T7" fmla="*/ 0 h 12"/>
              <a:gd name="T8" fmla="*/ 40 w 40"/>
              <a:gd name="T9" fmla="*/ 8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" h="12">
                <a:moveTo>
                  <a:pt x="40" y="8"/>
                </a:moveTo>
                <a:lnTo>
                  <a:pt x="0" y="12"/>
                </a:lnTo>
                <a:lnTo>
                  <a:pt x="0" y="7"/>
                </a:lnTo>
                <a:lnTo>
                  <a:pt x="40" y="0"/>
                </a:lnTo>
                <a:lnTo>
                  <a:pt x="40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8" name="Oval 397">
            <a:extLst>
              <a:ext uri="{FF2B5EF4-FFF2-40B4-BE49-F238E27FC236}">
                <a16:creationId xmlns:a16="http://schemas.microsoft.com/office/drawing/2014/main" id="{0FD7B659-16D4-43C7-94A0-B03D8DB08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23130" y="6692315"/>
            <a:ext cx="13775" cy="13775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9" name="Oval 398">
            <a:extLst>
              <a:ext uri="{FF2B5EF4-FFF2-40B4-BE49-F238E27FC236}">
                <a16:creationId xmlns:a16="http://schemas.microsoft.com/office/drawing/2014/main" id="{7CD7FBD5-E5D5-4E69-A93C-430B461237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81986" y="6692315"/>
            <a:ext cx="13775" cy="13775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0" name="Rectangle 399">
            <a:extLst>
              <a:ext uri="{FF2B5EF4-FFF2-40B4-BE49-F238E27FC236}">
                <a16:creationId xmlns:a16="http://schemas.microsoft.com/office/drawing/2014/main" id="{A4F33953-87C5-41B1-B884-8977B19733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43345" y="6678540"/>
            <a:ext cx="6262" cy="137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1" name="Freeform 400">
            <a:extLst>
              <a:ext uri="{FF2B5EF4-FFF2-40B4-BE49-F238E27FC236}">
                <a16:creationId xmlns:a16="http://schemas.microsoft.com/office/drawing/2014/main" id="{28541266-0C07-493A-83AB-A653CA5838BD}"/>
              </a:ext>
            </a:extLst>
          </p:cNvPr>
          <p:cNvSpPr>
            <a:spLocks/>
          </p:cNvSpPr>
          <p:nvPr/>
        </p:nvSpPr>
        <p:spPr bwMode="auto">
          <a:xfrm>
            <a:off x="10093256" y="6669774"/>
            <a:ext cx="50089" cy="15027"/>
          </a:xfrm>
          <a:custGeom>
            <a:avLst/>
            <a:gdLst>
              <a:gd name="T0" fmla="*/ 0 w 40"/>
              <a:gd name="T1" fmla="*/ 8 h 12"/>
              <a:gd name="T2" fmla="*/ 40 w 40"/>
              <a:gd name="T3" fmla="*/ 12 h 12"/>
              <a:gd name="T4" fmla="*/ 40 w 40"/>
              <a:gd name="T5" fmla="*/ 7 h 12"/>
              <a:gd name="T6" fmla="*/ 0 w 40"/>
              <a:gd name="T7" fmla="*/ 0 h 12"/>
              <a:gd name="T8" fmla="*/ 0 w 40"/>
              <a:gd name="T9" fmla="*/ 8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" h="12">
                <a:moveTo>
                  <a:pt x="0" y="8"/>
                </a:moveTo>
                <a:lnTo>
                  <a:pt x="40" y="12"/>
                </a:lnTo>
                <a:lnTo>
                  <a:pt x="40" y="7"/>
                </a:lnTo>
                <a:lnTo>
                  <a:pt x="0" y="0"/>
                </a:lnTo>
                <a:lnTo>
                  <a:pt x="0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2" name="Oval 401">
            <a:extLst>
              <a:ext uri="{FF2B5EF4-FFF2-40B4-BE49-F238E27FC236}">
                <a16:creationId xmlns:a16="http://schemas.microsoft.com/office/drawing/2014/main" id="{B7CBBCCC-2EA0-4D9A-B1F7-3EA712F5FC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39589" y="6692315"/>
            <a:ext cx="13775" cy="13775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3" name="Rectangle 402">
            <a:extLst>
              <a:ext uri="{FF2B5EF4-FFF2-40B4-BE49-F238E27FC236}">
                <a16:creationId xmlns:a16="http://schemas.microsoft.com/office/drawing/2014/main" id="{266C890F-FAED-4702-9C30-67689F5BE7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22416" y="6599649"/>
            <a:ext cx="102683" cy="10644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4" name="Rectangle 403">
            <a:extLst>
              <a:ext uri="{FF2B5EF4-FFF2-40B4-BE49-F238E27FC236}">
                <a16:creationId xmlns:a16="http://schemas.microsoft.com/office/drawing/2014/main" id="{9D63667D-64B4-4A55-BA83-BF7A65A39C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11325" y="6599649"/>
            <a:ext cx="45080" cy="106440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5" name="Rectangle 404">
            <a:extLst>
              <a:ext uri="{FF2B5EF4-FFF2-40B4-BE49-F238E27FC236}">
                <a16:creationId xmlns:a16="http://schemas.microsoft.com/office/drawing/2014/main" id="{ED9A545D-DC19-4E3B-AC52-C70EE5C037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17585" y="6605910"/>
            <a:ext cx="33811" cy="15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6" name="Rectangle 405">
            <a:extLst>
              <a:ext uri="{FF2B5EF4-FFF2-40B4-BE49-F238E27FC236}">
                <a16:creationId xmlns:a16="http://schemas.microsoft.com/office/drawing/2014/main" id="{C39CE400-6361-47A8-BC71-614BFB99D5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17585" y="6625946"/>
            <a:ext cx="33811" cy="15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7" name="Rectangle 406">
            <a:extLst>
              <a:ext uri="{FF2B5EF4-FFF2-40B4-BE49-F238E27FC236}">
                <a16:creationId xmlns:a16="http://schemas.microsoft.com/office/drawing/2014/main" id="{42DDA18E-266C-49A4-AEE9-D77CC04236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17585" y="6645982"/>
            <a:ext cx="33811" cy="15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8" name="Rectangle 407">
            <a:extLst>
              <a:ext uri="{FF2B5EF4-FFF2-40B4-BE49-F238E27FC236}">
                <a16:creationId xmlns:a16="http://schemas.microsoft.com/office/drawing/2014/main" id="{09ADF7CD-2464-4A2D-B7B2-504BB80604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32434" y="6620937"/>
            <a:ext cx="37567" cy="3757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9" name="Rectangle 408">
            <a:extLst>
              <a:ext uri="{FF2B5EF4-FFF2-40B4-BE49-F238E27FC236}">
                <a16:creationId xmlns:a16="http://schemas.microsoft.com/office/drawing/2014/main" id="{AEF63A9F-E05F-4331-A8E5-7842CF0831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32434" y="6630955"/>
            <a:ext cx="37567" cy="5009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0" name="Rectangle 409">
            <a:extLst>
              <a:ext uri="{FF2B5EF4-FFF2-40B4-BE49-F238E27FC236}">
                <a16:creationId xmlns:a16="http://schemas.microsoft.com/office/drawing/2014/main" id="{F4BE6479-F187-4C5A-8745-FFF61D0E7A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32434" y="6642225"/>
            <a:ext cx="37567" cy="3757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1" name="Rectangle 410">
            <a:extLst>
              <a:ext uri="{FF2B5EF4-FFF2-40B4-BE49-F238E27FC236}">
                <a16:creationId xmlns:a16="http://schemas.microsoft.com/office/drawing/2014/main" id="{D4B289D0-9B7B-4186-86EB-48DFD965AC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32434" y="6652243"/>
            <a:ext cx="37567" cy="3757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2" name="Rectangle 411">
            <a:extLst>
              <a:ext uri="{FF2B5EF4-FFF2-40B4-BE49-F238E27FC236}">
                <a16:creationId xmlns:a16="http://schemas.microsoft.com/office/drawing/2014/main" id="{47CFB2F3-E705-497E-A0E0-E5751BE440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32434" y="6662261"/>
            <a:ext cx="37567" cy="5009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3" name="Rectangle 412">
            <a:extLst>
              <a:ext uri="{FF2B5EF4-FFF2-40B4-BE49-F238E27FC236}">
                <a16:creationId xmlns:a16="http://schemas.microsoft.com/office/drawing/2014/main" id="{32D71170-410A-45D7-839D-4E08ABAB0C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32434" y="6673531"/>
            <a:ext cx="37567" cy="3757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4" name="Rectangle 413">
            <a:extLst>
              <a:ext uri="{FF2B5EF4-FFF2-40B4-BE49-F238E27FC236}">
                <a16:creationId xmlns:a16="http://schemas.microsoft.com/office/drawing/2014/main" id="{A57CDA17-4A38-4991-8AE9-53A8A640EB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32434" y="6683549"/>
            <a:ext cx="37567" cy="3757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5" name="Freeform 414">
            <a:extLst>
              <a:ext uri="{FF2B5EF4-FFF2-40B4-BE49-F238E27FC236}">
                <a16:creationId xmlns:a16="http://schemas.microsoft.com/office/drawing/2014/main" id="{47CA7DA2-3C52-4C94-9834-01C7C63D34A6}"/>
              </a:ext>
            </a:extLst>
          </p:cNvPr>
          <p:cNvSpPr>
            <a:spLocks/>
          </p:cNvSpPr>
          <p:nvPr/>
        </p:nvSpPr>
        <p:spPr bwMode="auto">
          <a:xfrm>
            <a:off x="8709538" y="6220222"/>
            <a:ext cx="37567" cy="12522"/>
          </a:xfrm>
          <a:custGeom>
            <a:avLst/>
            <a:gdLst>
              <a:gd name="T0" fmla="*/ 29 w 72"/>
              <a:gd name="T1" fmla="*/ 0 h 23"/>
              <a:gd name="T2" fmla="*/ 54 w 72"/>
              <a:gd name="T3" fmla="*/ 6 h 23"/>
              <a:gd name="T4" fmla="*/ 59 w 72"/>
              <a:gd name="T5" fmla="*/ 17 h 23"/>
              <a:gd name="T6" fmla="*/ 20 w 72"/>
              <a:gd name="T7" fmla="*/ 15 h 23"/>
              <a:gd name="T8" fmla="*/ 20 w 72"/>
              <a:gd name="T9" fmla="*/ 20 h 23"/>
              <a:gd name="T10" fmla="*/ 0 w 72"/>
              <a:gd name="T11" fmla="*/ 20 h 23"/>
              <a:gd name="T12" fmla="*/ 2 w 72"/>
              <a:gd name="T13" fmla="*/ 0 h 23"/>
              <a:gd name="T14" fmla="*/ 29 w 72"/>
              <a:gd name="T15" fmla="*/ 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2" h="23">
                <a:moveTo>
                  <a:pt x="29" y="0"/>
                </a:moveTo>
                <a:cubicBezTo>
                  <a:pt x="32" y="4"/>
                  <a:pt x="45" y="7"/>
                  <a:pt x="54" y="6"/>
                </a:cubicBezTo>
                <a:cubicBezTo>
                  <a:pt x="62" y="4"/>
                  <a:pt x="72" y="13"/>
                  <a:pt x="59" y="17"/>
                </a:cubicBezTo>
                <a:cubicBezTo>
                  <a:pt x="43" y="23"/>
                  <a:pt x="26" y="21"/>
                  <a:pt x="20" y="15"/>
                </a:cubicBezTo>
                <a:cubicBezTo>
                  <a:pt x="20" y="17"/>
                  <a:pt x="20" y="20"/>
                  <a:pt x="20" y="20"/>
                </a:cubicBezTo>
                <a:cubicBezTo>
                  <a:pt x="0" y="20"/>
                  <a:pt x="0" y="20"/>
                  <a:pt x="0" y="20"/>
                </a:cubicBezTo>
                <a:cubicBezTo>
                  <a:pt x="2" y="0"/>
                  <a:pt x="2" y="0"/>
                  <a:pt x="2" y="0"/>
                </a:cubicBezTo>
                <a:lnTo>
                  <a:pt x="29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6" name="Freeform 415">
            <a:extLst>
              <a:ext uri="{FF2B5EF4-FFF2-40B4-BE49-F238E27FC236}">
                <a16:creationId xmlns:a16="http://schemas.microsoft.com/office/drawing/2014/main" id="{5EA79FCF-9FF0-4CF9-A11C-F967A20D0770}"/>
              </a:ext>
            </a:extLst>
          </p:cNvPr>
          <p:cNvSpPr>
            <a:spLocks/>
          </p:cNvSpPr>
          <p:nvPr/>
        </p:nvSpPr>
        <p:spPr bwMode="auto">
          <a:xfrm>
            <a:off x="8655691" y="5976037"/>
            <a:ext cx="70125" cy="239177"/>
          </a:xfrm>
          <a:custGeom>
            <a:avLst/>
            <a:gdLst>
              <a:gd name="T0" fmla="*/ 128 w 135"/>
              <a:gd name="T1" fmla="*/ 71 h 459"/>
              <a:gd name="T2" fmla="*/ 133 w 135"/>
              <a:gd name="T3" fmla="*/ 459 h 459"/>
              <a:gd name="T4" fmla="*/ 104 w 135"/>
              <a:gd name="T5" fmla="*/ 459 h 459"/>
              <a:gd name="T6" fmla="*/ 22 w 135"/>
              <a:gd name="T7" fmla="*/ 69 h 459"/>
              <a:gd name="T8" fmla="*/ 128 w 135"/>
              <a:gd name="T9" fmla="*/ 71 h 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" h="459">
                <a:moveTo>
                  <a:pt x="128" y="71"/>
                </a:moveTo>
                <a:cubicBezTo>
                  <a:pt x="135" y="234"/>
                  <a:pt x="133" y="302"/>
                  <a:pt x="133" y="459"/>
                </a:cubicBezTo>
                <a:cubicBezTo>
                  <a:pt x="125" y="459"/>
                  <a:pt x="133" y="459"/>
                  <a:pt x="104" y="459"/>
                </a:cubicBezTo>
                <a:cubicBezTo>
                  <a:pt x="97" y="313"/>
                  <a:pt x="71" y="224"/>
                  <a:pt x="22" y="69"/>
                </a:cubicBezTo>
                <a:cubicBezTo>
                  <a:pt x="0" y="1"/>
                  <a:pt x="125" y="0"/>
                  <a:pt x="128" y="71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7" name="Freeform 416">
            <a:extLst>
              <a:ext uri="{FF2B5EF4-FFF2-40B4-BE49-F238E27FC236}">
                <a16:creationId xmlns:a16="http://schemas.microsoft.com/office/drawing/2014/main" id="{DED3EF6D-D5BE-4A16-9091-B79A2C181ED7}"/>
              </a:ext>
            </a:extLst>
          </p:cNvPr>
          <p:cNvSpPr>
            <a:spLocks/>
          </p:cNvSpPr>
          <p:nvPr/>
        </p:nvSpPr>
        <p:spPr bwMode="auto">
          <a:xfrm>
            <a:off x="8643169" y="6220222"/>
            <a:ext cx="37567" cy="12522"/>
          </a:xfrm>
          <a:custGeom>
            <a:avLst/>
            <a:gdLst>
              <a:gd name="T0" fmla="*/ 29 w 72"/>
              <a:gd name="T1" fmla="*/ 0 h 23"/>
              <a:gd name="T2" fmla="*/ 54 w 72"/>
              <a:gd name="T3" fmla="*/ 6 h 23"/>
              <a:gd name="T4" fmla="*/ 59 w 72"/>
              <a:gd name="T5" fmla="*/ 17 h 23"/>
              <a:gd name="T6" fmla="*/ 20 w 72"/>
              <a:gd name="T7" fmla="*/ 15 h 23"/>
              <a:gd name="T8" fmla="*/ 20 w 72"/>
              <a:gd name="T9" fmla="*/ 20 h 23"/>
              <a:gd name="T10" fmla="*/ 0 w 72"/>
              <a:gd name="T11" fmla="*/ 20 h 23"/>
              <a:gd name="T12" fmla="*/ 2 w 72"/>
              <a:gd name="T13" fmla="*/ 0 h 23"/>
              <a:gd name="T14" fmla="*/ 29 w 72"/>
              <a:gd name="T15" fmla="*/ 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2" h="23">
                <a:moveTo>
                  <a:pt x="29" y="0"/>
                </a:moveTo>
                <a:cubicBezTo>
                  <a:pt x="32" y="4"/>
                  <a:pt x="45" y="7"/>
                  <a:pt x="54" y="6"/>
                </a:cubicBezTo>
                <a:cubicBezTo>
                  <a:pt x="62" y="4"/>
                  <a:pt x="72" y="13"/>
                  <a:pt x="59" y="17"/>
                </a:cubicBezTo>
                <a:cubicBezTo>
                  <a:pt x="43" y="23"/>
                  <a:pt x="26" y="21"/>
                  <a:pt x="20" y="15"/>
                </a:cubicBezTo>
                <a:cubicBezTo>
                  <a:pt x="20" y="17"/>
                  <a:pt x="20" y="20"/>
                  <a:pt x="20" y="20"/>
                </a:cubicBezTo>
                <a:cubicBezTo>
                  <a:pt x="0" y="20"/>
                  <a:pt x="0" y="20"/>
                  <a:pt x="0" y="20"/>
                </a:cubicBezTo>
                <a:cubicBezTo>
                  <a:pt x="2" y="0"/>
                  <a:pt x="2" y="0"/>
                  <a:pt x="2" y="0"/>
                </a:cubicBezTo>
                <a:lnTo>
                  <a:pt x="29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8" name="Freeform 417">
            <a:extLst>
              <a:ext uri="{FF2B5EF4-FFF2-40B4-BE49-F238E27FC236}">
                <a16:creationId xmlns:a16="http://schemas.microsoft.com/office/drawing/2014/main" id="{C9A68C6B-DAE2-4486-BB7B-65C529C1138F}"/>
              </a:ext>
            </a:extLst>
          </p:cNvPr>
          <p:cNvSpPr>
            <a:spLocks/>
          </p:cNvSpPr>
          <p:nvPr/>
        </p:nvSpPr>
        <p:spPr bwMode="auto">
          <a:xfrm>
            <a:off x="8629395" y="5976037"/>
            <a:ext cx="63864" cy="239177"/>
          </a:xfrm>
          <a:custGeom>
            <a:avLst/>
            <a:gdLst>
              <a:gd name="T0" fmla="*/ 118 w 123"/>
              <a:gd name="T1" fmla="*/ 72 h 460"/>
              <a:gd name="T2" fmla="*/ 55 w 123"/>
              <a:gd name="T3" fmla="*/ 460 h 460"/>
              <a:gd name="T4" fmla="*/ 27 w 123"/>
              <a:gd name="T5" fmla="*/ 460 h 460"/>
              <a:gd name="T6" fmla="*/ 11 w 123"/>
              <a:gd name="T7" fmla="*/ 70 h 460"/>
              <a:gd name="T8" fmla="*/ 118 w 123"/>
              <a:gd name="T9" fmla="*/ 72 h 4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3" h="460">
                <a:moveTo>
                  <a:pt x="118" y="72"/>
                </a:moveTo>
                <a:cubicBezTo>
                  <a:pt x="107" y="240"/>
                  <a:pt x="84" y="321"/>
                  <a:pt x="55" y="460"/>
                </a:cubicBezTo>
                <a:cubicBezTo>
                  <a:pt x="48" y="460"/>
                  <a:pt x="55" y="460"/>
                  <a:pt x="27" y="460"/>
                </a:cubicBezTo>
                <a:cubicBezTo>
                  <a:pt x="46" y="309"/>
                  <a:pt x="36" y="227"/>
                  <a:pt x="11" y="70"/>
                </a:cubicBezTo>
                <a:cubicBezTo>
                  <a:pt x="0" y="0"/>
                  <a:pt x="123" y="1"/>
                  <a:pt x="118" y="72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9" name="Freeform 418">
            <a:extLst>
              <a:ext uri="{FF2B5EF4-FFF2-40B4-BE49-F238E27FC236}">
                <a16:creationId xmlns:a16="http://schemas.microsoft.com/office/drawing/2014/main" id="{980F1325-5E39-4C45-9088-2D9EEF9B1BFB}"/>
              </a:ext>
            </a:extLst>
          </p:cNvPr>
          <p:cNvSpPr>
            <a:spLocks/>
          </p:cNvSpPr>
          <p:nvPr/>
        </p:nvSpPr>
        <p:spPr bwMode="auto">
          <a:xfrm>
            <a:off x="8640664" y="5769418"/>
            <a:ext cx="48838" cy="71378"/>
          </a:xfrm>
          <a:custGeom>
            <a:avLst/>
            <a:gdLst>
              <a:gd name="T0" fmla="*/ 89 w 94"/>
              <a:gd name="T1" fmla="*/ 52 h 136"/>
              <a:gd name="T2" fmla="*/ 88 w 94"/>
              <a:gd name="T3" fmla="*/ 44 h 136"/>
              <a:gd name="T4" fmla="*/ 85 w 94"/>
              <a:gd name="T5" fmla="*/ 37 h 136"/>
              <a:gd name="T6" fmla="*/ 94 w 94"/>
              <a:gd name="T7" fmla="*/ 33 h 136"/>
              <a:gd name="T8" fmla="*/ 74 w 94"/>
              <a:gd name="T9" fmla="*/ 13 h 136"/>
              <a:gd name="T10" fmla="*/ 30 w 94"/>
              <a:gd name="T11" fmla="*/ 7 h 136"/>
              <a:gd name="T12" fmla="*/ 11 w 94"/>
              <a:gd name="T13" fmla="*/ 50 h 136"/>
              <a:gd name="T14" fmla="*/ 6 w 94"/>
              <a:gd name="T15" fmla="*/ 99 h 136"/>
              <a:gd name="T16" fmla="*/ 91 w 94"/>
              <a:gd name="T17" fmla="*/ 99 h 136"/>
              <a:gd name="T18" fmla="*/ 90 w 94"/>
              <a:gd name="T19" fmla="*/ 61 h 136"/>
              <a:gd name="T20" fmla="*/ 89 w 94"/>
              <a:gd name="T21" fmla="*/ 52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4" h="136">
                <a:moveTo>
                  <a:pt x="89" y="52"/>
                </a:moveTo>
                <a:cubicBezTo>
                  <a:pt x="92" y="50"/>
                  <a:pt x="89" y="47"/>
                  <a:pt x="88" y="44"/>
                </a:cubicBezTo>
                <a:cubicBezTo>
                  <a:pt x="86" y="42"/>
                  <a:pt x="85" y="37"/>
                  <a:pt x="85" y="37"/>
                </a:cubicBezTo>
                <a:cubicBezTo>
                  <a:pt x="94" y="33"/>
                  <a:pt x="94" y="33"/>
                  <a:pt x="94" y="33"/>
                </a:cubicBezTo>
                <a:cubicBezTo>
                  <a:pt x="94" y="33"/>
                  <a:pt x="86" y="24"/>
                  <a:pt x="74" y="13"/>
                </a:cubicBezTo>
                <a:cubicBezTo>
                  <a:pt x="63" y="3"/>
                  <a:pt x="47" y="0"/>
                  <a:pt x="30" y="7"/>
                </a:cubicBezTo>
                <a:cubicBezTo>
                  <a:pt x="10" y="16"/>
                  <a:pt x="9" y="25"/>
                  <a:pt x="11" y="50"/>
                </a:cubicBezTo>
                <a:cubicBezTo>
                  <a:pt x="13" y="61"/>
                  <a:pt x="9" y="84"/>
                  <a:pt x="6" y="99"/>
                </a:cubicBezTo>
                <a:cubicBezTo>
                  <a:pt x="0" y="136"/>
                  <a:pt x="91" y="110"/>
                  <a:pt x="91" y="99"/>
                </a:cubicBezTo>
                <a:cubicBezTo>
                  <a:pt x="91" y="88"/>
                  <a:pt x="91" y="70"/>
                  <a:pt x="90" y="61"/>
                </a:cubicBezTo>
                <a:cubicBezTo>
                  <a:pt x="92" y="59"/>
                  <a:pt x="91" y="52"/>
                  <a:pt x="89" y="52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0" name="Freeform 419">
            <a:extLst>
              <a:ext uri="{FF2B5EF4-FFF2-40B4-BE49-F238E27FC236}">
                <a16:creationId xmlns:a16="http://schemas.microsoft.com/office/drawing/2014/main" id="{C9996C1D-118A-46DF-8F32-92C17B49027F}"/>
              </a:ext>
            </a:extLst>
          </p:cNvPr>
          <p:cNvSpPr>
            <a:spLocks/>
          </p:cNvSpPr>
          <p:nvPr/>
        </p:nvSpPr>
        <p:spPr bwMode="auto">
          <a:xfrm>
            <a:off x="8673223" y="5779436"/>
            <a:ext cx="5009" cy="5009"/>
          </a:xfrm>
          <a:custGeom>
            <a:avLst/>
            <a:gdLst>
              <a:gd name="T0" fmla="*/ 8 w 9"/>
              <a:gd name="T1" fmla="*/ 2 h 9"/>
              <a:gd name="T2" fmla="*/ 7 w 9"/>
              <a:gd name="T3" fmla="*/ 8 h 9"/>
              <a:gd name="T4" fmla="*/ 2 w 9"/>
              <a:gd name="T5" fmla="*/ 7 h 9"/>
              <a:gd name="T6" fmla="*/ 2 w 9"/>
              <a:gd name="T7" fmla="*/ 1 h 9"/>
              <a:gd name="T8" fmla="*/ 8 w 9"/>
              <a:gd name="T9" fmla="*/ 2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9">
                <a:moveTo>
                  <a:pt x="8" y="2"/>
                </a:moveTo>
                <a:cubicBezTo>
                  <a:pt x="9" y="4"/>
                  <a:pt x="9" y="6"/>
                  <a:pt x="7" y="8"/>
                </a:cubicBezTo>
                <a:cubicBezTo>
                  <a:pt x="6" y="9"/>
                  <a:pt x="3" y="9"/>
                  <a:pt x="2" y="7"/>
                </a:cubicBezTo>
                <a:cubicBezTo>
                  <a:pt x="0" y="6"/>
                  <a:pt x="0" y="3"/>
                  <a:pt x="2" y="1"/>
                </a:cubicBezTo>
                <a:cubicBezTo>
                  <a:pt x="4" y="0"/>
                  <a:pt x="6" y="0"/>
                  <a:pt x="8" y="2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1" name="Freeform 420">
            <a:extLst>
              <a:ext uri="{FF2B5EF4-FFF2-40B4-BE49-F238E27FC236}">
                <a16:creationId xmlns:a16="http://schemas.microsoft.com/office/drawing/2014/main" id="{70DAAD3F-1F7B-4A9C-B420-DF0AA0BFB669}"/>
              </a:ext>
            </a:extLst>
          </p:cNvPr>
          <p:cNvSpPr>
            <a:spLocks/>
          </p:cNvSpPr>
          <p:nvPr/>
        </p:nvSpPr>
        <p:spPr bwMode="auto">
          <a:xfrm>
            <a:off x="8668214" y="5781940"/>
            <a:ext cx="5009" cy="5009"/>
          </a:xfrm>
          <a:custGeom>
            <a:avLst/>
            <a:gdLst>
              <a:gd name="T0" fmla="*/ 8 w 10"/>
              <a:gd name="T1" fmla="*/ 2 h 9"/>
              <a:gd name="T2" fmla="*/ 8 w 10"/>
              <a:gd name="T3" fmla="*/ 8 h 9"/>
              <a:gd name="T4" fmla="*/ 2 w 10"/>
              <a:gd name="T5" fmla="*/ 7 h 9"/>
              <a:gd name="T6" fmla="*/ 2 w 10"/>
              <a:gd name="T7" fmla="*/ 1 h 9"/>
              <a:gd name="T8" fmla="*/ 8 w 10"/>
              <a:gd name="T9" fmla="*/ 2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" h="9">
                <a:moveTo>
                  <a:pt x="8" y="2"/>
                </a:moveTo>
                <a:cubicBezTo>
                  <a:pt x="10" y="3"/>
                  <a:pt x="9" y="6"/>
                  <a:pt x="8" y="8"/>
                </a:cubicBezTo>
                <a:cubicBezTo>
                  <a:pt x="6" y="9"/>
                  <a:pt x="3" y="9"/>
                  <a:pt x="2" y="7"/>
                </a:cubicBezTo>
                <a:cubicBezTo>
                  <a:pt x="0" y="5"/>
                  <a:pt x="0" y="3"/>
                  <a:pt x="2" y="1"/>
                </a:cubicBezTo>
                <a:cubicBezTo>
                  <a:pt x="4" y="0"/>
                  <a:pt x="6" y="0"/>
                  <a:pt x="8" y="2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2" name="Freeform 421">
            <a:extLst>
              <a:ext uri="{FF2B5EF4-FFF2-40B4-BE49-F238E27FC236}">
                <a16:creationId xmlns:a16="http://schemas.microsoft.com/office/drawing/2014/main" id="{BA4C9635-5076-4AFC-AA49-A059C434B53E}"/>
              </a:ext>
            </a:extLst>
          </p:cNvPr>
          <p:cNvSpPr>
            <a:spLocks/>
          </p:cNvSpPr>
          <p:nvPr/>
        </p:nvSpPr>
        <p:spPr bwMode="auto">
          <a:xfrm>
            <a:off x="8638160" y="5766914"/>
            <a:ext cx="22540" cy="28802"/>
          </a:xfrm>
          <a:custGeom>
            <a:avLst/>
            <a:gdLst>
              <a:gd name="T0" fmla="*/ 34 w 44"/>
              <a:gd name="T1" fmla="*/ 0 h 56"/>
              <a:gd name="T2" fmla="*/ 22 w 44"/>
              <a:gd name="T3" fmla="*/ 9 h 56"/>
              <a:gd name="T4" fmla="*/ 11 w 44"/>
              <a:gd name="T5" fmla="*/ 27 h 56"/>
              <a:gd name="T6" fmla="*/ 15 w 44"/>
              <a:gd name="T7" fmla="*/ 56 h 56"/>
              <a:gd name="T8" fmla="*/ 16 w 44"/>
              <a:gd name="T9" fmla="*/ 34 h 56"/>
              <a:gd name="T10" fmla="*/ 39 w 44"/>
              <a:gd name="T11" fmla="*/ 20 h 56"/>
              <a:gd name="T12" fmla="*/ 34 w 44"/>
              <a:gd name="T13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4" h="56">
                <a:moveTo>
                  <a:pt x="34" y="0"/>
                </a:moveTo>
                <a:cubicBezTo>
                  <a:pt x="36" y="4"/>
                  <a:pt x="30" y="8"/>
                  <a:pt x="22" y="9"/>
                </a:cubicBezTo>
                <a:cubicBezTo>
                  <a:pt x="14" y="10"/>
                  <a:pt x="8" y="19"/>
                  <a:pt x="11" y="27"/>
                </a:cubicBezTo>
                <a:cubicBezTo>
                  <a:pt x="0" y="32"/>
                  <a:pt x="6" y="52"/>
                  <a:pt x="15" y="56"/>
                </a:cubicBezTo>
                <a:cubicBezTo>
                  <a:pt x="20" y="54"/>
                  <a:pt x="19" y="37"/>
                  <a:pt x="16" y="34"/>
                </a:cubicBezTo>
                <a:cubicBezTo>
                  <a:pt x="19" y="33"/>
                  <a:pt x="35" y="26"/>
                  <a:pt x="39" y="20"/>
                </a:cubicBezTo>
                <a:cubicBezTo>
                  <a:pt x="44" y="13"/>
                  <a:pt x="42" y="3"/>
                  <a:pt x="34" y="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3" name="Freeform 422">
            <a:extLst>
              <a:ext uri="{FF2B5EF4-FFF2-40B4-BE49-F238E27FC236}">
                <a16:creationId xmlns:a16="http://schemas.microsoft.com/office/drawing/2014/main" id="{F4502360-B574-45A8-A2C2-5A90F5181CD0}"/>
              </a:ext>
            </a:extLst>
          </p:cNvPr>
          <p:cNvSpPr>
            <a:spLocks/>
          </p:cNvSpPr>
          <p:nvPr/>
        </p:nvSpPr>
        <p:spPr bwMode="auto">
          <a:xfrm>
            <a:off x="8628142" y="5820760"/>
            <a:ext cx="107692" cy="192844"/>
          </a:xfrm>
          <a:custGeom>
            <a:avLst/>
            <a:gdLst>
              <a:gd name="T0" fmla="*/ 127 w 206"/>
              <a:gd name="T1" fmla="*/ 0 h 371"/>
              <a:gd name="T2" fmla="*/ 188 w 206"/>
              <a:gd name="T3" fmla="*/ 371 h 371"/>
              <a:gd name="T4" fmla="*/ 0 w 206"/>
              <a:gd name="T5" fmla="*/ 369 h 371"/>
              <a:gd name="T6" fmla="*/ 17 w 206"/>
              <a:gd name="T7" fmla="*/ 0 h 371"/>
              <a:gd name="T8" fmla="*/ 127 w 206"/>
              <a:gd name="T9" fmla="*/ 0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6" h="371">
                <a:moveTo>
                  <a:pt x="127" y="0"/>
                </a:moveTo>
                <a:cubicBezTo>
                  <a:pt x="140" y="58"/>
                  <a:pt x="206" y="228"/>
                  <a:pt x="188" y="371"/>
                </a:cubicBezTo>
                <a:cubicBezTo>
                  <a:pt x="139" y="371"/>
                  <a:pt x="51" y="369"/>
                  <a:pt x="0" y="369"/>
                </a:cubicBezTo>
                <a:cubicBezTo>
                  <a:pt x="0" y="369"/>
                  <a:pt x="32" y="89"/>
                  <a:pt x="17" y="0"/>
                </a:cubicBezTo>
                <a:cubicBezTo>
                  <a:pt x="39" y="0"/>
                  <a:pt x="83" y="0"/>
                  <a:pt x="127" y="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4" name="Freeform 423">
            <a:extLst>
              <a:ext uri="{FF2B5EF4-FFF2-40B4-BE49-F238E27FC236}">
                <a16:creationId xmlns:a16="http://schemas.microsoft.com/office/drawing/2014/main" id="{AA5BB87A-E1C0-466C-8607-14B48356CD1F}"/>
              </a:ext>
            </a:extLst>
          </p:cNvPr>
          <p:cNvSpPr>
            <a:spLocks/>
          </p:cNvSpPr>
          <p:nvPr/>
        </p:nvSpPr>
        <p:spPr bwMode="auto">
          <a:xfrm>
            <a:off x="8668214" y="5820760"/>
            <a:ext cx="10018" cy="7513"/>
          </a:xfrm>
          <a:custGeom>
            <a:avLst/>
            <a:gdLst>
              <a:gd name="T0" fmla="*/ 0 w 8"/>
              <a:gd name="T1" fmla="*/ 0 h 6"/>
              <a:gd name="T2" fmla="*/ 7 w 8"/>
              <a:gd name="T3" fmla="*/ 0 h 6"/>
              <a:gd name="T4" fmla="*/ 8 w 8"/>
              <a:gd name="T5" fmla="*/ 6 h 6"/>
              <a:gd name="T6" fmla="*/ 0 w 8"/>
              <a:gd name="T7" fmla="*/ 6 h 6"/>
              <a:gd name="T8" fmla="*/ 0 w 8"/>
              <a:gd name="T9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6">
                <a:moveTo>
                  <a:pt x="0" y="0"/>
                </a:moveTo>
                <a:lnTo>
                  <a:pt x="7" y="0"/>
                </a:lnTo>
                <a:lnTo>
                  <a:pt x="8" y="6"/>
                </a:lnTo>
                <a:lnTo>
                  <a:pt x="0" y="6"/>
                </a:lnTo>
                <a:lnTo>
                  <a:pt x="0" y="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5" name="Freeform 424">
            <a:extLst>
              <a:ext uri="{FF2B5EF4-FFF2-40B4-BE49-F238E27FC236}">
                <a16:creationId xmlns:a16="http://schemas.microsoft.com/office/drawing/2014/main" id="{36B89BA7-919F-4842-A456-8FFD7A2C4E6D}"/>
              </a:ext>
            </a:extLst>
          </p:cNvPr>
          <p:cNvSpPr>
            <a:spLocks/>
          </p:cNvSpPr>
          <p:nvPr/>
        </p:nvSpPr>
        <p:spPr bwMode="auto">
          <a:xfrm>
            <a:off x="8663205" y="5823264"/>
            <a:ext cx="22540" cy="101431"/>
          </a:xfrm>
          <a:custGeom>
            <a:avLst/>
            <a:gdLst>
              <a:gd name="T0" fmla="*/ 14 w 43"/>
              <a:gd name="T1" fmla="*/ 10 h 195"/>
              <a:gd name="T2" fmla="*/ 26 w 43"/>
              <a:gd name="T3" fmla="*/ 10 h 195"/>
              <a:gd name="T4" fmla="*/ 43 w 43"/>
              <a:gd name="T5" fmla="*/ 175 h 195"/>
              <a:gd name="T6" fmla="*/ 19 w 43"/>
              <a:gd name="T7" fmla="*/ 195 h 195"/>
              <a:gd name="T8" fmla="*/ 0 w 43"/>
              <a:gd name="T9" fmla="*/ 171 h 195"/>
              <a:gd name="T10" fmla="*/ 14 w 43"/>
              <a:gd name="T11" fmla="*/ 1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3" h="195">
                <a:moveTo>
                  <a:pt x="14" y="10"/>
                </a:moveTo>
                <a:cubicBezTo>
                  <a:pt x="14" y="0"/>
                  <a:pt x="23" y="1"/>
                  <a:pt x="26" y="10"/>
                </a:cubicBezTo>
                <a:cubicBezTo>
                  <a:pt x="33" y="40"/>
                  <a:pt x="41" y="113"/>
                  <a:pt x="43" y="175"/>
                </a:cubicBezTo>
                <a:cubicBezTo>
                  <a:pt x="33" y="183"/>
                  <a:pt x="19" y="195"/>
                  <a:pt x="19" y="195"/>
                </a:cubicBezTo>
                <a:cubicBezTo>
                  <a:pt x="19" y="195"/>
                  <a:pt x="5" y="177"/>
                  <a:pt x="0" y="171"/>
                </a:cubicBezTo>
                <a:cubicBezTo>
                  <a:pt x="14" y="115"/>
                  <a:pt x="15" y="44"/>
                  <a:pt x="14" y="10"/>
                </a:cubicBez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6" name="Freeform 425">
            <a:extLst>
              <a:ext uri="{FF2B5EF4-FFF2-40B4-BE49-F238E27FC236}">
                <a16:creationId xmlns:a16="http://schemas.microsoft.com/office/drawing/2014/main" id="{BD074778-CAAC-49BA-A169-E4C9CD949CD8}"/>
              </a:ext>
            </a:extLst>
          </p:cNvPr>
          <p:cNvSpPr>
            <a:spLocks/>
          </p:cNvSpPr>
          <p:nvPr/>
        </p:nvSpPr>
        <p:spPr bwMode="auto">
          <a:xfrm>
            <a:off x="8491649" y="5715572"/>
            <a:ext cx="18784" cy="12522"/>
          </a:xfrm>
          <a:custGeom>
            <a:avLst/>
            <a:gdLst>
              <a:gd name="T0" fmla="*/ 0 w 36"/>
              <a:gd name="T1" fmla="*/ 19 h 23"/>
              <a:gd name="T2" fmla="*/ 5 w 36"/>
              <a:gd name="T3" fmla="*/ 23 h 23"/>
              <a:gd name="T4" fmla="*/ 31 w 36"/>
              <a:gd name="T5" fmla="*/ 23 h 23"/>
              <a:gd name="T6" fmla="*/ 36 w 36"/>
              <a:gd name="T7" fmla="*/ 19 h 23"/>
              <a:gd name="T8" fmla="*/ 36 w 36"/>
              <a:gd name="T9" fmla="*/ 5 h 23"/>
              <a:gd name="T10" fmla="*/ 31 w 36"/>
              <a:gd name="T11" fmla="*/ 0 h 23"/>
              <a:gd name="T12" fmla="*/ 5 w 36"/>
              <a:gd name="T13" fmla="*/ 0 h 23"/>
              <a:gd name="T14" fmla="*/ 0 w 36"/>
              <a:gd name="T15" fmla="*/ 5 h 23"/>
              <a:gd name="T16" fmla="*/ 0 w 36"/>
              <a:gd name="T17" fmla="*/ 19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" h="23">
                <a:moveTo>
                  <a:pt x="0" y="19"/>
                </a:moveTo>
                <a:cubicBezTo>
                  <a:pt x="0" y="21"/>
                  <a:pt x="2" y="23"/>
                  <a:pt x="5" y="23"/>
                </a:cubicBezTo>
                <a:cubicBezTo>
                  <a:pt x="31" y="23"/>
                  <a:pt x="31" y="23"/>
                  <a:pt x="31" y="23"/>
                </a:cubicBezTo>
                <a:cubicBezTo>
                  <a:pt x="34" y="23"/>
                  <a:pt x="36" y="21"/>
                  <a:pt x="36" y="19"/>
                </a:cubicBezTo>
                <a:cubicBezTo>
                  <a:pt x="36" y="5"/>
                  <a:pt x="36" y="5"/>
                  <a:pt x="36" y="5"/>
                </a:cubicBezTo>
                <a:cubicBezTo>
                  <a:pt x="36" y="3"/>
                  <a:pt x="34" y="0"/>
                  <a:pt x="31" y="0"/>
                </a:cubicBezTo>
                <a:cubicBezTo>
                  <a:pt x="5" y="0"/>
                  <a:pt x="5" y="0"/>
                  <a:pt x="5" y="0"/>
                </a:cubicBezTo>
                <a:cubicBezTo>
                  <a:pt x="2" y="0"/>
                  <a:pt x="0" y="3"/>
                  <a:pt x="0" y="5"/>
                </a:cubicBezTo>
                <a:lnTo>
                  <a:pt x="0" y="19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7" name="Freeform 426">
            <a:extLst>
              <a:ext uri="{FF2B5EF4-FFF2-40B4-BE49-F238E27FC236}">
                <a16:creationId xmlns:a16="http://schemas.microsoft.com/office/drawing/2014/main" id="{FDF138B1-A033-445F-8CC4-9CA47F7E6403}"/>
              </a:ext>
            </a:extLst>
          </p:cNvPr>
          <p:cNvSpPr>
            <a:spLocks/>
          </p:cNvSpPr>
          <p:nvPr/>
        </p:nvSpPr>
        <p:spPr bwMode="auto">
          <a:xfrm>
            <a:off x="8501667" y="5711815"/>
            <a:ext cx="5009" cy="8766"/>
          </a:xfrm>
          <a:custGeom>
            <a:avLst/>
            <a:gdLst>
              <a:gd name="T0" fmla="*/ 9 w 9"/>
              <a:gd name="T1" fmla="*/ 13 h 17"/>
              <a:gd name="T2" fmla="*/ 4 w 9"/>
              <a:gd name="T3" fmla="*/ 17 h 17"/>
              <a:gd name="T4" fmla="*/ 0 w 9"/>
              <a:gd name="T5" fmla="*/ 13 h 17"/>
              <a:gd name="T6" fmla="*/ 0 w 9"/>
              <a:gd name="T7" fmla="*/ 4 h 17"/>
              <a:gd name="T8" fmla="*/ 4 w 9"/>
              <a:gd name="T9" fmla="*/ 0 h 17"/>
              <a:gd name="T10" fmla="*/ 4 w 9"/>
              <a:gd name="T11" fmla="*/ 0 h 17"/>
              <a:gd name="T12" fmla="*/ 9 w 9"/>
              <a:gd name="T13" fmla="*/ 4 h 17"/>
              <a:gd name="T14" fmla="*/ 9 w 9"/>
              <a:gd name="T15" fmla="*/ 13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7">
                <a:moveTo>
                  <a:pt x="9" y="13"/>
                </a:moveTo>
                <a:cubicBezTo>
                  <a:pt x="9" y="15"/>
                  <a:pt x="7" y="17"/>
                  <a:pt x="4" y="17"/>
                </a:cubicBezTo>
                <a:cubicBezTo>
                  <a:pt x="2" y="17"/>
                  <a:pt x="0" y="15"/>
                  <a:pt x="0" y="13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4" y="0"/>
                  <a:pt x="4" y="0"/>
                  <a:pt x="4" y="0"/>
                </a:cubicBezTo>
                <a:cubicBezTo>
                  <a:pt x="7" y="0"/>
                  <a:pt x="9" y="2"/>
                  <a:pt x="9" y="4"/>
                </a:cubicBezTo>
                <a:lnTo>
                  <a:pt x="9" y="13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8" name="Freeform 427">
            <a:extLst>
              <a:ext uri="{FF2B5EF4-FFF2-40B4-BE49-F238E27FC236}">
                <a16:creationId xmlns:a16="http://schemas.microsoft.com/office/drawing/2014/main" id="{CFB11C16-6A17-4692-BE56-4974F696C6DF}"/>
              </a:ext>
            </a:extLst>
          </p:cNvPr>
          <p:cNvSpPr>
            <a:spLocks/>
          </p:cNvSpPr>
          <p:nvPr/>
        </p:nvSpPr>
        <p:spPr bwMode="auto">
          <a:xfrm>
            <a:off x="8506676" y="5711815"/>
            <a:ext cx="3757" cy="8766"/>
          </a:xfrm>
          <a:custGeom>
            <a:avLst/>
            <a:gdLst>
              <a:gd name="T0" fmla="*/ 9 w 9"/>
              <a:gd name="T1" fmla="*/ 13 h 17"/>
              <a:gd name="T2" fmla="*/ 4 w 9"/>
              <a:gd name="T3" fmla="*/ 17 h 17"/>
              <a:gd name="T4" fmla="*/ 0 w 9"/>
              <a:gd name="T5" fmla="*/ 13 h 17"/>
              <a:gd name="T6" fmla="*/ 0 w 9"/>
              <a:gd name="T7" fmla="*/ 4 h 17"/>
              <a:gd name="T8" fmla="*/ 4 w 9"/>
              <a:gd name="T9" fmla="*/ 0 h 17"/>
              <a:gd name="T10" fmla="*/ 4 w 9"/>
              <a:gd name="T11" fmla="*/ 0 h 17"/>
              <a:gd name="T12" fmla="*/ 9 w 9"/>
              <a:gd name="T13" fmla="*/ 4 h 17"/>
              <a:gd name="T14" fmla="*/ 9 w 9"/>
              <a:gd name="T15" fmla="*/ 13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7">
                <a:moveTo>
                  <a:pt x="9" y="13"/>
                </a:moveTo>
                <a:cubicBezTo>
                  <a:pt x="9" y="15"/>
                  <a:pt x="7" y="17"/>
                  <a:pt x="4" y="17"/>
                </a:cubicBezTo>
                <a:cubicBezTo>
                  <a:pt x="2" y="17"/>
                  <a:pt x="0" y="15"/>
                  <a:pt x="0" y="13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4" y="0"/>
                  <a:pt x="4" y="0"/>
                  <a:pt x="4" y="0"/>
                </a:cubicBezTo>
                <a:cubicBezTo>
                  <a:pt x="7" y="0"/>
                  <a:pt x="9" y="2"/>
                  <a:pt x="9" y="4"/>
                </a:cubicBezTo>
                <a:lnTo>
                  <a:pt x="9" y="13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9" name="Freeform 428">
            <a:extLst>
              <a:ext uri="{FF2B5EF4-FFF2-40B4-BE49-F238E27FC236}">
                <a16:creationId xmlns:a16="http://schemas.microsoft.com/office/drawing/2014/main" id="{BC2F29B4-4AB5-411D-966C-72CB76D2D8A6}"/>
              </a:ext>
            </a:extLst>
          </p:cNvPr>
          <p:cNvSpPr>
            <a:spLocks/>
          </p:cNvSpPr>
          <p:nvPr/>
        </p:nvSpPr>
        <p:spPr bwMode="auto">
          <a:xfrm>
            <a:off x="8496658" y="5711815"/>
            <a:ext cx="5009" cy="8766"/>
          </a:xfrm>
          <a:custGeom>
            <a:avLst/>
            <a:gdLst>
              <a:gd name="T0" fmla="*/ 5 w 9"/>
              <a:gd name="T1" fmla="*/ 17 h 17"/>
              <a:gd name="T2" fmla="*/ 0 w 9"/>
              <a:gd name="T3" fmla="*/ 13 h 17"/>
              <a:gd name="T4" fmla="*/ 0 w 9"/>
              <a:gd name="T5" fmla="*/ 4 h 17"/>
              <a:gd name="T6" fmla="*/ 5 w 9"/>
              <a:gd name="T7" fmla="*/ 0 h 17"/>
              <a:gd name="T8" fmla="*/ 5 w 9"/>
              <a:gd name="T9" fmla="*/ 0 h 17"/>
              <a:gd name="T10" fmla="*/ 9 w 9"/>
              <a:gd name="T11" fmla="*/ 4 h 17"/>
              <a:gd name="T12" fmla="*/ 9 w 9"/>
              <a:gd name="T13" fmla="*/ 13 h 17"/>
              <a:gd name="T14" fmla="*/ 5 w 9"/>
              <a:gd name="T15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7">
                <a:moveTo>
                  <a:pt x="5" y="17"/>
                </a:moveTo>
                <a:cubicBezTo>
                  <a:pt x="2" y="17"/>
                  <a:pt x="0" y="15"/>
                  <a:pt x="0" y="13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5" y="0"/>
                </a:cubicBezTo>
                <a:cubicBezTo>
                  <a:pt x="5" y="0"/>
                  <a:pt x="5" y="0"/>
                  <a:pt x="5" y="0"/>
                </a:cubicBezTo>
                <a:cubicBezTo>
                  <a:pt x="7" y="0"/>
                  <a:pt x="9" y="2"/>
                  <a:pt x="9" y="4"/>
                </a:cubicBezTo>
                <a:cubicBezTo>
                  <a:pt x="9" y="13"/>
                  <a:pt x="9" y="13"/>
                  <a:pt x="9" y="13"/>
                </a:cubicBezTo>
                <a:cubicBezTo>
                  <a:pt x="9" y="15"/>
                  <a:pt x="7" y="17"/>
                  <a:pt x="5" y="17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0" name="Freeform 429">
            <a:extLst>
              <a:ext uri="{FF2B5EF4-FFF2-40B4-BE49-F238E27FC236}">
                <a16:creationId xmlns:a16="http://schemas.microsoft.com/office/drawing/2014/main" id="{75CF5936-5BA0-4717-B645-444F65E1F3F3}"/>
              </a:ext>
            </a:extLst>
          </p:cNvPr>
          <p:cNvSpPr>
            <a:spLocks/>
          </p:cNvSpPr>
          <p:nvPr/>
        </p:nvSpPr>
        <p:spPr bwMode="auto">
          <a:xfrm>
            <a:off x="8491649" y="5711815"/>
            <a:ext cx="5009" cy="8766"/>
          </a:xfrm>
          <a:custGeom>
            <a:avLst/>
            <a:gdLst>
              <a:gd name="T0" fmla="*/ 9 w 9"/>
              <a:gd name="T1" fmla="*/ 13 h 17"/>
              <a:gd name="T2" fmla="*/ 5 w 9"/>
              <a:gd name="T3" fmla="*/ 17 h 17"/>
              <a:gd name="T4" fmla="*/ 0 w 9"/>
              <a:gd name="T5" fmla="*/ 13 h 17"/>
              <a:gd name="T6" fmla="*/ 0 w 9"/>
              <a:gd name="T7" fmla="*/ 4 h 17"/>
              <a:gd name="T8" fmla="*/ 5 w 9"/>
              <a:gd name="T9" fmla="*/ 0 h 17"/>
              <a:gd name="T10" fmla="*/ 9 w 9"/>
              <a:gd name="T11" fmla="*/ 4 h 17"/>
              <a:gd name="T12" fmla="*/ 9 w 9"/>
              <a:gd name="T13" fmla="*/ 13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" h="17">
                <a:moveTo>
                  <a:pt x="9" y="13"/>
                </a:moveTo>
                <a:cubicBezTo>
                  <a:pt x="9" y="15"/>
                  <a:pt x="7" y="17"/>
                  <a:pt x="5" y="17"/>
                </a:cubicBezTo>
                <a:cubicBezTo>
                  <a:pt x="2" y="17"/>
                  <a:pt x="0" y="15"/>
                  <a:pt x="0" y="13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5" y="0"/>
                </a:cubicBezTo>
                <a:cubicBezTo>
                  <a:pt x="7" y="0"/>
                  <a:pt x="9" y="2"/>
                  <a:pt x="9" y="4"/>
                </a:cubicBezTo>
                <a:lnTo>
                  <a:pt x="9" y="13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1" name="Freeform 430">
            <a:extLst>
              <a:ext uri="{FF2B5EF4-FFF2-40B4-BE49-F238E27FC236}">
                <a16:creationId xmlns:a16="http://schemas.microsoft.com/office/drawing/2014/main" id="{EDAD0282-D6AD-45A1-A720-79BC26F16FBF}"/>
              </a:ext>
            </a:extLst>
          </p:cNvPr>
          <p:cNvSpPr>
            <a:spLocks/>
          </p:cNvSpPr>
          <p:nvPr/>
        </p:nvSpPr>
        <p:spPr bwMode="auto">
          <a:xfrm>
            <a:off x="8477874" y="5728095"/>
            <a:ext cx="160286" cy="133989"/>
          </a:xfrm>
          <a:custGeom>
            <a:avLst/>
            <a:gdLst>
              <a:gd name="T0" fmla="*/ 262 w 309"/>
              <a:gd name="T1" fmla="*/ 256 h 259"/>
              <a:gd name="T2" fmla="*/ 33 w 309"/>
              <a:gd name="T3" fmla="*/ 0 h 259"/>
              <a:gd name="T4" fmla="*/ 59 w 309"/>
              <a:gd name="T5" fmla="*/ 0 h 259"/>
              <a:gd name="T6" fmla="*/ 250 w 309"/>
              <a:gd name="T7" fmla="*/ 179 h 259"/>
              <a:gd name="T8" fmla="*/ 262 w 309"/>
              <a:gd name="T9" fmla="*/ 256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9" h="259">
                <a:moveTo>
                  <a:pt x="262" y="256"/>
                </a:moveTo>
                <a:cubicBezTo>
                  <a:pt x="111" y="248"/>
                  <a:pt x="0" y="219"/>
                  <a:pt x="33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55" y="157"/>
                  <a:pt x="115" y="179"/>
                  <a:pt x="250" y="179"/>
                </a:cubicBezTo>
                <a:cubicBezTo>
                  <a:pt x="292" y="179"/>
                  <a:pt x="309" y="259"/>
                  <a:pt x="262" y="25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2" name="Freeform 432">
            <a:extLst>
              <a:ext uri="{FF2B5EF4-FFF2-40B4-BE49-F238E27FC236}">
                <a16:creationId xmlns:a16="http://schemas.microsoft.com/office/drawing/2014/main" id="{07E3D954-2877-4699-8F42-4C1F10845BD4}"/>
              </a:ext>
            </a:extLst>
          </p:cNvPr>
          <p:cNvSpPr>
            <a:spLocks/>
          </p:cNvSpPr>
          <p:nvPr/>
        </p:nvSpPr>
        <p:spPr bwMode="auto">
          <a:xfrm>
            <a:off x="8818482" y="5715572"/>
            <a:ext cx="18784" cy="12522"/>
          </a:xfrm>
          <a:custGeom>
            <a:avLst/>
            <a:gdLst>
              <a:gd name="T0" fmla="*/ 36 w 36"/>
              <a:gd name="T1" fmla="*/ 19 h 23"/>
              <a:gd name="T2" fmla="*/ 31 w 36"/>
              <a:gd name="T3" fmla="*/ 23 h 23"/>
              <a:gd name="T4" fmla="*/ 5 w 36"/>
              <a:gd name="T5" fmla="*/ 23 h 23"/>
              <a:gd name="T6" fmla="*/ 0 w 36"/>
              <a:gd name="T7" fmla="*/ 19 h 23"/>
              <a:gd name="T8" fmla="*/ 0 w 36"/>
              <a:gd name="T9" fmla="*/ 5 h 23"/>
              <a:gd name="T10" fmla="*/ 5 w 36"/>
              <a:gd name="T11" fmla="*/ 0 h 23"/>
              <a:gd name="T12" fmla="*/ 31 w 36"/>
              <a:gd name="T13" fmla="*/ 0 h 23"/>
              <a:gd name="T14" fmla="*/ 36 w 36"/>
              <a:gd name="T15" fmla="*/ 5 h 23"/>
              <a:gd name="T16" fmla="*/ 36 w 36"/>
              <a:gd name="T17" fmla="*/ 19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" h="23">
                <a:moveTo>
                  <a:pt x="36" y="19"/>
                </a:moveTo>
                <a:cubicBezTo>
                  <a:pt x="36" y="21"/>
                  <a:pt x="34" y="23"/>
                  <a:pt x="31" y="23"/>
                </a:cubicBezTo>
                <a:cubicBezTo>
                  <a:pt x="5" y="23"/>
                  <a:pt x="5" y="23"/>
                  <a:pt x="5" y="23"/>
                </a:cubicBezTo>
                <a:cubicBezTo>
                  <a:pt x="2" y="23"/>
                  <a:pt x="0" y="21"/>
                  <a:pt x="0" y="19"/>
                </a:cubicBezTo>
                <a:cubicBezTo>
                  <a:pt x="0" y="5"/>
                  <a:pt x="0" y="5"/>
                  <a:pt x="0" y="5"/>
                </a:cubicBezTo>
                <a:cubicBezTo>
                  <a:pt x="0" y="3"/>
                  <a:pt x="2" y="0"/>
                  <a:pt x="5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4" y="0"/>
                  <a:pt x="36" y="3"/>
                  <a:pt x="36" y="5"/>
                </a:cubicBezTo>
                <a:lnTo>
                  <a:pt x="36" y="19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3" name="Freeform 433">
            <a:extLst>
              <a:ext uri="{FF2B5EF4-FFF2-40B4-BE49-F238E27FC236}">
                <a16:creationId xmlns:a16="http://schemas.microsoft.com/office/drawing/2014/main" id="{188566AC-E06E-4565-A937-0F03E8EB9B30}"/>
              </a:ext>
            </a:extLst>
          </p:cNvPr>
          <p:cNvSpPr>
            <a:spLocks/>
          </p:cNvSpPr>
          <p:nvPr/>
        </p:nvSpPr>
        <p:spPr bwMode="auto">
          <a:xfrm>
            <a:off x="8823491" y="5711815"/>
            <a:ext cx="5009" cy="8766"/>
          </a:xfrm>
          <a:custGeom>
            <a:avLst/>
            <a:gdLst>
              <a:gd name="T0" fmla="*/ 0 w 9"/>
              <a:gd name="T1" fmla="*/ 13 h 17"/>
              <a:gd name="T2" fmla="*/ 5 w 9"/>
              <a:gd name="T3" fmla="*/ 17 h 17"/>
              <a:gd name="T4" fmla="*/ 9 w 9"/>
              <a:gd name="T5" fmla="*/ 13 h 17"/>
              <a:gd name="T6" fmla="*/ 9 w 9"/>
              <a:gd name="T7" fmla="*/ 4 h 17"/>
              <a:gd name="T8" fmla="*/ 5 w 9"/>
              <a:gd name="T9" fmla="*/ 0 h 17"/>
              <a:gd name="T10" fmla="*/ 5 w 9"/>
              <a:gd name="T11" fmla="*/ 0 h 17"/>
              <a:gd name="T12" fmla="*/ 0 w 9"/>
              <a:gd name="T13" fmla="*/ 4 h 17"/>
              <a:gd name="T14" fmla="*/ 0 w 9"/>
              <a:gd name="T15" fmla="*/ 13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7">
                <a:moveTo>
                  <a:pt x="0" y="13"/>
                </a:moveTo>
                <a:cubicBezTo>
                  <a:pt x="0" y="15"/>
                  <a:pt x="2" y="17"/>
                  <a:pt x="5" y="17"/>
                </a:cubicBezTo>
                <a:cubicBezTo>
                  <a:pt x="7" y="17"/>
                  <a:pt x="9" y="15"/>
                  <a:pt x="9" y="13"/>
                </a:cubicBezTo>
                <a:cubicBezTo>
                  <a:pt x="9" y="4"/>
                  <a:pt x="9" y="4"/>
                  <a:pt x="9" y="4"/>
                </a:cubicBezTo>
                <a:cubicBezTo>
                  <a:pt x="9" y="2"/>
                  <a:pt x="7" y="0"/>
                  <a:pt x="5" y="0"/>
                </a:cubicBezTo>
                <a:cubicBezTo>
                  <a:pt x="5" y="0"/>
                  <a:pt x="5" y="0"/>
                  <a:pt x="5" y="0"/>
                </a:cubicBezTo>
                <a:cubicBezTo>
                  <a:pt x="2" y="0"/>
                  <a:pt x="0" y="2"/>
                  <a:pt x="0" y="4"/>
                </a:cubicBezTo>
                <a:lnTo>
                  <a:pt x="0" y="13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4" name="Freeform 434">
            <a:extLst>
              <a:ext uri="{FF2B5EF4-FFF2-40B4-BE49-F238E27FC236}">
                <a16:creationId xmlns:a16="http://schemas.microsoft.com/office/drawing/2014/main" id="{1F46BAFF-CFD3-47D9-A7F1-F2D6F49D6082}"/>
              </a:ext>
            </a:extLst>
          </p:cNvPr>
          <p:cNvSpPr>
            <a:spLocks/>
          </p:cNvSpPr>
          <p:nvPr/>
        </p:nvSpPr>
        <p:spPr bwMode="auto">
          <a:xfrm>
            <a:off x="8818482" y="5711815"/>
            <a:ext cx="5009" cy="8766"/>
          </a:xfrm>
          <a:custGeom>
            <a:avLst/>
            <a:gdLst>
              <a:gd name="T0" fmla="*/ 0 w 9"/>
              <a:gd name="T1" fmla="*/ 13 h 17"/>
              <a:gd name="T2" fmla="*/ 5 w 9"/>
              <a:gd name="T3" fmla="*/ 17 h 17"/>
              <a:gd name="T4" fmla="*/ 9 w 9"/>
              <a:gd name="T5" fmla="*/ 13 h 17"/>
              <a:gd name="T6" fmla="*/ 9 w 9"/>
              <a:gd name="T7" fmla="*/ 4 h 17"/>
              <a:gd name="T8" fmla="*/ 5 w 9"/>
              <a:gd name="T9" fmla="*/ 0 h 17"/>
              <a:gd name="T10" fmla="*/ 5 w 9"/>
              <a:gd name="T11" fmla="*/ 0 h 17"/>
              <a:gd name="T12" fmla="*/ 0 w 9"/>
              <a:gd name="T13" fmla="*/ 4 h 17"/>
              <a:gd name="T14" fmla="*/ 0 w 9"/>
              <a:gd name="T15" fmla="*/ 13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7">
                <a:moveTo>
                  <a:pt x="0" y="13"/>
                </a:moveTo>
                <a:cubicBezTo>
                  <a:pt x="0" y="15"/>
                  <a:pt x="2" y="17"/>
                  <a:pt x="5" y="17"/>
                </a:cubicBezTo>
                <a:cubicBezTo>
                  <a:pt x="7" y="17"/>
                  <a:pt x="9" y="15"/>
                  <a:pt x="9" y="13"/>
                </a:cubicBezTo>
                <a:cubicBezTo>
                  <a:pt x="9" y="4"/>
                  <a:pt x="9" y="4"/>
                  <a:pt x="9" y="4"/>
                </a:cubicBezTo>
                <a:cubicBezTo>
                  <a:pt x="9" y="2"/>
                  <a:pt x="7" y="0"/>
                  <a:pt x="5" y="0"/>
                </a:cubicBezTo>
                <a:cubicBezTo>
                  <a:pt x="5" y="0"/>
                  <a:pt x="5" y="0"/>
                  <a:pt x="5" y="0"/>
                </a:cubicBezTo>
                <a:cubicBezTo>
                  <a:pt x="2" y="0"/>
                  <a:pt x="0" y="2"/>
                  <a:pt x="0" y="4"/>
                </a:cubicBezTo>
                <a:lnTo>
                  <a:pt x="0" y="13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5" name="Freeform 435">
            <a:extLst>
              <a:ext uri="{FF2B5EF4-FFF2-40B4-BE49-F238E27FC236}">
                <a16:creationId xmlns:a16="http://schemas.microsoft.com/office/drawing/2014/main" id="{08DECA8C-6891-408D-BE35-0ECCD58C3892}"/>
              </a:ext>
            </a:extLst>
          </p:cNvPr>
          <p:cNvSpPr>
            <a:spLocks/>
          </p:cNvSpPr>
          <p:nvPr/>
        </p:nvSpPr>
        <p:spPr bwMode="auto">
          <a:xfrm>
            <a:off x="8828500" y="5711815"/>
            <a:ext cx="3757" cy="8766"/>
          </a:xfrm>
          <a:custGeom>
            <a:avLst/>
            <a:gdLst>
              <a:gd name="T0" fmla="*/ 4 w 9"/>
              <a:gd name="T1" fmla="*/ 17 h 17"/>
              <a:gd name="T2" fmla="*/ 9 w 9"/>
              <a:gd name="T3" fmla="*/ 13 h 17"/>
              <a:gd name="T4" fmla="*/ 9 w 9"/>
              <a:gd name="T5" fmla="*/ 4 h 17"/>
              <a:gd name="T6" fmla="*/ 4 w 9"/>
              <a:gd name="T7" fmla="*/ 0 h 17"/>
              <a:gd name="T8" fmla="*/ 4 w 9"/>
              <a:gd name="T9" fmla="*/ 0 h 17"/>
              <a:gd name="T10" fmla="*/ 0 w 9"/>
              <a:gd name="T11" fmla="*/ 4 h 17"/>
              <a:gd name="T12" fmla="*/ 0 w 9"/>
              <a:gd name="T13" fmla="*/ 13 h 17"/>
              <a:gd name="T14" fmla="*/ 4 w 9"/>
              <a:gd name="T15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7">
                <a:moveTo>
                  <a:pt x="4" y="17"/>
                </a:moveTo>
                <a:cubicBezTo>
                  <a:pt x="7" y="17"/>
                  <a:pt x="9" y="15"/>
                  <a:pt x="9" y="13"/>
                </a:cubicBezTo>
                <a:cubicBezTo>
                  <a:pt x="9" y="4"/>
                  <a:pt x="9" y="4"/>
                  <a:pt x="9" y="4"/>
                </a:cubicBezTo>
                <a:cubicBezTo>
                  <a:pt x="9" y="2"/>
                  <a:pt x="7" y="0"/>
                  <a:pt x="4" y="0"/>
                </a:cubicBez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5"/>
                  <a:pt x="2" y="17"/>
                  <a:pt x="4" y="17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6" name="Freeform 436">
            <a:extLst>
              <a:ext uri="{FF2B5EF4-FFF2-40B4-BE49-F238E27FC236}">
                <a16:creationId xmlns:a16="http://schemas.microsoft.com/office/drawing/2014/main" id="{226639A0-3112-4F9E-8387-8379730944C5}"/>
              </a:ext>
            </a:extLst>
          </p:cNvPr>
          <p:cNvSpPr>
            <a:spLocks/>
          </p:cNvSpPr>
          <p:nvPr/>
        </p:nvSpPr>
        <p:spPr bwMode="auto">
          <a:xfrm>
            <a:off x="8832257" y="5711815"/>
            <a:ext cx="5009" cy="8766"/>
          </a:xfrm>
          <a:custGeom>
            <a:avLst/>
            <a:gdLst>
              <a:gd name="T0" fmla="*/ 0 w 9"/>
              <a:gd name="T1" fmla="*/ 13 h 17"/>
              <a:gd name="T2" fmla="*/ 4 w 9"/>
              <a:gd name="T3" fmla="*/ 17 h 17"/>
              <a:gd name="T4" fmla="*/ 9 w 9"/>
              <a:gd name="T5" fmla="*/ 13 h 17"/>
              <a:gd name="T6" fmla="*/ 9 w 9"/>
              <a:gd name="T7" fmla="*/ 4 h 17"/>
              <a:gd name="T8" fmla="*/ 4 w 9"/>
              <a:gd name="T9" fmla="*/ 0 h 17"/>
              <a:gd name="T10" fmla="*/ 0 w 9"/>
              <a:gd name="T11" fmla="*/ 4 h 17"/>
              <a:gd name="T12" fmla="*/ 0 w 9"/>
              <a:gd name="T13" fmla="*/ 13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" h="17">
                <a:moveTo>
                  <a:pt x="0" y="13"/>
                </a:moveTo>
                <a:cubicBezTo>
                  <a:pt x="0" y="15"/>
                  <a:pt x="2" y="17"/>
                  <a:pt x="4" y="17"/>
                </a:cubicBezTo>
                <a:cubicBezTo>
                  <a:pt x="7" y="17"/>
                  <a:pt x="9" y="15"/>
                  <a:pt x="9" y="13"/>
                </a:cubicBezTo>
                <a:cubicBezTo>
                  <a:pt x="9" y="4"/>
                  <a:pt x="9" y="4"/>
                  <a:pt x="9" y="4"/>
                </a:cubicBezTo>
                <a:cubicBezTo>
                  <a:pt x="9" y="2"/>
                  <a:pt x="7" y="0"/>
                  <a:pt x="4" y="0"/>
                </a:cubicBezTo>
                <a:cubicBezTo>
                  <a:pt x="2" y="0"/>
                  <a:pt x="0" y="2"/>
                  <a:pt x="0" y="4"/>
                </a:cubicBezTo>
                <a:lnTo>
                  <a:pt x="0" y="13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7" name="Freeform 437">
            <a:extLst>
              <a:ext uri="{FF2B5EF4-FFF2-40B4-BE49-F238E27FC236}">
                <a16:creationId xmlns:a16="http://schemas.microsoft.com/office/drawing/2014/main" id="{0E45C5FB-5168-4D0F-B07B-6B48D73EB831}"/>
              </a:ext>
            </a:extLst>
          </p:cNvPr>
          <p:cNvSpPr>
            <a:spLocks/>
          </p:cNvSpPr>
          <p:nvPr/>
        </p:nvSpPr>
        <p:spPr bwMode="auto">
          <a:xfrm>
            <a:off x="8690754" y="5728095"/>
            <a:ext cx="161539" cy="133989"/>
          </a:xfrm>
          <a:custGeom>
            <a:avLst/>
            <a:gdLst>
              <a:gd name="T0" fmla="*/ 47 w 309"/>
              <a:gd name="T1" fmla="*/ 256 h 259"/>
              <a:gd name="T2" fmla="*/ 276 w 309"/>
              <a:gd name="T3" fmla="*/ 0 h 259"/>
              <a:gd name="T4" fmla="*/ 250 w 309"/>
              <a:gd name="T5" fmla="*/ 0 h 259"/>
              <a:gd name="T6" fmla="*/ 59 w 309"/>
              <a:gd name="T7" fmla="*/ 179 h 259"/>
              <a:gd name="T8" fmla="*/ 47 w 309"/>
              <a:gd name="T9" fmla="*/ 256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9" h="259">
                <a:moveTo>
                  <a:pt x="47" y="256"/>
                </a:moveTo>
                <a:cubicBezTo>
                  <a:pt x="198" y="248"/>
                  <a:pt x="309" y="219"/>
                  <a:pt x="276" y="0"/>
                </a:cubicBezTo>
                <a:cubicBezTo>
                  <a:pt x="250" y="0"/>
                  <a:pt x="250" y="0"/>
                  <a:pt x="250" y="0"/>
                </a:cubicBezTo>
                <a:cubicBezTo>
                  <a:pt x="254" y="157"/>
                  <a:pt x="194" y="179"/>
                  <a:pt x="59" y="179"/>
                </a:cubicBezTo>
                <a:cubicBezTo>
                  <a:pt x="17" y="179"/>
                  <a:pt x="0" y="259"/>
                  <a:pt x="47" y="25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8" name="Rectangle 438">
            <a:extLst>
              <a:ext uri="{FF2B5EF4-FFF2-40B4-BE49-F238E27FC236}">
                <a16:creationId xmlns:a16="http://schemas.microsoft.com/office/drawing/2014/main" id="{57EC54B4-4488-4160-B85A-371F2BCB84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21524" y="5688023"/>
            <a:ext cx="574776" cy="33811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9" name="Freeform 439">
            <a:extLst>
              <a:ext uri="{FF2B5EF4-FFF2-40B4-BE49-F238E27FC236}">
                <a16:creationId xmlns:a16="http://schemas.microsoft.com/office/drawing/2014/main" id="{B8F1C953-374A-49C1-A86B-B858B8B47DAB}"/>
              </a:ext>
            </a:extLst>
          </p:cNvPr>
          <p:cNvSpPr>
            <a:spLocks/>
          </p:cNvSpPr>
          <p:nvPr/>
        </p:nvSpPr>
        <p:spPr bwMode="auto">
          <a:xfrm>
            <a:off x="8996299" y="5688023"/>
            <a:ext cx="182826" cy="33811"/>
          </a:xfrm>
          <a:custGeom>
            <a:avLst/>
            <a:gdLst>
              <a:gd name="T0" fmla="*/ 0 w 146"/>
              <a:gd name="T1" fmla="*/ 0 h 27"/>
              <a:gd name="T2" fmla="*/ 146 w 146"/>
              <a:gd name="T3" fmla="*/ 13 h 27"/>
              <a:gd name="T4" fmla="*/ 0 w 146"/>
              <a:gd name="T5" fmla="*/ 27 h 27"/>
              <a:gd name="T6" fmla="*/ 0 w 146"/>
              <a:gd name="T7" fmla="*/ 0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6" h="27">
                <a:moveTo>
                  <a:pt x="0" y="0"/>
                </a:moveTo>
                <a:lnTo>
                  <a:pt x="146" y="13"/>
                </a:lnTo>
                <a:lnTo>
                  <a:pt x="0" y="27"/>
                </a:lnTo>
                <a:lnTo>
                  <a:pt x="0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0" name="Freeform 440">
            <a:extLst>
              <a:ext uri="{FF2B5EF4-FFF2-40B4-BE49-F238E27FC236}">
                <a16:creationId xmlns:a16="http://schemas.microsoft.com/office/drawing/2014/main" id="{F0147B03-3953-49B6-8679-F3CF49B8F0EF}"/>
              </a:ext>
            </a:extLst>
          </p:cNvPr>
          <p:cNvSpPr>
            <a:spLocks/>
          </p:cNvSpPr>
          <p:nvPr/>
        </p:nvSpPr>
        <p:spPr bwMode="auto">
          <a:xfrm>
            <a:off x="8409002" y="5286056"/>
            <a:ext cx="430768" cy="430768"/>
          </a:xfrm>
          <a:custGeom>
            <a:avLst/>
            <a:gdLst>
              <a:gd name="T0" fmla="*/ 344 w 344"/>
              <a:gd name="T1" fmla="*/ 19 h 344"/>
              <a:gd name="T2" fmla="*/ 20 w 344"/>
              <a:gd name="T3" fmla="*/ 344 h 344"/>
              <a:gd name="T4" fmla="*/ 0 w 344"/>
              <a:gd name="T5" fmla="*/ 324 h 344"/>
              <a:gd name="T6" fmla="*/ 325 w 344"/>
              <a:gd name="T7" fmla="*/ 0 h 344"/>
              <a:gd name="T8" fmla="*/ 344 w 344"/>
              <a:gd name="T9" fmla="*/ 19 h 3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4" h="344">
                <a:moveTo>
                  <a:pt x="344" y="19"/>
                </a:moveTo>
                <a:lnTo>
                  <a:pt x="20" y="344"/>
                </a:lnTo>
                <a:lnTo>
                  <a:pt x="0" y="324"/>
                </a:lnTo>
                <a:lnTo>
                  <a:pt x="325" y="0"/>
                </a:lnTo>
                <a:lnTo>
                  <a:pt x="344" y="19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1" name="Freeform 441">
            <a:extLst>
              <a:ext uri="{FF2B5EF4-FFF2-40B4-BE49-F238E27FC236}">
                <a16:creationId xmlns:a16="http://schemas.microsoft.com/office/drawing/2014/main" id="{03A448E8-D733-4B53-BDD5-3DB81EB56B0A}"/>
              </a:ext>
            </a:extLst>
          </p:cNvPr>
          <p:cNvSpPr>
            <a:spLocks/>
          </p:cNvSpPr>
          <p:nvPr/>
        </p:nvSpPr>
        <p:spPr bwMode="auto">
          <a:xfrm>
            <a:off x="8815977" y="5168346"/>
            <a:ext cx="141503" cy="141503"/>
          </a:xfrm>
          <a:custGeom>
            <a:avLst/>
            <a:gdLst>
              <a:gd name="T0" fmla="*/ 0 w 113"/>
              <a:gd name="T1" fmla="*/ 94 h 113"/>
              <a:gd name="T2" fmla="*/ 113 w 113"/>
              <a:gd name="T3" fmla="*/ 0 h 113"/>
              <a:gd name="T4" fmla="*/ 19 w 113"/>
              <a:gd name="T5" fmla="*/ 113 h 113"/>
              <a:gd name="T6" fmla="*/ 0 w 113"/>
              <a:gd name="T7" fmla="*/ 94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13" h="113">
                <a:moveTo>
                  <a:pt x="0" y="94"/>
                </a:moveTo>
                <a:lnTo>
                  <a:pt x="113" y="0"/>
                </a:lnTo>
                <a:lnTo>
                  <a:pt x="19" y="113"/>
                </a:lnTo>
                <a:lnTo>
                  <a:pt x="0" y="9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2" name="Freeform 442">
            <a:extLst>
              <a:ext uri="{FF2B5EF4-FFF2-40B4-BE49-F238E27FC236}">
                <a16:creationId xmlns:a16="http://schemas.microsoft.com/office/drawing/2014/main" id="{FF516EE2-72BC-4DEE-BD85-5FD406D49578}"/>
              </a:ext>
            </a:extLst>
          </p:cNvPr>
          <p:cNvSpPr>
            <a:spLocks/>
          </p:cNvSpPr>
          <p:nvPr/>
        </p:nvSpPr>
        <p:spPr bwMode="auto">
          <a:xfrm>
            <a:off x="8537981" y="5354929"/>
            <a:ext cx="277996" cy="366905"/>
          </a:xfrm>
          <a:custGeom>
            <a:avLst/>
            <a:gdLst>
              <a:gd name="T0" fmla="*/ 67 w 533"/>
              <a:gd name="T1" fmla="*/ 0 h 707"/>
              <a:gd name="T2" fmla="*/ 533 w 533"/>
              <a:gd name="T3" fmla="*/ 707 h 707"/>
              <a:gd name="T4" fmla="*/ 363 w 533"/>
              <a:gd name="T5" fmla="*/ 705 h 707"/>
              <a:gd name="T6" fmla="*/ 0 w 533"/>
              <a:gd name="T7" fmla="*/ 156 h 707"/>
              <a:gd name="T8" fmla="*/ 67 w 533"/>
              <a:gd name="T9" fmla="*/ 0 h 7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3" h="707">
                <a:moveTo>
                  <a:pt x="67" y="0"/>
                </a:moveTo>
                <a:cubicBezTo>
                  <a:pt x="340" y="117"/>
                  <a:pt x="532" y="391"/>
                  <a:pt x="533" y="707"/>
                </a:cubicBezTo>
                <a:cubicBezTo>
                  <a:pt x="363" y="705"/>
                  <a:pt x="363" y="705"/>
                  <a:pt x="363" y="705"/>
                </a:cubicBezTo>
                <a:cubicBezTo>
                  <a:pt x="362" y="459"/>
                  <a:pt x="213" y="247"/>
                  <a:pt x="0" y="156"/>
                </a:cubicBezTo>
                <a:lnTo>
                  <a:pt x="67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3" name="Oval 443">
            <a:extLst>
              <a:ext uri="{FF2B5EF4-FFF2-40B4-BE49-F238E27FC236}">
                <a16:creationId xmlns:a16="http://schemas.microsoft.com/office/drawing/2014/main" id="{44A4A4ED-796B-4E92-AAB8-F867057EBD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8912" y="5641690"/>
            <a:ext cx="125223" cy="125223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4" name="Oval 444">
            <a:extLst>
              <a:ext uri="{FF2B5EF4-FFF2-40B4-BE49-F238E27FC236}">
                <a16:creationId xmlns:a16="http://schemas.microsoft.com/office/drawing/2014/main" id="{52223E7C-7198-4212-91CB-7092903D78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0218" y="5672996"/>
            <a:ext cx="62612" cy="6261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5" name="Freeform 445">
            <a:extLst>
              <a:ext uri="{FF2B5EF4-FFF2-40B4-BE49-F238E27FC236}">
                <a16:creationId xmlns:a16="http://schemas.microsoft.com/office/drawing/2014/main" id="{0202E17D-2C37-4961-8794-539B9BF22945}"/>
              </a:ext>
            </a:extLst>
          </p:cNvPr>
          <p:cNvSpPr>
            <a:spLocks/>
          </p:cNvSpPr>
          <p:nvPr/>
        </p:nvSpPr>
        <p:spPr bwMode="auto">
          <a:xfrm>
            <a:off x="8763383" y="5699293"/>
            <a:ext cx="51342" cy="3757"/>
          </a:xfrm>
          <a:custGeom>
            <a:avLst/>
            <a:gdLst>
              <a:gd name="T0" fmla="*/ 41 w 41"/>
              <a:gd name="T1" fmla="*/ 3 h 3"/>
              <a:gd name="T2" fmla="*/ 0 w 41"/>
              <a:gd name="T3" fmla="*/ 3 h 3"/>
              <a:gd name="T4" fmla="*/ 0 w 41"/>
              <a:gd name="T5" fmla="*/ 0 h 3"/>
              <a:gd name="T6" fmla="*/ 41 w 41"/>
              <a:gd name="T7" fmla="*/ 0 h 3"/>
              <a:gd name="T8" fmla="*/ 41 w 41"/>
              <a:gd name="T9" fmla="*/ 3 h 3"/>
              <a:gd name="T10" fmla="*/ 41 w 41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" h="3">
                <a:moveTo>
                  <a:pt x="41" y="3"/>
                </a:moveTo>
                <a:lnTo>
                  <a:pt x="0" y="3"/>
                </a:lnTo>
                <a:lnTo>
                  <a:pt x="0" y="0"/>
                </a:lnTo>
                <a:lnTo>
                  <a:pt x="41" y="0"/>
                </a:lnTo>
                <a:lnTo>
                  <a:pt x="41" y="3"/>
                </a:lnTo>
                <a:lnTo>
                  <a:pt x="41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6" name="Freeform 446">
            <a:extLst>
              <a:ext uri="{FF2B5EF4-FFF2-40B4-BE49-F238E27FC236}">
                <a16:creationId xmlns:a16="http://schemas.microsoft.com/office/drawing/2014/main" id="{937BC641-BF4F-47B9-8FF8-6B11A739FA07}"/>
              </a:ext>
            </a:extLst>
          </p:cNvPr>
          <p:cNvSpPr>
            <a:spLocks/>
          </p:cNvSpPr>
          <p:nvPr/>
        </p:nvSpPr>
        <p:spPr bwMode="auto">
          <a:xfrm>
            <a:off x="8759627" y="5665483"/>
            <a:ext cx="52594" cy="8766"/>
          </a:xfrm>
          <a:custGeom>
            <a:avLst/>
            <a:gdLst>
              <a:gd name="T0" fmla="*/ 1 w 42"/>
              <a:gd name="T1" fmla="*/ 7 h 7"/>
              <a:gd name="T2" fmla="*/ 0 w 42"/>
              <a:gd name="T3" fmla="*/ 4 h 7"/>
              <a:gd name="T4" fmla="*/ 42 w 42"/>
              <a:gd name="T5" fmla="*/ 0 h 7"/>
              <a:gd name="T6" fmla="*/ 42 w 42"/>
              <a:gd name="T7" fmla="*/ 3 h 7"/>
              <a:gd name="T8" fmla="*/ 1 w 42"/>
              <a:gd name="T9" fmla="*/ 7 h 7"/>
              <a:gd name="T10" fmla="*/ 1 w 42"/>
              <a:gd name="T11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7">
                <a:moveTo>
                  <a:pt x="1" y="7"/>
                </a:moveTo>
                <a:lnTo>
                  <a:pt x="0" y="4"/>
                </a:lnTo>
                <a:lnTo>
                  <a:pt x="42" y="0"/>
                </a:lnTo>
                <a:lnTo>
                  <a:pt x="42" y="3"/>
                </a:lnTo>
                <a:lnTo>
                  <a:pt x="1" y="7"/>
                </a:lnTo>
                <a:lnTo>
                  <a:pt x="1" y="7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7" name="Freeform 447">
            <a:extLst>
              <a:ext uri="{FF2B5EF4-FFF2-40B4-BE49-F238E27FC236}">
                <a16:creationId xmlns:a16="http://schemas.microsoft.com/office/drawing/2014/main" id="{135C3FBC-56B4-45C7-A832-076C1BEEAB4D}"/>
              </a:ext>
            </a:extLst>
          </p:cNvPr>
          <p:cNvSpPr>
            <a:spLocks/>
          </p:cNvSpPr>
          <p:nvPr/>
        </p:nvSpPr>
        <p:spPr bwMode="auto">
          <a:xfrm>
            <a:off x="8754618" y="5631672"/>
            <a:ext cx="51342" cy="12522"/>
          </a:xfrm>
          <a:custGeom>
            <a:avLst/>
            <a:gdLst>
              <a:gd name="T0" fmla="*/ 0 w 41"/>
              <a:gd name="T1" fmla="*/ 10 h 10"/>
              <a:gd name="T2" fmla="*/ 0 w 41"/>
              <a:gd name="T3" fmla="*/ 8 h 10"/>
              <a:gd name="T4" fmla="*/ 41 w 41"/>
              <a:gd name="T5" fmla="*/ 0 h 10"/>
              <a:gd name="T6" fmla="*/ 41 w 41"/>
              <a:gd name="T7" fmla="*/ 3 h 10"/>
              <a:gd name="T8" fmla="*/ 0 w 41"/>
              <a:gd name="T9" fmla="*/ 10 h 10"/>
              <a:gd name="T10" fmla="*/ 0 w 41"/>
              <a:gd name="T11" fmla="*/ 1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" h="10">
                <a:moveTo>
                  <a:pt x="0" y="10"/>
                </a:moveTo>
                <a:lnTo>
                  <a:pt x="0" y="8"/>
                </a:lnTo>
                <a:lnTo>
                  <a:pt x="41" y="0"/>
                </a:lnTo>
                <a:lnTo>
                  <a:pt x="41" y="3"/>
                </a:lnTo>
                <a:lnTo>
                  <a:pt x="0" y="10"/>
                </a:lnTo>
                <a:lnTo>
                  <a:pt x="0" y="1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8" name="Freeform 448">
            <a:extLst>
              <a:ext uri="{FF2B5EF4-FFF2-40B4-BE49-F238E27FC236}">
                <a16:creationId xmlns:a16="http://schemas.microsoft.com/office/drawing/2014/main" id="{602F3786-9CBB-4773-8596-DF3F91A36CC2}"/>
              </a:ext>
            </a:extLst>
          </p:cNvPr>
          <p:cNvSpPr>
            <a:spLocks/>
          </p:cNvSpPr>
          <p:nvPr/>
        </p:nvSpPr>
        <p:spPr bwMode="auto">
          <a:xfrm>
            <a:off x="8745852" y="5599114"/>
            <a:ext cx="51342" cy="16279"/>
          </a:xfrm>
          <a:custGeom>
            <a:avLst/>
            <a:gdLst>
              <a:gd name="T0" fmla="*/ 1 w 41"/>
              <a:gd name="T1" fmla="*/ 13 h 13"/>
              <a:gd name="T2" fmla="*/ 0 w 41"/>
              <a:gd name="T3" fmla="*/ 11 h 13"/>
              <a:gd name="T4" fmla="*/ 41 w 41"/>
              <a:gd name="T5" fmla="*/ 0 h 13"/>
              <a:gd name="T6" fmla="*/ 41 w 41"/>
              <a:gd name="T7" fmla="*/ 2 h 13"/>
              <a:gd name="T8" fmla="*/ 1 w 41"/>
              <a:gd name="T9" fmla="*/ 13 h 13"/>
              <a:gd name="T10" fmla="*/ 1 w 41"/>
              <a:gd name="T11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" h="13">
                <a:moveTo>
                  <a:pt x="1" y="13"/>
                </a:moveTo>
                <a:lnTo>
                  <a:pt x="0" y="11"/>
                </a:lnTo>
                <a:lnTo>
                  <a:pt x="41" y="0"/>
                </a:lnTo>
                <a:lnTo>
                  <a:pt x="41" y="2"/>
                </a:lnTo>
                <a:lnTo>
                  <a:pt x="1" y="13"/>
                </a:lnTo>
                <a:lnTo>
                  <a:pt x="1" y="1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9" name="Freeform 449">
            <a:extLst>
              <a:ext uri="{FF2B5EF4-FFF2-40B4-BE49-F238E27FC236}">
                <a16:creationId xmlns:a16="http://schemas.microsoft.com/office/drawing/2014/main" id="{A7C06B74-9111-4886-A4B9-2ECA3C306A63}"/>
              </a:ext>
            </a:extLst>
          </p:cNvPr>
          <p:cNvSpPr>
            <a:spLocks/>
          </p:cNvSpPr>
          <p:nvPr/>
        </p:nvSpPr>
        <p:spPr bwMode="auto">
          <a:xfrm>
            <a:off x="8735834" y="5566556"/>
            <a:ext cx="50089" cy="21288"/>
          </a:xfrm>
          <a:custGeom>
            <a:avLst/>
            <a:gdLst>
              <a:gd name="T0" fmla="*/ 1 w 40"/>
              <a:gd name="T1" fmla="*/ 17 h 17"/>
              <a:gd name="T2" fmla="*/ 0 w 40"/>
              <a:gd name="T3" fmla="*/ 14 h 17"/>
              <a:gd name="T4" fmla="*/ 39 w 40"/>
              <a:gd name="T5" fmla="*/ 0 h 17"/>
              <a:gd name="T6" fmla="*/ 40 w 40"/>
              <a:gd name="T7" fmla="*/ 3 h 17"/>
              <a:gd name="T8" fmla="*/ 1 w 40"/>
              <a:gd name="T9" fmla="*/ 17 h 17"/>
              <a:gd name="T10" fmla="*/ 1 w 40"/>
              <a:gd name="T11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0" h="17">
                <a:moveTo>
                  <a:pt x="1" y="17"/>
                </a:moveTo>
                <a:lnTo>
                  <a:pt x="0" y="14"/>
                </a:lnTo>
                <a:lnTo>
                  <a:pt x="39" y="0"/>
                </a:lnTo>
                <a:lnTo>
                  <a:pt x="40" y="3"/>
                </a:lnTo>
                <a:lnTo>
                  <a:pt x="1" y="17"/>
                </a:lnTo>
                <a:lnTo>
                  <a:pt x="1" y="17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0" name="Freeform 450">
            <a:extLst>
              <a:ext uri="{FF2B5EF4-FFF2-40B4-BE49-F238E27FC236}">
                <a16:creationId xmlns:a16="http://schemas.microsoft.com/office/drawing/2014/main" id="{7250D8D0-AE4E-4D32-8934-06069FFD6D4A}"/>
              </a:ext>
            </a:extLst>
          </p:cNvPr>
          <p:cNvSpPr>
            <a:spLocks/>
          </p:cNvSpPr>
          <p:nvPr/>
        </p:nvSpPr>
        <p:spPr bwMode="auto">
          <a:xfrm>
            <a:off x="8723312" y="5535251"/>
            <a:ext cx="48838" cy="26297"/>
          </a:xfrm>
          <a:custGeom>
            <a:avLst/>
            <a:gdLst>
              <a:gd name="T0" fmla="*/ 1 w 39"/>
              <a:gd name="T1" fmla="*/ 21 h 21"/>
              <a:gd name="T2" fmla="*/ 0 w 39"/>
              <a:gd name="T3" fmla="*/ 18 h 21"/>
              <a:gd name="T4" fmla="*/ 37 w 39"/>
              <a:gd name="T5" fmla="*/ 0 h 21"/>
              <a:gd name="T6" fmla="*/ 39 w 39"/>
              <a:gd name="T7" fmla="*/ 3 h 21"/>
              <a:gd name="T8" fmla="*/ 1 w 39"/>
              <a:gd name="T9" fmla="*/ 21 h 21"/>
              <a:gd name="T10" fmla="*/ 1 w 39"/>
              <a:gd name="T11" fmla="*/ 2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9" h="21">
                <a:moveTo>
                  <a:pt x="1" y="21"/>
                </a:moveTo>
                <a:lnTo>
                  <a:pt x="0" y="18"/>
                </a:lnTo>
                <a:lnTo>
                  <a:pt x="37" y="0"/>
                </a:lnTo>
                <a:lnTo>
                  <a:pt x="39" y="3"/>
                </a:lnTo>
                <a:lnTo>
                  <a:pt x="1" y="21"/>
                </a:lnTo>
                <a:lnTo>
                  <a:pt x="1" y="21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1" name="Freeform 451">
            <a:extLst>
              <a:ext uri="{FF2B5EF4-FFF2-40B4-BE49-F238E27FC236}">
                <a16:creationId xmlns:a16="http://schemas.microsoft.com/office/drawing/2014/main" id="{8C30287A-782F-48C7-96CB-8DD27E121549}"/>
              </a:ext>
            </a:extLst>
          </p:cNvPr>
          <p:cNvSpPr>
            <a:spLocks/>
          </p:cNvSpPr>
          <p:nvPr/>
        </p:nvSpPr>
        <p:spPr bwMode="auto">
          <a:xfrm>
            <a:off x="8707033" y="5506449"/>
            <a:ext cx="47585" cy="28802"/>
          </a:xfrm>
          <a:custGeom>
            <a:avLst/>
            <a:gdLst>
              <a:gd name="T0" fmla="*/ 2 w 38"/>
              <a:gd name="T1" fmla="*/ 23 h 23"/>
              <a:gd name="T2" fmla="*/ 0 w 38"/>
              <a:gd name="T3" fmla="*/ 20 h 23"/>
              <a:gd name="T4" fmla="*/ 37 w 38"/>
              <a:gd name="T5" fmla="*/ 0 h 23"/>
              <a:gd name="T6" fmla="*/ 38 w 38"/>
              <a:gd name="T7" fmla="*/ 2 h 23"/>
              <a:gd name="T8" fmla="*/ 2 w 38"/>
              <a:gd name="T9" fmla="*/ 23 h 23"/>
              <a:gd name="T10" fmla="*/ 2 w 38"/>
              <a:gd name="T11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" h="23">
                <a:moveTo>
                  <a:pt x="2" y="23"/>
                </a:moveTo>
                <a:lnTo>
                  <a:pt x="0" y="20"/>
                </a:lnTo>
                <a:lnTo>
                  <a:pt x="37" y="0"/>
                </a:lnTo>
                <a:lnTo>
                  <a:pt x="38" y="2"/>
                </a:lnTo>
                <a:lnTo>
                  <a:pt x="2" y="23"/>
                </a:lnTo>
                <a:lnTo>
                  <a:pt x="2" y="2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2" name="Freeform 452">
            <a:extLst>
              <a:ext uri="{FF2B5EF4-FFF2-40B4-BE49-F238E27FC236}">
                <a16:creationId xmlns:a16="http://schemas.microsoft.com/office/drawing/2014/main" id="{E9C54517-3239-41C8-8248-BD7FC0432524}"/>
              </a:ext>
            </a:extLst>
          </p:cNvPr>
          <p:cNvSpPr>
            <a:spLocks/>
          </p:cNvSpPr>
          <p:nvPr/>
        </p:nvSpPr>
        <p:spPr bwMode="auto">
          <a:xfrm>
            <a:off x="8690754" y="5477648"/>
            <a:ext cx="43829" cy="32558"/>
          </a:xfrm>
          <a:custGeom>
            <a:avLst/>
            <a:gdLst>
              <a:gd name="T0" fmla="*/ 1 w 35"/>
              <a:gd name="T1" fmla="*/ 26 h 26"/>
              <a:gd name="T2" fmla="*/ 0 w 35"/>
              <a:gd name="T3" fmla="*/ 24 h 26"/>
              <a:gd name="T4" fmla="*/ 34 w 35"/>
              <a:gd name="T5" fmla="*/ 0 h 26"/>
              <a:gd name="T6" fmla="*/ 35 w 35"/>
              <a:gd name="T7" fmla="*/ 2 h 26"/>
              <a:gd name="T8" fmla="*/ 1 w 35"/>
              <a:gd name="T9" fmla="*/ 26 h 26"/>
              <a:gd name="T10" fmla="*/ 1 w 35"/>
              <a:gd name="T11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5" h="26">
                <a:moveTo>
                  <a:pt x="1" y="26"/>
                </a:moveTo>
                <a:lnTo>
                  <a:pt x="0" y="24"/>
                </a:lnTo>
                <a:lnTo>
                  <a:pt x="34" y="0"/>
                </a:lnTo>
                <a:lnTo>
                  <a:pt x="35" y="2"/>
                </a:lnTo>
                <a:lnTo>
                  <a:pt x="1" y="26"/>
                </a:lnTo>
                <a:lnTo>
                  <a:pt x="1" y="26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3" name="Freeform 453">
            <a:extLst>
              <a:ext uri="{FF2B5EF4-FFF2-40B4-BE49-F238E27FC236}">
                <a16:creationId xmlns:a16="http://schemas.microsoft.com/office/drawing/2014/main" id="{37ED6526-3B33-4FE7-90DB-B5FBACF9A0FC}"/>
              </a:ext>
            </a:extLst>
          </p:cNvPr>
          <p:cNvSpPr>
            <a:spLocks/>
          </p:cNvSpPr>
          <p:nvPr/>
        </p:nvSpPr>
        <p:spPr bwMode="auto">
          <a:xfrm>
            <a:off x="8670718" y="5451351"/>
            <a:ext cx="42576" cy="36315"/>
          </a:xfrm>
          <a:custGeom>
            <a:avLst/>
            <a:gdLst>
              <a:gd name="T0" fmla="*/ 2 w 34"/>
              <a:gd name="T1" fmla="*/ 29 h 29"/>
              <a:gd name="T2" fmla="*/ 0 w 34"/>
              <a:gd name="T3" fmla="*/ 27 h 29"/>
              <a:gd name="T4" fmla="*/ 32 w 34"/>
              <a:gd name="T5" fmla="*/ 0 h 29"/>
              <a:gd name="T6" fmla="*/ 34 w 34"/>
              <a:gd name="T7" fmla="*/ 2 h 29"/>
              <a:gd name="T8" fmla="*/ 2 w 34"/>
              <a:gd name="T9" fmla="*/ 29 h 29"/>
              <a:gd name="T10" fmla="*/ 2 w 34"/>
              <a:gd name="T11" fmla="*/ 2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4" h="29">
                <a:moveTo>
                  <a:pt x="2" y="29"/>
                </a:moveTo>
                <a:lnTo>
                  <a:pt x="0" y="27"/>
                </a:lnTo>
                <a:lnTo>
                  <a:pt x="32" y="0"/>
                </a:lnTo>
                <a:lnTo>
                  <a:pt x="34" y="2"/>
                </a:lnTo>
                <a:lnTo>
                  <a:pt x="2" y="29"/>
                </a:lnTo>
                <a:lnTo>
                  <a:pt x="2" y="29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4" name="Freeform 454">
            <a:extLst>
              <a:ext uri="{FF2B5EF4-FFF2-40B4-BE49-F238E27FC236}">
                <a16:creationId xmlns:a16="http://schemas.microsoft.com/office/drawing/2014/main" id="{BA78504F-8305-4AA8-8DBD-521B457E3CE0}"/>
              </a:ext>
            </a:extLst>
          </p:cNvPr>
          <p:cNvSpPr>
            <a:spLocks/>
          </p:cNvSpPr>
          <p:nvPr/>
        </p:nvSpPr>
        <p:spPr bwMode="auto">
          <a:xfrm>
            <a:off x="8649430" y="5427559"/>
            <a:ext cx="40071" cy="38820"/>
          </a:xfrm>
          <a:custGeom>
            <a:avLst/>
            <a:gdLst>
              <a:gd name="T0" fmla="*/ 2 w 32"/>
              <a:gd name="T1" fmla="*/ 31 h 31"/>
              <a:gd name="T2" fmla="*/ 0 w 32"/>
              <a:gd name="T3" fmla="*/ 29 h 31"/>
              <a:gd name="T4" fmla="*/ 30 w 32"/>
              <a:gd name="T5" fmla="*/ 0 h 31"/>
              <a:gd name="T6" fmla="*/ 32 w 32"/>
              <a:gd name="T7" fmla="*/ 2 h 31"/>
              <a:gd name="T8" fmla="*/ 2 w 32"/>
              <a:gd name="T9" fmla="*/ 31 h 31"/>
              <a:gd name="T10" fmla="*/ 2 w 32"/>
              <a:gd name="T11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2" h="31">
                <a:moveTo>
                  <a:pt x="2" y="31"/>
                </a:moveTo>
                <a:lnTo>
                  <a:pt x="0" y="29"/>
                </a:lnTo>
                <a:lnTo>
                  <a:pt x="30" y="0"/>
                </a:lnTo>
                <a:lnTo>
                  <a:pt x="32" y="2"/>
                </a:lnTo>
                <a:lnTo>
                  <a:pt x="2" y="31"/>
                </a:lnTo>
                <a:lnTo>
                  <a:pt x="2" y="31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5" name="Freeform 455">
            <a:extLst>
              <a:ext uri="{FF2B5EF4-FFF2-40B4-BE49-F238E27FC236}">
                <a16:creationId xmlns:a16="http://schemas.microsoft.com/office/drawing/2014/main" id="{E97DCE2D-0C97-41C9-8693-E09F5396B1DA}"/>
              </a:ext>
            </a:extLst>
          </p:cNvPr>
          <p:cNvSpPr>
            <a:spLocks/>
          </p:cNvSpPr>
          <p:nvPr/>
        </p:nvSpPr>
        <p:spPr bwMode="auto">
          <a:xfrm>
            <a:off x="8625638" y="5405018"/>
            <a:ext cx="37567" cy="42576"/>
          </a:xfrm>
          <a:custGeom>
            <a:avLst/>
            <a:gdLst>
              <a:gd name="T0" fmla="*/ 3 w 30"/>
              <a:gd name="T1" fmla="*/ 34 h 34"/>
              <a:gd name="T2" fmla="*/ 0 w 30"/>
              <a:gd name="T3" fmla="*/ 32 h 34"/>
              <a:gd name="T4" fmla="*/ 27 w 30"/>
              <a:gd name="T5" fmla="*/ 0 h 34"/>
              <a:gd name="T6" fmla="*/ 30 w 30"/>
              <a:gd name="T7" fmla="*/ 2 h 34"/>
              <a:gd name="T8" fmla="*/ 3 w 30"/>
              <a:gd name="T9" fmla="*/ 34 h 34"/>
              <a:gd name="T10" fmla="*/ 3 w 30"/>
              <a:gd name="T11" fmla="*/ 34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0" h="34">
                <a:moveTo>
                  <a:pt x="3" y="34"/>
                </a:moveTo>
                <a:lnTo>
                  <a:pt x="0" y="32"/>
                </a:lnTo>
                <a:lnTo>
                  <a:pt x="27" y="0"/>
                </a:lnTo>
                <a:lnTo>
                  <a:pt x="30" y="2"/>
                </a:lnTo>
                <a:lnTo>
                  <a:pt x="3" y="34"/>
                </a:lnTo>
                <a:lnTo>
                  <a:pt x="3" y="3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6" name="Freeform 456">
            <a:extLst>
              <a:ext uri="{FF2B5EF4-FFF2-40B4-BE49-F238E27FC236}">
                <a16:creationId xmlns:a16="http://schemas.microsoft.com/office/drawing/2014/main" id="{0E3B343B-BA28-4DE0-A3C3-7DDD1AC5F94C}"/>
              </a:ext>
            </a:extLst>
          </p:cNvPr>
          <p:cNvSpPr>
            <a:spLocks/>
          </p:cNvSpPr>
          <p:nvPr/>
        </p:nvSpPr>
        <p:spPr bwMode="auto">
          <a:xfrm>
            <a:off x="8601846" y="5386235"/>
            <a:ext cx="32558" cy="43829"/>
          </a:xfrm>
          <a:custGeom>
            <a:avLst/>
            <a:gdLst>
              <a:gd name="T0" fmla="*/ 2 w 26"/>
              <a:gd name="T1" fmla="*/ 35 h 35"/>
              <a:gd name="T2" fmla="*/ 0 w 26"/>
              <a:gd name="T3" fmla="*/ 34 h 35"/>
              <a:gd name="T4" fmla="*/ 24 w 26"/>
              <a:gd name="T5" fmla="*/ 0 h 35"/>
              <a:gd name="T6" fmla="*/ 26 w 26"/>
              <a:gd name="T7" fmla="*/ 1 h 35"/>
              <a:gd name="T8" fmla="*/ 2 w 26"/>
              <a:gd name="T9" fmla="*/ 35 h 35"/>
              <a:gd name="T10" fmla="*/ 2 w 26"/>
              <a:gd name="T11" fmla="*/ 35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" h="35">
                <a:moveTo>
                  <a:pt x="2" y="35"/>
                </a:moveTo>
                <a:lnTo>
                  <a:pt x="0" y="34"/>
                </a:lnTo>
                <a:lnTo>
                  <a:pt x="24" y="0"/>
                </a:lnTo>
                <a:lnTo>
                  <a:pt x="26" y="1"/>
                </a:lnTo>
                <a:lnTo>
                  <a:pt x="2" y="35"/>
                </a:lnTo>
                <a:lnTo>
                  <a:pt x="2" y="35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7" name="Freeform 457">
            <a:extLst>
              <a:ext uri="{FF2B5EF4-FFF2-40B4-BE49-F238E27FC236}">
                <a16:creationId xmlns:a16="http://schemas.microsoft.com/office/drawing/2014/main" id="{6F4C5C03-2127-44C3-B017-820B622B527D}"/>
              </a:ext>
            </a:extLst>
          </p:cNvPr>
          <p:cNvSpPr>
            <a:spLocks/>
          </p:cNvSpPr>
          <p:nvPr/>
        </p:nvSpPr>
        <p:spPr bwMode="auto">
          <a:xfrm>
            <a:off x="8575548" y="5368703"/>
            <a:ext cx="28802" cy="47585"/>
          </a:xfrm>
          <a:custGeom>
            <a:avLst/>
            <a:gdLst>
              <a:gd name="T0" fmla="*/ 3 w 23"/>
              <a:gd name="T1" fmla="*/ 38 h 38"/>
              <a:gd name="T2" fmla="*/ 0 w 23"/>
              <a:gd name="T3" fmla="*/ 36 h 38"/>
              <a:gd name="T4" fmla="*/ 21 w 23"/>
              <a:gd name="T5" fmla="*/ 0 h 38"/>
              <a:gd name="T6" fmla="*/ 23 w 23"/>
              <a:gd name="T7" fmla="*/ 2 h 38"/>
              <a:gd name="T8" fmla="*/ 3 w 23"/>
              <a:gd name="T9" fmla="*/ 38 h 38"/>
              <a:gd name="T10" fmla="*/ 3 w 23"/>
              <a:gd name="T11" fmla="*/ 38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3" h="38">
                <a:moveTo>
                  <a:pt x="3" y="38"/>
                </a:moveTo>
                <a:lnTo>
                  <a:pt x="0" y="36"/>
                </a:lnTo>
                <a:lnTo>
                  <a:pt x="21" y="0"/>
                </a:lnTo>
                <a:lnTo>
                  <a:pt x="23" y="2"/>
                </a:lnTo>
                <a:lnTo>
                  <a:pt x="3" y="38"/>
                </a:lnTo>
                <a:lnTo>
                  <a:pt x="3" y="38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8" name="Freeform 458">
            <a:extLst>
              <a:ext uri="{FF2B5EF4-FFF2-40B4-BE49-F238E27FC236}">
                <a16:creationId xmlns:a16="http://schemas.microsoft.com/office/drawing/2014/main" id="{99065476-5935-4013-BBAB-20DE443C2267}"/>
              </a:ext>
            </a:extLst>
          </p:cNvPr>
          <p:cNvSpPr>
            <a:spLocks/>
          </p:cNvSpPr>
          <p:nvPr/>
        </p:nvSpPr>
        <p:spPr bwMode="auto">
          <a:xfrm>
            <a:off x="8505423" y="5718077"/>
            <a:ext cx="10018" cy="10018"/>
          </a:xfrm>
          <a:custGeom>
            <a:avLst/>
            <a:gdLst>
              <a:gd name="T0" fmla="*/ 2 w 20"/>
              <a:gd name="T1" fmla="*/ 18 h 20"/>
              <a:gd name="T2" fmla="*/ 2 w 20"/>
              <a:gd name="T3" fmla="*/ 12 h 20"/>
              <a:gd name="T4" fmla="*/ 12 w 20"/>
              <a:gd name="T5" fmla="*/ 1 h 20"/>
              <a:gd name="T6" fmla="*/ 19 w 20"/>
              <a:gd name="T7" fmla="*/ 1 h 20"/>
              <a:gd name="T8" fmla="*/ 19 w 20"/>
              <a:gd name="T9" fmla="*/ 1 h 20"/>
              <a:gd name="T10" fmla="*/ 19 w 20"/>
              <a:gd name="T11" fmla="*/ 8 h 20"/>
              <a:gd name="T12" fmla="*/ 8 w 20"/>
              <a:gd name="T13" fmla="*/ 18 h 20"/>
              <a:gd name="T14" fmla="*/ 2 w 20"/>
              <a:gd name="T15" fmla="*/ 18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" h="20">
                <a:moveTo>
                  <a:pt x="2" y="18"/>
                </a:moveTo>
                <a:cubicBezTo>
                  <a:pt x="0" y="16"/>
                  <a:pt x="0" y="13"/>
                  <a:pt x="2" y="12"/>
                </a:cubicBezTo>
                <a:cubicBezTo>
                  <a:pt x="12" y="1"/>
                  <a:pt x="12" y="1"/>
                  <a:pt x="12" y="1"/>
                </a:cubicBezTo>
                <a:cubicBezTo>
                  <a:pt x="14" y="0"/>
                  <a:pt x="17" y="0"/>
                  <a:pt x="19" y="1"/>
                </a:cubicBezTo>
                <a:cubicBezTo>
                  <a:pt x="19" y="1"/>
                  <a:pt x="19" y="1"/>
                  <a:pt x="19" y="1"/>
                </a:cubicBezTo>
                <a:cubicBezTo>
                  <a:pt x="20" y="3"/>
                  <a:pt x="20" y="6"/>
                  <a:pt x="19" y="8"/>
                </a:cubicBezTo>
                <a:cubicBezTo>
                  <a:pt x="8" y="18"/>
                  <a:pt x="8" y="18"/>
                  <a:pt x="8" y="18"/>
                </a:cubicBezTo>
                <a:cubicBezTo>
                  <a:pt x="7" y="20"/>
                  <a:pt x="4" y="20"/>
                  <a:pt x="2" y="18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9" name="Freeform 459">
            <a:extLst>
              <a:ext uri="{FF2B5EF4-FFF2-40B4-BE49-F238E27FC236}">
                <a16:creationId xmlns:a16="http://schemas.microsoft.com/office/drawing/2014/main" id="{83390F79-533B-4F4F-A869-D4D87BD19E9A}"/>
              </a:ext>
            </a:extLst>
          </p:cNvPr>
          <p:cNvSpPr>
            <a:spLocks/>
          </p:cNvSpPr>
          <p:nvPr/>
        </p:nvSpPr>
        <p:spPr bwMode="auto">
          <a:xfrm>
            <a:off x="8813473" y="5718077"/>
            <a:ext cx="10018" cy="10018"/>
          </a:xfrm>
          <a:custGeom>
            <a:avLst/>
            <a:gdLst>
              <a:gd name="T0" fmla="*/ 18 w 20"/>
              <a:gd name="T1" fmla="*/ 18 h 20"/>
              <a:gd name="T2" fmla="*/ 18 w 20"/>
              <a:gd name="T3" fmla="*/ 12 h 20"/>
              <a:gd name="T4" fmla="*/ 8 w 20"/>
              <a:gd name="T5" fmla="*/ 1 h 20"/>
              <a:gd name="T6" fmla="*/ 1 w 20"/>
              <a:gd name="T7" fmla="*/ 1 h 20"/>
              <a:gd name="T8" fmla="*/ 1 w 20"/>
              <a:gd name="T9" fmla="*/ 1 h 20"/>
              <a:gd name="T10" fmla="*/ 1 w 20"/>
              <a:gd name="T11" fmla="*/ 8 h 20"/>
              <a:gd name="T12" fmla="*/ 12 w 20"/>
              <a:gd name="T13" fmla="*/ 18 h 20"/>
              <a:gd name="T14" fmla="*/ 18 w 20"/>
              <a:gd name="T15" fmla="*/ 18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" h="20">
                <a:moveTo>
                  <a:pt x="18" y="18"/>
                </a:moveTo>
                <a:cubicBezTo>
                  <a:pt x="20" y="16"/>
                  <a:pt x="20" y="13"/>
                  <a:pt x="18" y="12"/>
                </a:cubicBezTo>
                <a:cubicBezTo>
                  <a:pt x="8" y="1"/>
                  <a:pt x="8" y="1"/>
                  <a:pt x="8" y="1"/>
                </a:cubicBezTo>
                <a:cubicBezTo>
                  <a:pt x="6" y="0"/>
                  <a:pt x="3" y="0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0" y="3"/>
                  <a:pt x="0" y="6"/>
                  <a:pt x="1" y="8"/>
                </a:cubicBezTo>
                <a:cubicBezTo>
                  <a:pt x="12" y="18"/>
                  <a:pt x="12" y="18"/>
                  <a:pt x="12" y="18"/>
                </a:cubicBezTo>
                <a:cubicBezTo>
                  <a:pt x="13" y="20"/>
                  <a:pt x="16" y="20"/>
                  <a:pt x="18" y="18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0" name="Freeform 460">
            <a:extLst>
              <a:ext uri="{FF2B5EF4-FFF2-40B4-BE49-F238E27FC236}">
                <a16:creationId xmlns:a16="http://schemas.microsoft.com/office/drawing/2014/main" id="{26F6567B-BC36-4577-9876-969FEB6AE53B}"/>
              </a:ext>
            </a:extLst>
          </p:cNvPr>
          <p:cNvSpPr>
            <a:spLocks/>
          </p:cNvSpPr>
          <p:nvPr/>
        </p:nvSpPr>
        <p:spPr bwMode="auto">
          <a:xfrm>
            <a:off x="8608106" y="5820760"/>
            <a:ext cx="137746" cy="348121"/>
          </a:xfrm>
          <a:custGeom>
            <a:avLst/>
            <a:gdLst>
              <a:gd name="T0" fmla="*/ 228 w 266"/>
              <a:gd name="T1" fmla="*/ 0 h 669"/>
              <a:gd name="T2" fmla="*/ 167 w 266"/>
              <a:gd name="T3" fmla="*/ 0 h 669"/>
              <a:gd name="T4" fmla="*/ 135 w 266"/>
              <a:gd name="T5" fmla="*/ 129 h 669"/>
              <a:gd name="T6" fmla="*/ 57 w 266"/>
              <a:gd name="T7" fmla="*/ 0 h 669"/>
              <a:gd name="T8" fmla="*/ 0 w 266"/>
              <a:gd name="T9" fmla="*/ 0 h 669"/>
              <a:gd name="T10" fmla="*/ 10 w 266"/>
              <a:gd name="T11" fmla="*/ 667 h 669"/>
              <a:gd name="T12" fmla="*/ 150 w 266"/>
              <a:gd name="T13" fmla="*/ 668 h 669"/>
              <a:gd name="T14" fmla="*/ 157 w 266"/>
              <a:gd name="T15" fmla="*/ 551 h 669"/>
              <a:gd name="T16" fmla="*/ 169 w 266"/>
              <a:gd name="T17" fmla="*/ 669 h 669"/>
              <a:gd name="T18" fmla="*/ 266 w 266"/>
              <a:gd name="T19" fmla="*/ 669 h 669"/>
              <a:gd name="T20" fmla="*/ 228 w 266"/>
              <a:gd name="T21" fmla="*/ 0 h 6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6" h="669">
                <a:moveTo>
                  <a:pt x="228" y="0"/>
                </a:moveTo>
                <a:cubicBezTo>
                  <a:pt x="220" y="0"/>
                  <a:pt x="197" y="0"/>
                  <a:pt x="167" y="0"/>
                </a:cubicBezTo>
                <a:cubicBezTo>
                  <a:pt x="135" y="129"/>
                  <a:pt x="135" y="129"/>
                  <a:pt x="135" y="129"/>
                </a:cubicBezTo>
                <a:cubicBezTo>
                  <a:pt x="57" y="0"/>
                  <a:pt x="57" y="0"/>
                  <a:pt x="57" y="0"/>
                </a:cubicBezTo>
                <a:cubicBezTo>
                  <a:pt x="27" y="0"/>
                  <a:pt x="4" y="0"/>
                  <a:pt x="0" y="0"/>
                </a:cubicBezTo>
                <a:cubicBezTo>
                  <a:pt x="15" y="89"/>
                  <a:pt x="10" y="667"/>
                  <a:pt x="10" y="667"/>
                </a:cubicBezTo>
                <a:cubicBezTo>
                  <a:pt x="150" y="668"/>
                  <a:pt x="150" y="668"/>
                  <a:pt x="150" y="668"/>
                </a:cubicBezTo>
                <a:cubicBezTo>
                  <a:pt x="157" y="551"/>
                  <a:pt x="157" y="551"/>
                  <a:pt x="157" y="551"/>
                </a:cubicBezTo>
                <a:cubicBezTo>
                  <a:pt x="169" y="669"/>
                  <a:pt x="169" y="669"/>
                  <a:pt x="169" y="669"/>
                </a:cubicBezTo>
                <a:cubicBezTo>
                  <a:pt x="266" y="669"/>
                  <a:pt x="266" y="669"/>
                  <a:pt x="266" y="669"/>
                </a:cubicBezTo>
                <a:cubicBezTo>
                  <a:pt x="261" y="532"/>
                  <a:pt x="241" y="58"/>
                  <a:pt x="22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1" name="Freeform 461">
            <a:extLst>
              <a:ext uri="{FF2B5EF4-FFF2-40B4-BE49-F238E27FC236}">
                <a16:creationId xmlns:a16="http://schemas.microsoft.com/office/drawing/2014/main" id="{0C3C8535-D674-4C5F-9E77-966831D42192}"/>
              </a:ext>
            </a:extLst>
          </p:cNvPr>
          <p:cNvSpPr>
            <a:spLocks/>
          </p:cNvSpPr>
          <p:nvPr/>
        </p:nvSpPr>
        <p:spPr bwMode="auto">
          <a:xfrm>
            <a:off x="8534225" y="6406805"/>
            <a:ext cx="62612" cy="95170"/>
          </a:xfrm>
          <a:custGeom>
            <a:avLst/>
            <a:gdLst>
              <a:gd name="T0" fmla="*/ 1 w 50"/>
              <a:gd name="T1" fmla="*/ 76 h 76"/>
              <a:gd name="T2" fmla="*/ 50 w 50"/>
              <a:gd name="T3" fmla="*/ 76 h 76"/>
              <a:gd name="T4" fmla="*/ 30 w 50"/>
              <a:gd name="T5" fmla="*/ 0 h 76"/>
              <a:gd name="T6" fmla="*/ 0 w 50"/>
              <a:gd name="T7" fmla="*/ 0 h 76"/>
              <a:gd name="T8" fmla="*/ 0 w 50"/>
              <a:gd name="T9" fmla="*/ 7 h 76"/>
              <a:gd name="T10" fmla="*/ 9 w 50"/>
              <a:gd name="T11" fmla="*/ 7 h 76"/>
              <a:gd name="T12" fmla="*/ 25 w 50"/>
              <a:gd name="T13" fmla="*/ 69 h 76"/>
              <a:gd name="T14" fmla="*/ 1 w 50"/>
              <a:gd name="T15" fmla="*/ 69 h 76"/>
              <a:gd name="T16" fmla="*/ 1 w 50"/>
              <a:gd name="T17" fmla="*/ 76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0" h="76">
                <a:moveTo>
                  <a:pt x="1" y="76"/>
                </a:moveTo>
                <a:lnTo>
                  <a:pt x="50" y="76"/>
                </a:lnTo>
                <a:lnTo>
                  <a:pt x="30" y="0"/>
                </a:lnTo>
                <a:lnTo>
                  <a:pt x="0" y="0"/>
                </a:lnTo>
                <a:lnTo>
                  <a:pt x="0" y="7"/>
                </a:lnTo>
                <a:lnTo>
                  <a:pt x="9" y="7"/>
                </a:lnTo>
                <a:lnTo>
                  <a:pt x="25" y="69"/>
                </a:lnTo>
                <a:lnTo>
                  <a:pt x="1" y="69"/>
                </a:lnTo>
                <a:lnTo>
                  <a:pt x="1" y="76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2" name="Rectangle 462">
            <a:extLst>
              <a:ext uri="{FF2B5EF4-FFF2-40B4-BE49-F238E27FC236}">
                <a16:creationId xmlns:a16="http://schemas.microsoft.com/office/drawing/2014/main" id="{54FF1407-3FD4-4172-AC97-ACA4E57A36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4136" y="6320401"/>
            <a:ext cx="118963" cy="154025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3" name="Freeform 463">
            <a:extLst>
              <a:ext uri="{FF2B5EF4-FFF2-40B4-BE49-F238E27FC236}">
                <a16:creationId xmlns:a16="http://schemas.microsoft.com/office/drawing/2014/main" id="{71668A8C-4812-4DE4-A22E-86ACBE325B53}"/>
              </a:ext>
            </a:extLst>
          </p:cNvPr>
          <p:cNvSpPr>
            <a:spLocks/>
          </p:cNvSpPr>
          <p:nvPr/>
        </p:nvSpPr>
        <p:spPr bwMode="auto">
          <a:xfrm>
            <a:off x="8603097" y="6320401"/>
            <a:ext cx="11270" cy="154025"/>
          </a:xfrm>
          <a:custGeom>
            <a:avLst/>
            <a:gdLst>
              <a:gd name="T0" fmla="*/ 9 w 9"/>
              <a:gd name="T1" fmla="*/ 119 h 123"/>
              <a:gd name="T2" fmla="*/ 0 w 9"/>
              <a:gd name="T3" fmla="*/ 123 h 123"/>
              <a:gd name="T4" fmla="*/ 0 w 9"/>
              <a:gd name="T5" fmla="*/ 0 h 123"/>
              <a:gd name="T6" fmla="*/ 9 w 9"/>
              <a:gd name="T7" fmla="*/ 3 h 123"/>
              <a:gd name="T8" fmla="*/ 9 w 9"/>
              <a:gd name="T9" fmla="*/ 119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123">
                <a:moveTo>
                  <a:pt x="9" y="119"/>
                </a:moveTo>
                <a:lnTo>
                  <a:pt x="0" y="123"/>
                </a:lnTo>
                <a:lnTo>
                  <a:pt x="0" y="0"/>
                </a:lnTo>
                <a:lnTo>
                  <a:pt x="9" y="3"/>
                </a:lnTo>
                <a:lnTo>
                  <a:pt x="9" y="119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4" name="Rectangle 464">
            <a:extLst>
              <a:ext uri="{FF2B5EF4-FFF2-40B4-BE49-F238E27FC236}">
                <a16:creationId xmlns:a16="http://schemas.microsoft.com/office/drawing/2014/main" id="{FF6D6639-7DD3-46A3-8D12-A090388E5F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97910" y="6335428"/>
            <a:ext cx="91413" cy="11896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5" name="Rectangle 465">
            <a:extLst>
              <a:ext uri="{FF2B5EF4-FFF2-40B4-BE49-F238E27FC236}">
                <a16:creationId xmlns:a16="http://schemas.microsoft.com/office/drawing/2014/main" id="{554CEDCE-FA43-49E4-8900-E244F41E4E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9180" y="6347950"/>
            <a:ext cx="68873" cy="626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6" name="Rectangle 466">
            <a:extLst>
              <a:ext uri="{FF2B5EF4-FFF2-40B4-BE49-F238E27FC236}">
                <a16:creationId xmlns:a16="http://schemas.microsoft.com/office/drawing/2014/main" id="{820943A4-23F8-4A90-8E40-BDDC86FF0E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42990" y="6361725"/>
            <a:ext cx="35063" cy="626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7" name="Rectangle 467">
            <a:extLst>
              <a:ext uri="{FF2B5EF4-FFF2-40B4-BE49-F238E27FC236}">
                <a16:creationId xmlns:a16="http://schemas.microsoft.com/office/drawing/2014/main" id="{5108196C-0D4F-48B2-9453-DEB67AE1D8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31721" y="6375499"/>
            <a:ext cx="46333" cy="626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8" name="Rectangle 468">
            <a:extLst>
              <a:ext uri="{FF2B5EF4-FFF2-40B4-BE49-F238E27FC236}">
                <a16:creationId xmlns:a16="http://schemas.microsoft.com/office/drawing/2014/main" id="{DE857FB8-1ADB-471A-A949-3BA18D0D2B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16694" y="6389274"/>
            <a:ext cx="61360" cy="626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9" name="Rectangle 469">
            <a:extLst>
              <a:ext uri="{FF2B5EF4-FFF2-40B4-BE49-F238E27FC236}">
                <a16:creationId xmlns:a16="http://schemas.microsoft.com/office/drawing/2014/main" id="{94EE8B27-EF31-4D75-993B-13ADD3525F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25459" y="6403048"/>
            <a:ext cx="52594" cy="626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0" name="Rectangle 470">
            <a:extLst>
              <a:ext uri="{FF2B5EF4-FFF2-40B4-BE49-F238E27FC236}">
                <a16:creationId xmlns:a16="http://schemas.microsoft.com/office/drawing/2014/main" id="{356BCA0A-26A1-42C7-83CF-BDF8F7EAF5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42990" y="6416823"/>
            <a:ext cx="35063" cy="626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1" name="Rectangle 471">
            <a:extLst>
              <a:ext uri="{FF2B5EF4-FFF2-40B4-BE49-F238E27FC236}">
                <a16:creationId xmlns:a16="http://schemas.microsoft.com/office/drawing/2014/main" id="{B50B939F-4E3D-4056-B2B8-4A12C2A1C5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11685" y="6430597"/>
            <a:ext cx="66369" cy="626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2" name="Freeform 472">
            <a:extLst>
              <a:ext uri="{FF2B5EF4-FFF2-40B4-BE49-F238E27FC236}">
                <a16:creationId xmlns:a16="http://schemas.microsoft.com/office/drawing/2014/main" id="{4A7D9840-9137-457A-B2F1-C8B998771DF8}"/>
              </a:ext>
            </a:extLst>
          </p:cNvPr>
          <p:cNvSpPr>
            <a:spLocks/>
          </p:cNvSpPr>
          <p:nvPr/>
        </p:nvSpPr>
        <p:spPr bwMode="auto">
          <a:xfrm>
            <a:off x="8377695" y="6406805"/>
            <a:ext cx="63864" cy="95170"/>
          </a:xfrm>
          <a:custGeom>
            <a:avLst/>
            <a:gdLst>
              <a:gd name="T0" fmla="*/ 2 w 51"/>
              <a:gd name="T1" fmla="*/ 76 h 76"/>
              <a:gd name="T2" fmla="*/ 51 w 51"/>
              <a:gd name="T3" fmla="*/ 76 h 76"/>
              <a:gd name="T4" fmla="*/ 31 w 51"/>
              <a:gd name="T5" fmla="*/ 0 h 76"/>
              <a:gd name="T6" fmla="*/ 0 w 51"/>
              <a:gd name="T7" fmla="*/ 0 h 76"/>
              <a:gd name="T8" fmla="*/ 0 w 51"/>
              <a:gd name="T9" fmla="*/ 7 h 76"/>
              <a:gd name="T10" fmla="*/ 10 w 51"/>
              <a:gd name="T11" fmla="*/ 7 h 76"/>
              <a:gd name="T12" fmla="*/ 25 w 51"/>
              <a:gd name="T13" fmla="*/ 69 h 76"/>
              <a:gd name="T14" fmla="*/ 2 w 51"/>
              <a:gd name="T15" fmla="*/ 69 h 76"/>
              <a:gd name="T16" fmla="*/ 2 w 51"/>
              <a:gd name="T17" fmla="*/ 76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1" h="76">
                <a:moveTo>
                  <a:pt x="2" y="76"/>
                </a:moveTo>
                <a:lnTo>
                  <a:pt x="51" y="76"/>
                </a:lnTo>
                <a:lnTo>
                  <a:pt x="31" y="0"/>
                </a:lnTo>
                <a:lnTo>
                  <a:pt x="0" y="0"/>
                </a:lnTo>
                <a:lnTo>
                  <a:pt x="0" y="7"/>
                </a:lnTo>
                <a:lnTo>
                  <a:pt x="10" y="7"/>
                </a:lnTo>
                <a:lnTo>
                  <a:pt x="25" y="69"/>
                </a:lnTo>
                <a:lnTo>
                  <a:pt x="2" y="69"/>
                </a:lnTo>
                <a:lnTo>
                  <a:pt x="2" y="76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3" name="Rectangle 473">
            <a:extLst>
              <a:ext uri="{FF2B5EF4-FFF2-40B4-BE49-F238E27FC236}">
                <a16:creationId xmlns:a16="http://schemas.microsoft.com/office/drawing/2014/main" id="{E36E04FB-BAAD-467A-9E2B-07CCB2CDA0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27606" y="6320401"/>
            <a:ext cx="120214" cy="154025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4" name="Freeform 474">
            <a:extLst>
              <a:ext uri="{FF2B5EF4-FFF2-40B4-BE49-F238E27FC236}">
                <a16:creationId xmlns:a16="http://schemas.microsoft.com/office/drawing/2014/main" id="{1AC51D34-89CF-41EC-8EAF-A279890608E5}"/>
              </a:ext>
            </a:extLst>
          </p:cNvPr>
          <p:cNvSpPr>
            <a:spLocks/>
          </p:cNvSpPr>
          <p:nvPr/>
        </p:nvSpPr>
        <p:spPr bwMode="auto">
          <a:xfrm>
            <a:off x="8447820" y="6320401"/>
            <a:ext cx="10018" cy="154025"/>
          </a:xfrm>
          <a:custGeom>
            <a:avLst/>
            <a:gdLst>
              <a:gd name="T0" fmla="*/ 8 w 8"/>
              <a:gd name="T1" fmla="*/ 119 h 123"/>
              <a:gd name="T2" fmla="*/ 0 w 8"/>
              <a:gd name="T3" fmla="*/ 123 h 123"/>
              <a:gd name="T4" fmla="*/ 0 w 8"/>
              <a:gd name="T5" fmla="*/ 0 h 123"/>
              <a:gd name="T6" fmla="*/ 8 w 8"/>
              <a:gd name="T7" fmla="*/ 3 h 123"/>
              <a:gd name="T8" fmla="*/ 8 w 8"/>
              <a:gd name="T9" fmla="*/ 119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123">
                <a:moveTo>
                  <a:pt x="8" y="119"/>
                </a:moveTo>
                <a:lnTo>
                  <a:pt x="0" y="123"/>
                </a:lnTo>
                <a:lnTo>
                  <a:pt x="0" y="0"/>
                </a:lnTo>
                <a:lnTo>
                  <a:pt x="8" y="3"/>
                </a:lnTo>
                <a:lnTo>
                  <a:pt x="8" y="119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5" name="Rectangle 475">
            <a:extLst>
              <a:ext uri="{FF2B5EF4-FFF2-40B4-BE49-F238E27FC236}">
                <a16:creationId xmlns:a16="http://schemas.microsoft.com/office/drawing/2014/main" id="{38FCE832-6265-4C3B-9744-B84FA9B40C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41381" y="6335428"/>
            <a:ext cx="91413" cy="11896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6" name="Oval 476">
            <a:extLst>
              <a:ext uri="{FF2B5EF4-FFF2-40B4-BE49-F238E27FC236}">
                <a16:creationId xmlns:a16="http://schemas.microsoft.com/office/drawing/2014/main" id="{F999F8D5-098C-4325-81DE-0C6CCE7700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1399" y="6431850"/>
            <a:ext cx="2504" cy="2504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7" name="Oval 477">
            <a:extLst>
              <a:ext uri="{FF2B5EF4-FFF2-40B4-BE49-F238E27FC236}">
                <a16:creationId xmlns:a16="http://schemas.microsoft.com/office/drawing/2014/main" id="{40C5C2B2-82D9-463B-A8EF-774B71A13B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61417" y="6429346"/>
            <a:ext cx="2504" cy="2504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8" name="Oval 478">
            <a:extLst>
              <a:ext uri="{FF2B5EF4-FFF2-40B4-BE49-F238E27FC236}">
                <a16:creationId xmlns:a16="http://schemas.microsoft.com/office/drawing/2014/main" id="{47B86B61-6AE7-4E46-A457-57B4603D66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2686" y="6424337"/>
            <a:ext cx="1253" cy="2504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9" name="Oval 479">
            <a:extLst>
              <a:ext uri="{FF2B5EF4-FFF2-40B4-BE49-F238E27FC236}">
                <a16:creationId xmlns:a16="http://schemas.microsoft.com/office/drawing/2014/main" id="{F80681FC-778E-40BA-92A0-FF19C96A3E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2704" y="6430597"/>
            <a:ext cx="1253" cy="1253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0" name="Oval 480">
            <a:extLst>
              <a:ext uri="{FF2B5EF4-FFF2-40B4-BE49-F238E27FC236}">
                <a16:creationId xmlns:a16="http://schemas.microsoft.com/office/drawing/2014/main" id="{AC6E4518-A476-41AB-8732-13DB1CD6A0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2722" y="6438111"/>
            <a:ext cx="2504" cy="2504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1" name="Oval 481">
            <a:extLst>
              <a:ext uri="{FF2B5EF4-FFF2-40B4-BE49-F238E27FC236}">
                <a16:creationId xmlns:a16="http://schemas.microsoft.com/office/drawing/2014/main" id="{A7EFB8B1-2849-4718-8E3A-DD9B570F30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2740" y="6428093"/>
            <a:ext cx="2504" cy="2504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2" name="Oval 482">
            <a:extLst>
              <a:ext uri="{FF2B5EF4-FFF2-40B4-BE49-F238E27FC236}">
                <a16:creationId xmlns:a16="http://schemas.microsoft.com/office/drawing/2014/main" id="{F3A485EE-79F1-401E-A350-E56E1AEBF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4011" y="6423084"/>
            <a:ext cx="1253" cy="2504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3" name="Freeform 483">
            <a:extLst>
              <a:ext uri="{FF2B5EF4-FFF2-40B4-BE49-F238E27FC236}">
                <a16:creationId xmlns:a16="http://schemas.microsoft.com/office/drawing/2014/main" id="{26A46E4A-4735-4F30-9863-AA9C3FED71E5}"/>
              </a:ext>
            </a:extLst>
          </p:cNvPr>
          <p:cNvSpPr>
            <a:spLocks/>
          </p:cNvSpPr>
          <p:nvPr/>
        </p:nvSpPr>
        <p:spPr bwMode="auto">
          <a:xfrm>
            <a:off x="8352651" y="6424337"/>
            <a:ext cx="62612" cy="15027"/>
          </a:xfrm>
          <a:custGeom>
            <a:avLst/>
            <a:gdLst>
              <a:gd name="T0" fmla="*/ 33 w 50"/>
              <a:gd name="T1" fmla="*/ 12 h 12"/>
              <a:gd name="T2" fmla="*/ 25 w 50"/>
              <a:gd name="T3" fmla="*/ 6 h 12"/>
              <a:gd name="T4" fmla="*/ 16 w 50"/>
              <a:gd name="T5" fmla="*/ 1 h 12"/>
              <a:gd name="T6" fmla="*/ 8 w 50"/>
              <a:gd name="T7" fmla="*/ 5 h 12"/>
              <a:gd name="T8" fmla="*/ 0 w 50"/>
              <a:gd name="T9" fmla="*/ 7 h 12"/>
              <a:gd name="T10" fmla="*/ 0 w 50"/>
              <a:gd name="T11" fmla="*/ 6 h 12"/>
              <a:gd name="T12" fmla="*/ 8 w 50"/>
              <a:gd name="T13" fmla="*/ 5 h 12"/>
              <a:gd name="T14" fmla="*/ 16 w 50"/>
              <a:gd name="T15" fmla="*/ 0 h 12"/>
              <a:gd name="T16" fmla="*/ 25 w 50"/>
              <a:gd name="T17" fmla="*/ 5 h 12"/>
              <a:gd name="T18" fmla="*/ 33 w 50"/>
              <a:gd name="T19" fmla="*/ 11 h 12"/>
              <a:gd name="T20" fmla="*/ 41 w 50"/>
              <a:gd name="T21" fmla="*/ 4 h 12"/>
              <a:gd name="T22" fmla="*/ 50 w 50"/>
              <a:gd name="T23" fmla="*/ 0 h 12"/>
              <a:gd name="T24" fmla="*/ 50 w 50"/>
              <a:gd name="T25" fmla="*/ 0 h 12"/>
              <a:gd name="T26" fmla="*/ 41 w 50"/>
              <a:gd name="T27" fmla="*/ 4 h 12"/>
              <a:gd name="T28" fmla="*/ 33 w 50"/>
              <a:gd name="T29" fmla="*/ 12 h 12"/>
              <a:gd name="T30" fmla="*/ 33 w 50"/>
              <a:gd name="T31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0" h="12">
                <a:moveTo>
                  <a:pt x="33" y="12"/>
                </a:moveTo>
                <a:lnTo>
                  <a:pt x="25" y="6"/>
                </a:lnTo>
                <a:lnTo>
                  <a:pt x="16" y="1"/>
                </a:lnTo>
                <a:lnTo>
                  <a:pt x="8" y="5"/>
                </a:lnTo>
                <a:lnTo>
                  <a:pt x="0" y="7"/>
                </a:lnTo>
                <a:lnTo>
                  <a:pt x="0" y="6"/>
                </a:lnTo>
                <a:lnTo>
                  <a:pt x="8" y="5"/>
                </a:lnTo>
                <a:lnTo>
                  <a:pt x="16" y="0"/>
                </a:lnTo>
                <a:lnTo>
                  <a:pt x="25" y="5"/>
                </a:lnTo>
                <a:lnTo>
                  <a:pt x="33" y="11"/>
                </a:lnTo>
                <a:lnTo>
                  <a:pt x="41" y="4"/>
                </a:lnTo>
                <a:lnTo>
                  <a:pt x="50" y="0"/>
                </a:lnTo>
                <a:lnTo>
                  <a:pt x="50" y="0"/>
                </a:lnTo>
                <a:lnTo>
                  <a:pt x="41" y="4"/>
                </a:lnTo>
                <a:lnTo>
                  <a:pt x="33" y="12"/>
                </a:lnTo>
                <a:lnTo>
                  <a:pt x="33" y="12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4" name="Oval 484">
            <a:extLst>
              <a:ext uri="{FF2B5EF4-FFF2-40B4-BE49-F238E27FC236}">
                <a16:creationId xmlns:a16="http://schemas.microsoft.com/office/drawing/2014/main" id="{CE1D08B0-6D1F-41CA-8AFF-B504BCA4FD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1399" y="6441868"/>
            <a:ext cx="2504" cy="1253"/>
          </a:xfrm>
          <a:prstGeom prst="ellipse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5" name="Oval 485">
            <a:extLst>
              <a:ext uri="{FF2B5EF4-FFF2-40B4-BE49-F238E27FC236}">
                <a16:creationId xmlns:a16="http://schemas.microsoft.com/office/drawing/2014/main" id="{6C52FF44-678F-4AFA-AB4B-99EF06815B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61417" y="6436859"/>
            <a:ext cx="2504" cy="1253"/>
          </a:xfrm>
          <a:prstGeom prst="ellipse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6" name="Oval 486">
            <a:extLst>
              <a:ext uri="{FF2B5EF4-FFF2-40B4-BE49-F238E27FC236}">
                <a16:creationId xmlns:a16="http://schemas.microsoft.com/office/drawing/2014/main" id="{9ED195C5-208C-4925-BF28-07594BE093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2686" y="6440615"/>
            <a:ext cx="1253" cy="2504"/>
          </a:xfrm>
          <a:prstGeom prst="ellipse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7" name="Oval 487">
            <a:extLst>
              <a:ext uri="{FF2B5EF4-FFF2-40B4-BE49-F238E27FC236}">
                <a16:creationId xmlns:a16="http://schemas.microsoft.com/office/drawing/2014/main" id="{330722D6-DBEF-4AC6-A03E-A8DEE22902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2704" y="6438111"/>
            <a:ext cx="1253" cy="2504"/>
          </a:xfrm>
          <a:prstGeom prst="ellipse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8" name="Oval 488">
            <a:extLst>
              <a:ext uri="{FF2B5EF4-FFF2-40B4-BE49-F238E27FC236}">
                <a16:creationId xmlns:a16="http://schemas.microsoft.com/office/drawing/2014/main" id="{8A6EC306-A155-4EB5-B8AB-2E8D8C051B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2722" y="6431850"/>
            <a:ext cx="2504" cy="2504"/>
          </a:xfrm>
          <a:prstGeom prst="ellipse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9" name="Oval 489">
            <a:extLst>
              <a:ext uri="{FF2B5EF4-FFF2-40B4-BE49-F238E27FC236}">
                <a16:creationId xmlns:a16="http://schemas.microsoft.com/office/drawing/2014/main" id="{2359A7EF-4675-4262-98A9-C9AAFD0696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2740" y="6436859"/>
            <a:ext cx="2504" cy="1253"/>
          </a:xfrm>
          <a:prstGeom prst="ellipse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0" name="Oval 490">
            <a:extLst>
              <a:ext uri="{FF2B5EF4-FFF2-40B4-BE49-F238E27FC236}">
                <a16:creationId xmlns:a16="http://schemas.microsoft.com/office/drawing/2014/main" id="{E6ED29FB-16E6-40C4-909A-29E1909FE3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4011" y="6433102"/>
            <a:ext cx="1253" cy="2504"/>
          </a:xfrm>
          <a:prstGeom prst="ellipse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1" name="Freeform 491">
            <a:extLst>
              <a:ext uri="{FF2B5EF4-FFF2-40B4-BE49-F238E27FC236}">
                <a16:creationId xmlns:a16="http://schemas.microsoft.com/office/drawing/2014/main" id="{79923337-5E83-4493-BEC9-5A96779BF5C0}"/>
              </a:ext>
            </a:extLst>
          </p:cNvPr>
          <p:cNvSpPr>
            <a:spLocks/>
          </p:cNvSpPr>
          <p:nvPr/>
        </p:nvSpPr>
        <p:spPr bwMode="auto">
          <a:xfrm>
            <a:off x="8352651" y="6433102"/>
            <a:ext cx="62612" cy="10018"/>
          </a:xfrm>
          <a:custGeom>
            <a:avLst/>
            <a:gdLst>
              <a:gd name="T0" fmla="*/ 0 w 50"/>
              <a:gd name="T1" fmla="*/ 8 h 8"/>
              <a:gd name="T2" fmla="*/ 0 w 50"/>
              <a:gd name="T3" fmla="*/ 7 h 8"/>
              <a:gd name="T4" fmla="*/ 8 w 50"/>
              <a:gd name="T5" fmla="*/ 3 h 8"/>
              <a:gd name="T6" fmla="*/ 16 w 50"/>
              <a:gd name="T7" fmla="*/ 6 h 8"/>
              <a:gd name="T8" fmla="*/ 25 w 50"/>
              <a:gd name="T9" fmla="*/ 5 h 8"/>
              <a:gd name="T10" fmla="*/ 33 w 50"/>
              <a:gd name="T11" fmla="*/ 0 h 8"/>
              <a:gd name="T12" fmla="*/ 41 w 50"/>
              <a:gd name="T13" fmla="*/ 3 h 8"/>
              <a:gd name="T14" fmla="*/ 50 w 50"/>
              <a:gd name="T15" fmla="*/ 1 h 8"/>
              <a:gd name="T16" fmla="*/ 50 w 50"/>
              <a:gd name="T17" fmla="*/ 1 h 8"/>
              <a:gd name="T18" fmla="*/ 41 w 50"/>
              <a:gd name="T19" fmla="*/ 4 h 8"/>
              <a:gd name="T20" fmla="*/ 33 w 50"/>
              <a:gd name="T21" fmla="*/ 0 h 8"/>
              <a:gd name="T22" fmla="*/ 25 w 50"/>
              <a:gd name="T23" fmla="*/ 5 h 8"/>
              <a:gd name="T24" fmla="*/ 16 w 50"/>
              <a:gd name="T25" fmla="*/ 7 h 8"/>
              <a:gd name="T26" fmla="*/ 8 w 50"/>
              <a:gd name="T27" fmla="*/ 4 h 8"/>
              <a:gd name="T28" fmla="*/ 0 w 50"/>
              <a:gd name="T29" fmla="*/ 8 h 8"/>
              <a:gd name="T30" fmla="*/ 0 w 50"/>
              <a:gd name="T3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0" h="8">
                <a:moveTo>
                  <a:pt x="0" y="8"/>
                </a:moveTo>
                <a:lnTo>
                  <a:pt x="0" y="7"/>
                </a:lnTo>
                <a:lnTo>
                  <a:pt x="8" y="3"/>
                </a:lnTo>
                <a:lnTo>
                  <a:pt x="16" y="6"/>
                </a:lnTo>
                <a:lnTo>
                  <a:pt x="25" y="5"/>
                </a:lnTo>
                <a:lnTo>
                  <a:pt x="33" y="0"/>
                </a:lnTo>
                <a:lnTo>
                  <a:pt x="41" y="3"/>
                </a:lnTo>
                <a:lnTo>
                  <a:pt x="50" y="1"/>
                </a:lnTo>
                <a:lnTo>
                  <a:pt x="50" y="1"/>
                </a:lnTo>
                <a:lnTo>
                  <a:pt x="41" y="4"/>
                </a:lnTo>
                <a:lnTo>
                  <a:pt x="33" y="0"/>
                </a:lnTo>
                <a:lnTo>
                  <a:pt x="25" y="5"/>
                </a:lnTo>
                <a:lnTo>
                  <a:pt x="16" y="7"/>
                </a:lnTo>
                <a:lnTo>
                  <a:pt x="8" y="4"/>
                </a:lnTo>
                <a:lnTo>
                  <a:pt x="0" y="8"/>
                </a:lnTo>
                <a:lnTo>
                  <a:pt x="0" y="8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2" name="Oval 492">
            <a:extLst>
              <a:ext uri="{FF2B5EF4-FFF2-40B4-BE49-F238E27FC236}">
                <a16:creationId xmlns:a16="http://schemas.microsoft.com/office/drawing/2014/main" id="{C757C3BD-31B2-4E00-BCD9-4DCF1D8A6A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4011" y="6428093"/>
            <a:ext cx="1253" cy="2504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3" name="Oval 493">
            <a:extLst>
              <a:ext uri="{FF2B5EF4-FFF2-40B4-BE49-F238E27FC236}">
                <a16:creationId xmlns:a16="http://schemas.microsoft.com/office/drawing/2014/main" id="{CA949D03-C21D-4DA5-96B4-E563A2BE3A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2740" y="6421832"/>
            <a:ext cx="2504" cy="2504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4" name="Oval 494">
            <a:extLst>
              <a:ext uri="{FF2B5EF4-FFF2-40B4-BE49-F238E27FC236}">
                <a16:creationId xmlns:a16="http://schemas.microsoft.com/office/drawing/2014/main" id="{66BABB16-0E29-4732-8B4B-12117FF5D2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2722" y="6426841"/>
            <a:ext cx="2504" cy="2504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5" name="Oval 495">
            <a:extLst>
              <a:ext uri="{FF2B5EF4-FFF2-40B4-BE49-F238E27FC236}">
                <a16:creationId xmlns:a16="http://schemas.microsoft.com/office/drawing/2014/main" id="{B20C02E4-4FFA-4928-8E56-B1619C2855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2704" y="6441868"/>
            <a:ext cx="1253" cy="1253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6" name="Oval 496">
            <a:extLst>
              <a:ext uri="{FF2B5EF4-FFF2-40B4-BE49-F238E27FC236}">
                <a16:creationId xmlns:a16="http://schemas.microsoft.com/office/drawing/2014/main" id="{5087B71A-EF9E-4178-B077-232A6E57AE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2686" y="6435606"/>
            <a:ext cx="1253" cy="2504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7" name="Oval 497">
            <a:extLst>
              <a:ext uri="{FF2B5EF4-FFF2-40B4-BE49-F238E27FC236}">
                <a16:creationId xmlns:a16="http://schemas.microsoft.com/office/drawing/2014/main" id="{EAA71F8B-017F-40AB-8742-F172757859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61417" y="6440615"/>
            <a:ext cx="2504" cy="1253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8" name="Oval 498">
            <a:extLst>
              <a:ext uri="{FF2B5EF4-FFF2-40B4-BE49-F238E27FC236}">
                <a16:creationId xmlns:a16="http://schemas.microsoft.com/office/drawing/2014/main" id="{8E877A30-42F3-4A6F-91A3-C2CD30EBC4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1399" y="6436859"/>
            <a:ext cx="2504" cy="2504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9" name="Freeform 499">
            <a:extLst>
              <a:ext uri="{FF2B5EF4-FFF2-40B4-BE49-F238E27FC236}">
                <a16:creationId xmlns:a16="http://schemas.microsoft.com/office/drawing/2014/main" id="{5067E996-5C55-4A40-AFB0-9BFD03ABF733}"/>
              </a:ext>
            </a:extLst>
          </p:cNvPr>
          <p:cNvSpPr>
            <a:spLocks/>
          </p:cNvSpPr>
          <p:nvPr/>
        </p:nvSpPr>
        <p:spPr bwMode="auto">
          <a:xfrm>
            <a:off x="8352651" y="6423084"/>
            <a:ext cx="62612" cy="20036"/>
          </a:xfrm>
          <a:custGeom>
            <a:avLst/>
            <a:gdLst>
              <a:gd name="T0" fmla="*/ 25 w 50"/>
              <a:gd name="T1" fmla="*/ 16 h 16"/>
              <a:gd name="T2" fmla="*/ 16 w 50"/>
              <a:gd name="T3" fmla="*/ 11 h 16"/>
              <a:gd name="T4" fmla="*/ 8 w 50"/>
              <a:gd name="T5" fmla="*/ 14 h 16"/>
              <a:gd name="T6" fmla="*/ 8 w 50"/>
              <a:gd name="T7" fmla="*/ 14 h 16"/>
              <a:gd name="T8" fmla="*/ 0 w 50"/>
              <a:gd name="T9" fmla="*/ 12 h 16"/>
              <a:gd name="T10" fmla="*/ 0 w 50"/>
              <a:gd name="T11" fmla="*/ 11 h 16"/>
              <a:gd name="T12" fmla="*/ 8 w 50"/>
              <a:gd name="T13" fmla="*/ 14 h 16"/>
              <a:gd name="T14" fmla="*/ 16 w 50"/>
              <a:gd name="T15" fmla="*/ 11 h 16"/>
              <a:gd name="T16" fmla="*/ 25 w 50"/>
              <a:gd name="T17" fmla="*/ 15 h 16"/>
              <a:gd name="T18" fmla="*/ 33 w 50"/>
              <a:gd name="T19" fmla="*/ 4 h 16"/>
              <a:gd name="T20" fmla="*/ 41 w 50"/>
              <a:gd name="T21" fmla="*/ 0 h 16"/>
              <a:gd name="T22" fmla="*/ 50 w 50"/>
              <a:gd name="T23" fmla="*/ 4 h 16"/>
              <a:gd name="T24" fmla="*/ 50 w 50"/>
              <a:gd name="T25" fmla="*/ 5 h 16"/>
              <a:gd name="T26" fmla="*/ 41 w 50"/>
              <a:gd name="T27" fmla="*/ 1 h 16"/>
              <a:gd name="T28" fmla="*/ 33 w 50"/>
              <a:gd name="T29" fmla="*/ 4 h 16"/>
              <a:gd name="T30" fmla="*/ 25 w 50"/>
              <a:gd name="T31" fmla="*/ 16 h 16"/>
              <a:gd name="T32" fmla="*/ 25 w 50"/>
              <a:gd name="T33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0" h="16">
                <a:moveTo>
                  <a:pt x="25" y="16"/>
                </a:moveTo>
                <a:lnTo>
                  <a:pt x="16" y="11"/>
                </a:lnTo>
                <a:lnTo>
                  <a:pt x="8" y="14"/>
                </a:lnTo>
                <a:lnTo>
                  <a:pt x="8" y="14"/>
                </a:lnTo>
                <a:lnTo>
                  <a:pt x="0" y="12"/>
                </a:lnTo>
                <a:lnTo>
                  <a:pt x="0" y="11"/>
                </a:lnTo>
                <a:lnTo>
                  <a:pt x="8" y="14"/>
                </a:lnTo>
                <a:lnTo>
                  <a:pt x="16" y="11"/>
                </a:lnTo>
                <a:lnTo>
                  <a:pt x="25" y="15"/>
                </a:lnTo>
                <a:lnTo>
                  <a:pt x="33" y="4"/>
                </a:lnTo>
                <a:lnTo>
                  <a:pt x="41" y="0"/>
                </a:lnTo>
                <a:lnTo>
                  <a:pt x="50" y="4"/>
                </a:lnTo>
                <a:lnTo>
                  <a:pt x="50" y="5"/>
                </a:lnTo>
                <a:lnTo>
                  <a:pt x="41" y="1"/>
                </a:lnTo>
                <a:lnTo>
                  <a:pt x="33" y="4"/>
                </a:lnTo>
                <a:lnTo>
                  <a:pt x="25" y="16"/>
                </a:lnTo>
                <a:lnTo>
                  <a:pt x="25" y="16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0" name="Freeform 500">
            <a:extLst>
              <a:ext uri="{FF2B5EF4-FFF2-40B4-BE49-F238E27FC236}">
                <a16:creationId xmlns:a16="http://schemas.microsoft.com/office/drawing/2014/main" id="{91118FB4-EED6-49AA-9F75-870370AA89C9}"/>
              </a:ext>
            </a:extLst>
          </p:cNvPr>
          <p:cNvSpPr>
            <a:spLocks noEditPoints="1"/>
          </p:cNvSpPr>
          <p:nvPr/>
        </p:nvSpPr>
        <p:spPr bwMode="auto">
          <a:xfrm>
            <a:off x="8395227" y="6345445"/>
            <a:ext cx="31306" cy="31306"/>
          </a:xfrm>
          <a:custGeom>
            <a:avLst/>
            <a:gdLst>
              <a:gd name="T0" fmla="*/ 30 w 60"/>
              <a:gd name="T1" fmla="*/ 0 h 61"/>
              <a:gd name="T2" fmla="*/ 60 w 60"/>
              <a:gd name="T3" fmla="*/ 31 h 61"/>
              <a:gd name="T4" fmla="*/ 30 w 60"/>
              <a:gd name="T5" fmla="*/ 61 h 61"/>
              <a:gd name="T6" fmla="*/ 0 w 60"/>
              <a:gd name="T7" fmla="*/ 31 h 61"/>
              <a:gd name="T8" fmla="*/ 30 w 60"/>
              <a:gd name="T9" fmla="*/ 0 h 61"/>
              <a:gd name="T10" fmla="*/ 10 w 60"/>
              <a:gd name="T11" fmla="*/ 31 h 61"/>
              <a:gd name="T12" fmla="*/ 30 w 60"/>
              <a:gd name="T13" fmla="*/ 51 h 61"/>
              <a:gd name="T14" fmla="*/ 50 w 60"/>
              <a:gd name="T15" fmla="*/ 31 h 61"/>
              <a:gd name="T16" fmla="*/ 30 w 60"/>
              <a:gd name="T17" fmla="*/ 11 h 61"/>
              <a:gd name="T18" fmla="*/ 10 w 60"/>
              <a:gd name="T19" fmla="*/ 31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0" h="61">
                <a:moveTo>
                  <a:pt x="30" y="0"/>
                </a:moveTo>
                <a:cubicBezTo>
                  <a:pt x="47" y="0"/>
                  <a:pt x="60" y="14"/>
                  <a:pt x="60" y="31"/>
                </a:cubicBezTo>
                <a:cubicBezTo>
                  <a:pt x="60" y="47"/>
                  <a:pt x="47" y="61"/>
                  <a:pt x="30" y="61"/>
                </a:cubicBezTo>
                <a:cubicBezTo>
                  <a:pt x="13" y="61"/>
                  <a:pt x="0" y="47"/>
                  <a:pt x="0" y="31"/>
                </a:cubicBezTo>
                <a:cubicBezTo>
                  <a:pt x="0" y="14"/>
                  <a:pt x="13" y="0"/>
                  <a:pt x="30" y="0"/>
                </a:cubicBezTo>
                <a:close/>
                <a:moveTo>
                  <a:pt x="10" y="31"/>
                </a:moveTo>
                <a:cubicBezTo>
                  <a:pt x="10" y="42"/>
                  <a:pt x="19" y="51"/>
                  <a:pt x="30" y="51"/>
                </a:cubicBezTo>
                <a:cubicBezTo>
                  <a:pt x="41" y="51"/>
                  <a:pt x="50" y="42"/>
                  <a:pt x="50" y="31"/>
                </a:cubicBezTo>
                <a:cubicBezTo>
                  <a:pt x="50" y="20"/>
                  <a:pt x="41" y="11"/>
                  <a:pt x="30" y="11"/>
                </a:cubicBezTo>
                <a:cubicBezTo>
                  <a:pt x="19" y="11"/>
                  <a:pt x="10" y="20"/>
                  <a:pt x="10" y="31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1" name="Freeform 501">
            <a:extLst>
              <a:ext uri="{FF2B5EF4-FFF2-40B4-BE49-F238E27FC236}">
                <a16:creationId xmlns:a16="http://schemas.microsoft.com/office/drawing/2014/main" id="{0993A52C-6479-47C1-B38B-0FFC70644B08}"/>
              </a:ext>
            </a:extLst>
          </p:cNvPr>
          <p:cNvSpPr>
            <a:spLocks noEditPoints="1"/>
          </p:cNvSpPr>
          <p:nvPr/>
        </p:nvSpPr>
        <p:spPr bwMode="auto">
          <a:xfrm>
            <a:off x="8392722" y="6344194"/>
            <a:ext cx="35063" cy="35063"/>
          </a:xfrm>
          <a:custGeom>
            <a:avLst/>
            <a:gdLst>
              <a:gd name="T0" fmla="*/ 34 w 68"/>
              <a:gd name="T1" fmla="*/ 68 h 68"/>
              <a:gd name="T2" fmla="*/ 0 w 68"/>
              <a:gd name="T3" fmla="*/ 34 h 68"/>
              <a:gd name="T4" fmla="*/ 34 w 68"/>
              <a:gd name="T5" fmla="*/ 0 h 68"/>
              <a:gd name="T6" fmla="*/ 68 w 68"/>
              <a:gd name="T7" fmla="*/ 34 h 68"/>
              <a:gd name="T8" fmla="*/ 34 w 68"/>
              <a:gd name="T9" fmla="*/ 68 h 68"/>
              <a:gd name="T10" fmla="*/ 34 w 68"/>
              <a:gd name="T11" fmla="*/ 0 h 68"/>
              <a:gd name="T12" fmla="*/ 0 w 68"/>
              <a:gd name="T13" fmla="*/ 34 h 68"/>
              <a:gd name="T14" fmla="*/ 34 w 68"/>
              <a:gd name="T15" fmla="*/ 67 h 68"/>
              <a:gd name="T16" fmla="*/ 67 w 68"/>
              <a:gd name="T17" fmla="*/ 34 h 68"/>
              <a:gd name="T18" fmla="*/ 34 w 68"/>
              <a:gd name="T19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8" h="68">
                <a:moveTo>
                  <a:pt x="34" y="68"/>
                </a:moveTo>
                <a:cubicBezTo>
                  <a:pt x="15" y="68"/>
                  <a:pt x="0" y="52"/>
                  <a:pt x="0" y="34"/>
                </a:cubicBezTo>
                <a:cubicBezTo>
                  <a:pt x="0" y="15"/>
                  <a:pt x="15" y="0"/>
                  <a:pt x="34" y="0"/>
                </a:cubicBezTo>
                <a:cubicBezTo>
                  <a:pt x="53" y="0"/>
                  <a:pt x="68" y="15"/>
                  <a:pt x="68" y="34"/>
                </a:cubicBezTo>
                <a:cubicBezTo>
                  <a:pt x="68" y="52"/>
                  <a:pt x="53" y="68"/>
                  <a:pt x="34" y="68"/>
                </a:cubicBezTo>
                <a:close/>
                <a:moveTo>
                  <a:pt x="34" y="0"/>
                </a:moveTo>
                <a:cubicBezTo>
                  <a:pt x="15" y="0"/>
                  <a:pt x="0" y="15"/>
                  <a:pt x="0" y="34"/>
                </a:cubicBezTo>
                <a:cubicBezTo>
                  <a:pt x="0" y="52"/>
                  <a:pt x="15" y="67"/>
                  <a:pt x="34" y="67"/>
                </a:cubicBezTo>
                <a:cubicBezTo>
                  <a:pt x="52" y="67"/>
                  <a:pt x="67" y="52"/>
                  <a:pt x="67" y="34"/>
                </a:cubicBezTo>
                <a:cubicBezTo>
                  <a:pt x="67" y="15"/>
                  <a:pt x="52" y="0"/>
                  <a:pt x="34" y="0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2" name="Freeform 502">
            <a:extLst>
              <a:ext uri="{FF2B5EF4-FFF2-40B4-BE49-F238E27FC236}">
                <a16:creationId xmlns:a16="http://schemas.microsoft.com/office/drawing/2014/main" id="{82C9ED39-34B4-4F37-83B1-7901D23143E0}"/>
              </a:ext>
            </a:extLst>
          </p:cNvPr>
          <p:cNvSpPr>
            <a:spLocks/>
          </p:cNvSpPr>
          <p:nvPr/>
        </p:nvSpPr>
        <p:spPr bwMode="auto">
          <a:xfrm>
            <a:off x="8395227" y="6345445"/>
            <a:ext cx="28802" cy="31306"/>
          </a:xfrm>
          <a:custGeom>
            <a:avLst/>
            <a:gdLst>
              <a:gd name="T0" fmla="*/ 55 w 55"/>
              <a:gd name="T1" fmla="*/ 48 h 61"/>
              <a:gd name="T2" fmla="*/ 30 w 55"/>
              <a:gd name="T3" fmla="*/ 61 h 61"/>
              <a:gd name="T4" fmla="*/ 0 w 55"/>
              <a:gd name="T5" fmla="*/ 31 h 61"/>
              <a:gd name="T6" fmla="*/ 30 w 55"/>
              <a:gd name="T7" fmla="*/ 0 h 61"/>
              <a:gd name="T8" fmla="*/ 30 w 55"/>
              <a:gd name="T9" fmla="*/ 11 h 61"/>
              <a:gd name="T10" fmla="*/ 10 w 55"/>
              <a:gd name="T11" fmla="*/ 31 h 61"/>
              <a:gd name="T12" fmla="*/ 30 w 55"/>
              <a:gd name="T13" fmla="*/ 51 h 61"/>
              <a:gd name="T14" fmla="*/ 46 w 55"/>
              <a:gd name="T15" fmla="*/ 42 h 61"/>
              <a:gd name="T16" fmla="*/ 55 w 55"/>
              <a:gd name="T17" fmla="*/ 48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5" h="61">
                <a:moveTo>
                  <a:pt x="55" y="48"/>
                </a:moveTo>
                <a:cubicBezTo>
                  <a:pt x="50" y="56"/>
                  <a:pt x="40" y="61"/>
                  <a:pt x="30" y="61"/>
                </a:cubicBezTo>
                <a:cubicBezTo>
                  <a:pt x="13" y="61"/>
                  <a:pt x="0" y="47"/>
                  <a:pt x="0" y="31"/>
                </a:cubicBezTo>
                <a:cubicBezTo>
                  <a:pt x="0" y="14"/>
                  <a:pt x="13" y="0"/>
                  <a:pt x="30" y="0"/>
                </a:cubicBezTo>
                <a:cubicBezTo>
                  <a:pt x="30" y="11"/>
                  <a:pt x="30" y="11"/>
                  <a:pt x="30" y="11"/>
                </a:cubicBezTo>
                <a:cubicBezTo>
                  <a:pt x="19" y="11"/>
                  <a:pt x="10" y="20"/>
                  <a:pt x="10" y="31"/>
                </a:cubicBezTo>
                <a:cubicBezTo>
                  <a:pt x="10" y="42"/>
                  <a:pt x="19" y="51"/>
                  <a:pt x="30" y="51"/>
                </a:cubicBezTo>
                <a:cubicBezTo>
                  <a:pt x="37" y="51"/>
                  <a:pt x="43" y="47"/>
                  <a:pt x="46" y="42"/>
                </a:cubicBezTo>
                <a:lnTo>
                  <a:pt x="55" y="48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3" name="Freeform 503">
            <a:extLst>
              <a:ext uri="{FF2B5EF4-FFF2-40B4-BE49-F238E27FC236}">
                <a16:creationId xmlns:a16="http://schemas.microsoft.com/office/drawing/2014/main" id="{01154366-6126-49CB-91CF-A01860F55FD9}"/>
              </a:ext>
            </a:extLst>
          </p:cNvPr>
          <p:cNvSpPr>
            <a:spLocks/>
          </p:cNvSpPr>
          <p:nvPr/>
        </p:nvSpPr>
        <p:spPr bwMode="auto">
          <a:xfrm>
            <a:off x="8395227" y="6345445"/>
            <a:ext cx="15027" cy="30054"/>
          </a:xfrm>
          <a:custGeom>
            <a:avLst/>
            <a:gdLst>
              <a:gd name="T0" fmla="*/ 15 w 30"/>
              <a:gd name="T1" fmla="*/ 57 h 57"/>
              <a:gd name="T2" fmla="*/ 0 w 30"/>
              <a:gd name="T3" fmla="*/ 31 h 57"/>
              <a:gd name="T4" fmla="*/ 30 w 30"/>
              <a:gd name="T5" fmla="*/ 0 h 57"/>
              <a:gd name="T6" fmla="*/ 30 w 30"/>
              <a:gd name="T7" fmla="*/ 11 h 57"/>
              <a:gd name="T8" fmla="*/ 10 w 30"/>
              <a:gd name="T9" fmla="*/ 31 h 57"/>
              <a:gd name="T10" fmla="*/ 20 w 30"/>
              <a:gd name="T11" fmla="*/ 48 h 57"/>
              <a:gd name="T12" fmla="*/ 15 w 30"/>
              <a:gd name="T13" fmla="*/ 57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" h="57">
                <a:moveTo>
                  <a:pt x="15" y="57"/>
                </a:moveTo>
                <a:cubicBezTo>
                  <a:pt x="6" y="52"/>
                  <a:pt x="0" y="42"/>
                  <a:pt x="0" y="31"/>
                </a:cubicBezTo>
                <a:cubicBezTo>
                  <a:pt x="0" y="14"/>
                  <a:pt x="13" y="0"/>
                  <a:pt x="30" y="0"/>
                </a:cubicBezTo>
                <a:cubicBezTo>
                  <a:pt x="30" y="11"/>
                  <a:pt x="30" y="11"/>
                  <a:pt x="30" y="11"/>
                </a:cubicBezTo>
                <a:cubicBezTo>
                  <a:pt x="19" y="11"/>
                  <a:pt x="10" y="20"/>
                  <a:pt x="10" y="31"/>
                </a:cubicBezTo>
                <a:cubicBezTo>
                  <a:pt x="10" y="38"/>
                  <a:pt x="14" y="45"/>
                  <a:pt x="20" y="48"/>
                </a:cubicBezTo>
                <a:lnTo>
                  <a:pt x="15" y="57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4" name="Freeform 504">
            <a:extLst>
              <a:ext uri="{FF2B5EF4-FFF2-40B4-BE49-F238E27FC236}">
                <a16:creationId xmlns:a16="http://schemas.microsoft.com/office/drawing/2014/main" id="{3E247990-F733-4CA3-BA06-8ACE5E194900}"/>
              </a:ext>
            </a:extLst>
          </p:cNvPr>
          <p:cNvSpPr>
            <a:spLocks/>
          </p:cNvSpPr>
          <p:nvPr/>
        </p:nvSpPr>
        <p:spPr bwMode="auto">
          <a:xfrm>
            <a:off x="8395227" y="6345445"/>
            <a:ext cx="15027" cy="27549"/>
          </a:xfrm>
          <a:custGeom>
            <a:avLst/>
            <a:gdLst>
              <a:gd name="T0" fmla="*/ 8 w 30"/>
              <a:gd name="T1" fmla="*/ 52 h 52"/>
              <a:gd name="T2" fmla="*/ 0 w 30"/>
              <a:gd name="T3" fmla="*/ 31 h 52"/>
              <a:gd name="T4" fmla="*/ 30 w 30"/>
              <a:gd name="T5" fmla="*/ 0 h 52"/>
              <a:gd name="T6" fmla="*/ 30 w 30"/>
              <a:gd name="T7" fmla="*/ 11 h 52"/>
              <a:gd name="T8" fmla="*/ 10 w 30"/>
              <a:gd name="T9" fmla="*/ 31 h 52"/>
              <a:gd name="T10" fmla="*/ 15 w 30"/>
              <a:gd name="T11" fmla="*/ 45 h 52"/>
              <a:gd name="T12" fmla="*/ 8 w 30"/>
              <a:gd name="T13" fmla="*/ 5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" h="52">
                <a:moveTo>
                  <a:pt x="8" y="52"/>
                </a:moveTo>
                <a:cubicBezTo>
                  <a:pt x="3" y="46"/>
                  <a:pt x="0" y="39"/>
                  <a:pt x="0" y="31"/>
                </a:cubicBezTo>
                <a:cubicBezTo>
                  <a:pt x="0" y="14"/>
                  <a:pt x="13" y="0"/>
                  <a:pt x="30" y="0"/>
                </a:cubicBezTo>
                <a:cubicBezTo>
                  <a:pt x="30" y="11"/>
                  <a:pt x="30" y="11"/>
                  <a:pt x="30" y="11"/>
                </a:cubicBezTo>
                <a:cubicBezTo>
                  <a:pt x="19" y="11"/>
                  <a:pt x="10" y="20"/>
                  <a:pt x="10" y="31"/>
                </a:cubicBezTo>
                <a:cubicBezTo>
                  <a:pt x="10" y="36"/>
                  <a:pt x="12" y="41"/>
                  <a:pt x="15" y="45"/>
                </a:cubicBezTo>
                <a:lnTo>
                  <a:pt x="8" y="52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5" name="Freeform 505">
            <a:extLst>
              <a:ext uri="{FF2B5EF4-FFF2-40B4-BE49-F238E27FC236}">
                <a16:creationId xmlns:a16="http://schemas.microsoft.com/office/drawing/2014/main" id="{3599FACB-C8CF-481E-A8E9-CF85070B3E0C}"/>
              </a:ext>
            </a:extLst>
          </p:cNvPr>
          <p:cNvSpPr>
            <a:spLocks noEditPoints="1"/>
          </p:cNvSpPr>
          <p:nvPr/>
        </p:nvSpPr>
        <p:spPr bwMode="auto">
          <a:xfrm>
            <a:off x="8351399" y="6345445"/>
            <a:ext cx="32558" cy="31306"/>
          </a:xfrm>
          <a:custGeom>
            <a:avLst/>
            <a:gdLst>
              <a:gd name="T0" fmla="*/ 31 w 61"/>
              <a:gd name="T1" fmla="*/ 0 h 61"/>
              <a:gd name="T2" fmla="*/ 61 w 61"/>
              <a:gd name="T3" fmla="*/ 31 h 61"/>
              <a:gd name="T4" fmla="*/ 31 w 61"/>
              <a:gd name="T5" fmla="*/ 61 h 61"/>
              <a:gd name="T6" fmla="*/ 0 w 61"/>
              <a:gd name="T7" fmla="*/ 31 h 61"/>
              <a:gd name="T8" fmla="*/ 31 w 61"/>
              <a:gd name="T9" fmla="*/ 0 h 61"/>
              <a:gd name="T10" fmla="*/ 11 w 61"/>
              <a:gd name="T11" fmla="*/ 31 h 61"/>
              <a:gd name="T12" fmla="*/ 31 w 61"/>
              <a:gd name="T13" fmla="*/ 51 h 61"/>
              <a:gd name="T14" fmla="*/ 51 w 61"/>
              <a:gd name="T15" fmla="*/ 31 h 61"/>
              <a:gd name="T16" fmla="*/ 31 w 61"/>
              <a:gd name="T17" fmla="*/ 11 h 61"/>
              <a:gd name="T18" fmla="*/ 11 w 61"/>
              <a:gd name="T19" fmla="*/ 31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1" h="61">
                <a:moveTo>
                  <a:pt x="31" y="0"/>
                </a:moveTo>
                <a:cubicBezTo>
                  <a:pt x="47" y="0"/>
                  <a:pt x="61" y="14"/>
                  <a:pt x="61" y="31"/>
                </a:cubicBezTo>
                <a:cubicBezTo>
                  <a:pt x="61" y="47"/>
                  <a:pt x="47" y="61"/>
                  <a:pt x="31" y="61"/>
                </a:cubicBezTo>
                <a:cubicBezTo>
                  <a:pt x="14" y="61"/>
                  <a:pt x="0" y="47"/>
                  <a:pt x="0" y="31"/>
                </a:cubicBezTo>
                <a:cubicBezTo>
                  <a:pt x="0" y="14"/>
                  <a:pt x="14" y="0"/>
                  <a:pt x="31" y="0"/>
                </a:cubicBezTo>
                <a:close/>
                <a:moveTo>
                  <a:pt x="11" y="31"/>
                </a:moveTo>
                <a:cubicBezTo>
                  <a:pt x="11" y="42"/>
                  <a:pt x="20" y="51"/>
                  <a:pt x="31" y="51"/>
                </a:cubicBezTo>
                <a:cubicBezTo>
                  <a:pt x="42" y="51"/>
                  <a:pt x="51" y="42"/>
                  <a:pt x="51" y="31"/>
                </a:cubicBezTo>
                <a:cubicBezTo>
                  <a:pt x="51" y="20"/>
                  <a:pt x="42" y="11"/>
                  <a:pt x="31" y="11"/>
                </a:cubicBezTo>
                <a:cubicBezTo>
                  <a:pt x="20" y="11"/>
                  <a:pt x="11" y="20"/>
                  <a:pt x="11" y="31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6" name="Freeform 506">
            <a:extLst>
              <a:ext uri="{FF2B5EF4-FFF2-40B4-BE49-F238E27FC236}">
                <a16:creationId xmlns:a16="http://schemas.microsoft.com/office/drawing/2014/main" id="{BACF39DC-D4D2-46AD-83A7-9EA3FD6AD33D}"/>
              </a:ext>
            </a:extLst>
          </p:cNvPr>
          <p:cNvSpPr>
            <a:spLocks noEditPoints="1"/>
          </p:cNvSpPr>
          <p:nvPr/>
        </p:nvSpPr>
        <p:spPr bwMode="auto">
          <a:xfrm>
            <a:off x="8350146" y="6344194"/>
            <a:ext cx="35063" cy="35063"/>
          </a:xfrm>
          <a:custGeom>
            <a:avLst/>
            <a:gdLst>
              <a:gd name="T0" fmla="*/ 34 w 67"/>
              <a:gd name="T1" fmla="*/ 68 h 68"/>
              <a:gd name="T2" fmla="*/ 0 w 67"/>
              <a:gd name="T3" fmla="*/ 34 h 68"/>
              <a:gd name="T4" fmla="*/ 34 w 67"/>
              <a:gd name="T5" fmla="*/ 0 h 68"/>
              <a:gd name="T6" fmla="*/ 67 w 67"/>
              <a:gd name="T7" fmla="*/ 34 h 68"/>
              <a:gd name="T8" fmla="*/ 34 w 67"/>
              <a:gd name="T9" fmla="*/ 68 h 68"/>
              <a:gd name="T10" fmla="*/ 34 w 67"/>
              <a:gd name="T11" fmla="*/ 0 h 68"/>
              <a:gd name="T12" fmla="*/ 0 w 67"/>
              <a:gd name="T13" fmla="*/ 34 h 68"/>
              <a:gd name="T14" fmla="*/ 34 w 67"/>
              <a:gd name="T15" fmla="*/ 67 h 68"/>
              <a:gd name="T16" fmla="*/ 67 w 67"/>
              <a:gd name="T17" fmla="*/ 34 h 68"/>
              <a:gd name="T18" fmla="*/ 34 w 67"/>
              <a:gd name="T19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7" h="68">
                <a:moveTo>
                  <a:pt x="34" y="68"/>
                </a:moveTo>
                <a:cubicBezTo>
                  <a:pt x="15" y="68"/>
                  <a:pt x="0" y="52"/>
                  <a:pt x="0" y="34"/>
                </a:cubicBezTo>
                <a:cubicBezTo>
                  <a:pt x="0" y="15"/>
                  <a:pt x="15" y="0"/>
                  <a:pt x="34" y="0"/>
                </a:cubicBezTo>
                <a:cubicBezTo>
                  <a:pt x="52" y="0"/>
                  <a:pt x="67" y="15"/>
                  <a:pt x="67" y="34"/>
                </a:cubicBezTo>
                <a:cubicBezTo>
                  <a:pt x="67" y="52"/>
                  <a:pt x="52" y="68"/>
                  <a:pt x="34" y="68"/>
                </a:cubicBezTo>
                <a:close/>
                <a:moveTo>
                  <a:pt x="34" y="0"/>
                </a:moveTo>
                <a:cubicBezTo>
                  <a:pt x="15" y="0"/>
                  <a:pt x="0" y="15"/>
                  <a:pt x="0" y="34"/>
                </a:cubicBezTo>
                <a:cubicBezTo>
                  <a:pt x="0" y="52"/>
                  <a:pt x="15" y="67"/>
                  <a:pt x="34" y="67"/>
                </a:cubicBezTo>
                <a:cubicBezTo>
                  <a:pt x="52" y="67"/>
                  <a:pt x="67" y="52"/>
                  <a:pt x="67" y="34"/>
                </a:cubicBezTo>
                <a:cubicBezTo>
                  <a:pt x="67" y="15"/>
                  <a:pt x="52" y="0"/>
                  <a:pt x="34" y="0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7" name="Freeform 507">
            <a:extLst>
              <a:ext uri="{FF2B5EF4-FFF2-40B4-BE49-F238E27FC236}">
                <a16:creationId xmlns:a16="http://schemas.microsoft.com/office/drawing/2014/main" id="{1231D1E0-8E3D-4F3A-8A1F-E5FF23B1BA3E}"/>
              </a:ext>
            </a:extLst>
          </p:cNvPr>
          <p:cNvSpPr>
            <a:spLocks/>
          </p:cNvSpPr>
          <p:nvPr/>
        </p:nvSpPr>
        <p:spPr bwMode="auto">
          <a:xfrm>
            <a:off x="8351399" y="6345445"/>
            <a:ext cx="32558" cy="31306"/>
          </a:xfrm>
          <a:custGeom>
            <a:avLst/>
            <a:gdLst>
              <a:gd name="T0" fmla="*/ 54 w 61"/>
              <a:gd name="T1" fmla="*/ 12 h 61"/>
              <a:gd name="T2" fmla="*/ 61 w 61"/>
              <a:gd name="T3" fmla="*/ 31 h 61"/>
              <a:gd name="T4" fmla="*/ 31 w 61"/>
              <a:gd name="T5" fmla="*/ 61 h 61"/>
              <a:gd name="T6" fmla="*/ 0 w 61"/>
              <a:gd name="T7" fmla="*/ 31 h 61"/>
              <a:gd name="T8" fmla="*/ 31 w 61"/>
              <a:gd name="T9" fmla="*/ 0 h 61"/>
              <a:gd name="T10" fmla="*/ 31 w 61"/>
              <a:gd name="T11" fmla="*/ 11 h 61"/>
              <a:gd name="T12" fmla="*/ 11 w 61"/>
              <a:gd name="T13" fmla="*/ 31 h 61"/>
              <a:gd name="T14" fmla="*/ 31 w 61"/>
              <a:gd name="T15" fmla="*/ 51 h 61"/>
              <a:gd name="T16" fmla="*/ 51 w 61"/>
              <a:gd name="T17" fmla="*/ 31 h 61"/>
              <a:gd name="T18" fmla="*/ 46 w 61"/>
              <a:gd name="T19" fmla="*/ 18 h 61"/>
              <a:gd name="T20" fmla="*/ 54 w 61"/>
              <a:gd name="T21" fmla="*/ 12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1" h="61">
                <a:moveTo>
                  <a:pt x="54" y="12"/>
                </a:moveTo>
                <a:cubicBezTo>
                  <a:pt x="58" y="17"/>
                  <a:pt x="61" y="23"/>
                  <a:pt x="61" y="31"/>
                </a:cubicBezTo>
                <a:cubicBezTo>
                  <a:pt x="61" y="47"/>
                  <a:pt x="47" y="61"/>
                  <a:pt x="31" y="61"/>
                </a:cubicBezTo>
                <a:cubicBezTo>
                  <a:pt x="14" y="61"/>
                  <a:pt x="0" y="47"/>
                  <a:pt x="0" y="31"/>
                </a:cubicBezTo>
                <a:cubicBezTo>
                  <a:pt x="0" y="14"/>
                  <a:pt x="14" y="0"/>
                  <a:pt x="31" y="0"/>
                </a:cubicBezTo>
                <a:cubicBezTo>
                  <a:pt x="31" y="11"/>
                  <a:pt x="31" y="11"/>
                  <a:pt x="31" y="11"/>
                </a:cubicBezTo>
                <a:cubicBezTo>
                  <a:pt x="20" y="11"/>
                  <a:pt x="11" y="20"/>
                  <a:pt x="11" y="31"/>
                </a:cubicBezTo>
                <a:cubicBezTo>
                  <a:pt x="11" y="42"/>
                  <a:pt x="20" y="51"/>
                  <a:pt x="31" y="51"/>
                </a:cubicBezTo>
                <a:cubicBezTo>
                  <a:pt x="42" y="51"/>
                  <a:pt x="51" y="42"/>
                  <a:pt x="51" y="31"/>
                </a:cubicBezTo>
                <a:cubicBezTo>
                  <a:pt x="51" y="26"/>
                  <a:pt x="49" y="22"/>
                  <a:pt x="46" y="18"/>
                </a:cubicBezTo>
                <a:lnTo>
                  <a:pt x="54" y="12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8" name="Freeform 508">
            <a:extLst>
              <a:ext uri="{FF2B5EF4-FFF2-40B4-BE49-F238E27FC236}">
                <a16:creationId xmlns:a16="http://schemas.microsoft.com/office/drawing/2014/main" id="{557A0D7A-127B-490F-BE89-767D54768DE4}"/>
              </a:ext>
            </a:extLst>
          </p:cNvPr>
          <p:cNvSpPr>
            <a:spLocks/>
          </p:cNvSpPr>
          <p:nvPr/>
        </p:nvSpPr>
        <p:spPr bwMode="auto">
          <a:xfrm>
            <a:off x="8351399" y="6345445"/>
            <a:ext cx="25045" cy="31306"/>
          </a:xfrm>
          <a:custGeom>
            <a:avLst/>
            <a:gdLst>
              <a:gd name="T0" fmla="*/ 47 w 47"/>
              <a:gd name="T1" fmla="*/ 56 h 61"/>
              <a:gd name="T2" fmla="*/ 31 w 47"/>
              <a:gd name="T3" fmla="*/ 61 h 61"/>
              <a:gd name="T4" fmla="*/ 0 w 47"/>
              <a:gd name="T5" fmla="*/ 31 h 61"/>
              <a:gd name="T6" fmla="*/ 31 w 47"/>
              <a:gd name="T7" fmla="*/ 0 h 61"/>
              <a:gd name="T8" fmla="*/ 31 w 47"/>
              <a:gd name="T9" fmla="*/ 11 h 61"/>
              <a:gd name="T10" fmla="*/ 11 w 47"/>
              <a:gd name="T11" fmla="*/ 31 h 61"/>
              <a:gd name="T12" fmla="*/ 31 w 47"/>
              <a:gd name="T13" fmla="*/ 51 h 61"/>
              <a:gd name="T14" fmla="*/ 42 w 47"/>
              <a:gd name="T15" fmla="*/ 47 h 61"/>
              <a:gd name="T16" fmla="*/ 47 w 47"/>
              <a:gd name="T17" fmla="*/ 56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" h="61">
                <a:moveTo>
                  <a:pt x="47" y="56"/>
                </a:moveTo>
                <a:cubicBezTo>
                  <a:pt x="42" y="59"/>
                  <a:pt x="37" y="61"/>
                  <a:pt x="31" y="61"/>
                </a:cubicBezTo>
                <a:cubicBezTo>
                  <a:pt x="14" y="61"/>
                  <a:pt x="0" y="47"/>
                  <a:pt x="0" y="31"/>
                </a:cubicBezTo>
                <a:cubicBezTo>
                  <a:pt x="0" y="14"/>
                  <a:pt x="14" y="0"/>
                  <a:pt x="31" y="0"/>
                </a:cubicBezTo>
                <a:cubicBezTo>
                  <a:pt x="31" y="11"/>
                  <a:pt x="31" y="11"/>
                  <a:pt x="31" y="11"/>
                </a:cubicBezTo>
                <a:cubicBezTo>
                  <a:pt x="20" y="11"/>
                  <a:pt x="11" y="20"/>
                  <a:pt x="11" y="31"/>
                </a:cubicBezTo>
                <a:cubicBezTo>
                  <a:pt x="11" y="42"/>
                  <a:pt x="20" y="51"/>
                  <a:pt x="31" y="51"/>
                </a:cubicBezTo>
                <a:cubicBezTo>
                  <a:pt x="35" y="51"/>
                  <a:pt x="38" y="50"/>
                  <a:pt x="42" y="47"/>
                </a:cubicBezTo>
                <a:lnTo>
                  <a:pt x="47" y="56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9" name="Freeform 509">
            <a:extLst>
              <a:ext uri="{FF2B5EF4-FFF2-40B4-BE49-F238E27FC236}">
                <a16:creationId xmlns:a16="http://schemas.microsoft.com/office/drawing/2014/main" id="{C24C8FC9-5BA6-4BA2-89B4-82A2996A35E8}"/>
              </a:ext>
            </a:extLst>
          </p:cNvPr>
          <p:cNvSpPr>
            <a:spLocks/>
          </p:cNvSpPr>
          <p:nvPr/>
        </p:nvSpPr>
        <p:spPr bwMode="auto">
          <a:xfrm>
            <a:off x="8352651" y="6345445"/>
            <a:ext cx="15027" cy="12522"/>
          </a:xfrm>
          <a:custGeom>
            <a:avLst/>
            <a:gdLst>
              <a:gd name="T0" fmla="*/ 0 w 29"/>
              <a:gd name="T1" fmla="*/ 21 h 24"/>
              <a:gd name="T2" fmla="*/ 29 w 29"/>
              <a:gd name="T3" fmla="*/ 0 h 24"/>
              <a:gd name="T4" fmla="*/ 29 w 29"/>
              <a:gd name="T5" fmla="*/ 11 h 24"/>
              <a:gd name="T6" fmla="*/ 10 w 29"/>
              <a:gd name="T7" fmla="*/ 24 h 24"/>
              <a:gd name="T8" fmla="*/ 0 w 29"/>
              <a:gd name="T9" fmla="*/ 2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" h="24">
                <a:moveTo>
                  <a:pt x="0" y="21"/>
                </a:moveTo>
                <a:cubicBezTo>
                  <a:pt x="4" y="9"/>
                  <a:pt x="15" y="0"/>
                  <a:pt x="29" y="0"/>
                </a:cubicBezTo>
                <a:cubicBezTo>
                  <a:pt x="29" y="11"/>
                  <a:pt x="29" y="11"/>
                  <a:pt x="29" y="11"/>
                </a:cubicBezTo>
                <a:cubicBezTo>
                  <a:pt x="20" y="11"/>
                  <a:pt x="12" y="16"/>
                  <a:pt x="10" y="24"/>
                </a:cubicBezTo>
                <a:lnTo>
                  <a:pt x="0" y="21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0" name="Rectangle 510">
            <a:extLst>
              <a:ext uri="{FF2B5EF4-FFF2-40B4-BE49-F238E27FC236}">
                <a16:creationId xmlns:a16="http://schemas.microsoft.com/office/drawing/2014/main" id="{5F674B5F-8A65-49D8-A10A-60AA243D3B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1399" y="6396787"/>
            <a:ext cx="2504" cy="13775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1" name="Rectangle 511">
            <a:extLst>
              <a:ext uri="{FF2B5EF4-FFF2-40B4-BE49-F238E27FC236}">
                <a16:creationId xmlns:a16="http://schemas.microsoft.com/office/drawing/2014/main" id="{BA81BCB0-DAEC-4B6E-BBA8-2D2289856C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3903" y="6390526"/>
            <a:ext cx="2504" cy="20036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2" name="Rectangle 512">
            <a:extLst>
              <a:ext uri="{FF2B5EF4-FFF2-40B4-BE49-F238E27FC236}">
                <a16:creationId xmlns:a16="http://schemas.microsoft.com/office/drawing/2014/main" id="{720AE5E2-D941-4415-83F7-408ECDB81B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60164" y="6404301"/>
            <a:ext cx="2504" cy="626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3" name="Rectangle 513">
            <a:extLst>
              <a:ext uri="{FF2B5EF4-FFF2-40B4-BE49-F238E27FC236}">
                <a16:creationId xmlns:a16="http://schemas.microsoft.com/office/drawing/2014/main" id="{2AE1861F-8521-4552-980D-27B0F5EEE1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62669" y="6409310"/>
            <a:ext cx="2504" cy="1253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4" name="Rectangle 514">
            <a:extLst>
              <a:ext uri="{FF2B5EF4-FFF2-40B4-BE49-F238E27FC236}">
                <a16:creationId xmlns:a16="http://schemas.microsoft.com/office/drawing/2014/main" id="{FB51B61E-38BD-427F-9BE0-89E3197E19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0182" y="6406805"/>
            <a:ext cx="2504" cy="3757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5" name="Rectangle 515">
            <a:extLst>
              <a:ext uri="{FF2B5EF4-FFF2-40B4-BE49-F238E27FC236}">
                <a16:creationId xmlns:a16="http://schemas.microsoft.com/office/drawing/2014/main" id="{DC8F5056-F15F-4E59-8590-8B2F5760EC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2686" y="6406805"/>
            <a:ext cx="2504" cy="3757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6" name="Rectangle 516">
            <a:extLst>
              <a:ext uri="{FF2B5EF4-FFF2-40B4-BE49-F238E27FC236}">
                <a16:creationId xmlns:a16="http://schemas.microsoft.com/office/drawing/2014/main" id="{6B05DA3F-D9C4-46C4-A115-E14213EAA6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8948" y="6384265"/>
            <a:ext cx="2504" cy="26297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7" name="Rectangle 517">
            <a:extLst>
              <a:ext uri="{FF2B5EF4-FFF2-40B4-BE49-F238E27FC236}">
                <a16:creationId xmlns:a16="http://schemas.microsoft.com/office/drawing/2014/main" id="{B3EB8F57-603D-4708-A99C-DFFFDFB3E8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1452" y="6394283"/>
            <a:ext cx="2504" cy="16279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8" name="Rectangle 518">
            <a:extLst>
              <a:ext uri="{FF2B5EF4-FFF2-40B4-BE49-F238E27FC236}">
                <a16:creationId xmlns:a16="http://schemas.microsoft.com/office/drawing/2014/main" id="{0BCF47BC-4E31-4720-A1D7-37B1818694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8966" y="6403048"/>
            <a:ext cx="1253" cy="7513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9" name="Rectangle 519">
            <a:extLst>
              <a:ext uri="{FF2B5EF4-FFF2-40B4-BE49-F238E27FC236}">
                <a16:creationId xmlns:a16="http://schemas.microsoft.com/office/drawing/2014/main" id="{CC05E5E0-6857-460A-A2A8-31FA852F9F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1470" y="6399292"/>
            <a:ext cx="2504" cy="11270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0" name="Rectangle 520">
            <a:extLst>
              <a:ext uri="{FF2B5EF4-FFF2-40B4-BE49-F238E27FC236}">
                <a16:creationId xmlns:a16="http://schemas.microsoft.com/office/drawing/2014/main" id="{EA951A5E-A845-4A20-A797-EA9989BC87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7731" y="6389274"/>
            <a:ext cx="2504" cy="21288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1" name="Rectangle 521">
            <a:extLst>
              <a:ext uri="{FF2B5EF4-FFF2-40B4-BE49-F238E27FC236}">
                <a16:creationId xmlns:a16="http://schemas.microsoft.com/office/drawing/2014/main" id="{D31B98E5-C6C1-4704-8ACB-3D8C1A5A69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1488" y="6385517"/>
            <a:ext cx="1253" cy="25045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2" name="Rectangle 522">
            <a:extLst>
              <a:ext uri="{FF2B5EF4-FFF2-40B4-BE49-F238E27FC236}">
                <a16:creationId xmlns:a16="http://schemas.microsoft.com/office/drawing/2014/main" id="{9E841771-3CC2-440E-B368-D8660669C1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7749" y="6390526"/>
            <a:ext cx="1253" cy="20036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3" name="Rectangle 523">
            <a:extLst>
              <a:ext uri="{FF2B5EF4-FFF2-40B4-BE49-F238E27FC236}">
                <a16:creationId xmlns:a16="http://schemas.microsoft.com/office/drawing/2014/main" id="{ED903153-740A-4847-B34A-9EE1FFF8E5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0253" y="6394283"/>
            <a:ext cx="2504" cy="16279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4" name="Rectangle 524">
            <a:extLst>
              <a:ext uri="{FF2B5EF4-FFF2-40B4-BE49-F238E27FC236}">
                <a16:creationId xmlns:a16="http://schemas.microsoft.com/office/drawing/2014/main" id="{0A615A86-F0DA-4415-9070-3A4BC15793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6515" y="6384265"/>
            <a:ext cx="2504" cy="26297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5" name="Rectangle 525">
            <a:extLst>
              <a:ext uri="{FF2B5EF4-FFF2-40B4-BE49-F238E27FC236}">
                <a16:creationId xmlns:a16="http://schemas.microsoft.com/office/drawing/2014/main" id="{970C211B-6E85-42CC-AE85-86FFF24DC2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20271" y="6398039"/>
            <a:ext cx="1253" cy="12522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6" name="Rectangle 526">
            <a:extLst>
              <a:ext uri="{FF2B5EF4-FFF2-40B4-BE49-F238E27FC236}">
                <a16:creationId xmlns:a16="http://schemas.microsoft.com/office/drawing/2014/main" id="{5372828C-2B74-433F-9448-BDD32BBEA6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4691" y="6501975"/>
            <a:ext cx="557244" cy="11270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7" name="Rectangle 527">
            <a:extLst>
              <a:ext uri="{FF2B5EF4-FFF2-40B4-BE49-F238E27FC236}">
                <a16:creationId xmlns:a16="http://schemas.microsoft.com/office/drawing/2014/main" id="{441CD5C4-DF1F-4AA6-AE8E-0EBEFA2D64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6604" y="6513245"/>
            <a:ext cx="185331" cy="192844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8" name="Rectangle 528">
            <a:extLst>
              <a:ext uri="{FF2B5EF4-FFF2-40B4-BE49-F238E27FC236}">
                <a16:creationId xmlns:a16="http://schemas.microsoft.com/office/drawing/2014/main" id="{61A4889B-19E7-4EB3-9420-8982E21404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5943" y="6513245"/>
            <a:ext cx="171556" cy="192844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9" name="Freeform 529">
            <a:extLst>
              <a:ext uri="{FF2B5EF4-FFF2-40B4-BE49-F238E27FC236}">
                <a16:creationId xmlns:a16="http://schemas.microsoft.com/office/drawing/2014/main" id="{B333EB0C-8E44-47A4-ADE9-C668E475DE9F}"/>
              </a:ext>
            </a:extLst>
          </p:cNvPr>
          <p:cNvSpPr>
            <a:spLocks/>
          </p:cNvSpPr>
          <p:nvPr/>
        </p:nvSpPr>
        <p:spPr bwMode="auto">
          <a:xfrm>
            <a:off x="8452829" y="6484444"/>
            <a:ext cx="72630" cy="17531"/>
          </a:xfrm>
          <a:custGeom>
            <a:avLst/>
            <a:gdLst>
              <a:gd name="T0" fmla="*/ 0 w 58"/>
              <a:gd name="T1" fmla="*/ 8 h 14"/>
              <a:gd name="T2" fmla="*/ 56 w 58"/>
              <a:gd name="T3" fmla="*/ 0 h 14"/>
              <a:gd name="T4" fmla="*/ 58 w 58"/>
              <a:gd name="T5" fmla="*/ 14 h 14"/>
              <a:gd name="T6" fmla="*/ 2 w 58"/>
              <a:gd name="T7" fmla="*/ 14 h 14"/>
              <a:gd name="T8" fmla="*/ 0 w 58"/>
              <a:gd name="T9" fmla="*/ 8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" h="14">
                <a:moveTo>
                  <a:pt x="0" y="8"/>
                </a:moveTo>
                <a:lnTo>
                  <a:pt x="56" y="0"/>
                </a:lnTo>
                <a:lnTo>
                  <a:pt x="58" y="14"/>
                </a:lnTo>
                <a:lnTo>
                  <a:pt x="2" y="14"/>
                </a:lnTo>
                <a:lnTo>
                  <a:pt x="0" y="8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0" name="Freeform 530">
            <a:extLst>
              <a:ext uri="{FF2B5EF4-FFF2-40B4-BE49-F238E27FC236}">
                <a16:creationId xmlns:a16="http://schemas.microsoft.com/office/drawing/2014/main" id="{1466EB8B-82CD-4320-975E-FB03A006B0EC}"/>
              </a:ext>
            </a:extLst>
          </p:cNvPr>
          <p:cNvSpPr>
            <a:spLocks/>
          </p:cNvSpPr>
          <p:nvPr/>
        </p:nvSpPr>
        <p:spPr bwMode="auto">
          <a:xfrm>
            <a:off x="8337624" y="6484444"/>
            <a:ext cx="184079" cy="10018"/>
          </a:xfrm>
          <a:custGeom>
            <a:avLst/>
            <a:gdLst>
              <a:gd name="T0" fmla="*/ 56 w 147"/>
              <a:gd name="T1" fmla="*/ 0 h 8"/>
              <a:gd name="T2" fmla="*/ 0 w 147"/>
              <a:gd name="T3" fmla="*/ 8 h 8"/>
              <a:gd name="T4" fmla="*/ 91 w 147"/>
              <a:gd name="T5" fmla="*/ 8 h 8"/>
              <a:gd name="T6" fmla="*/ 147 w 147"/>
              <a:gd name="T7" fmla="*/ 0 h 8"/>
              <a:gd name="T8" fmla="*/ 56 w 147"/>
              <a:gd name="T9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7" h="8">
                <a:moveTo>
                  <a:pt x="56" y="0"/>
                </a:moveTo>
                <a:lnTo>
                  <a:pt x="0" y="8"/>
                </a:lnTo>
                <a:lnTo>
                  <a:pt x="91" y="8"/>
                </a:lnTo>
                <a:lnTo>
                  <a:pt x="147" y="0"/>
                </a:lnTo>
                <a:lnTo>
                  <a:pt x="56" y="0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1" name="Freeform 531">
            <a:extLst>
              <a:ext uri="{FF2B5EF4-FFF2-40B4-BE49-F238E27FC236}">
                <a16:creationId xmlns:a16="http://schemas.microsoft.com/office/drawing/2014/main" id="{7C5BF495-D559-4C2D-8B44-701A98FBFD27}"/>
              </a:ext>
            </a:extLst>
          </p:cNvPr>
          <p:cNvSpPr>
            <a:spLocks/>
          </p:cNvSpPr>
          <p:nvPr/>
        </p:nvSpPr>
        <p:spPr bwMode="auto">
          <a:xfrm>
            <a:off x="8338877" y="6494462"/>
            <a:ext cx="116458" cy="7513"/>
          </a:xfrm>
          <a:custGeom>
            <a:avLst/>
            <a:gdLst>
              <a:gd name="T0" fmla="*/ 93 w 93"/>
              <a:gd name="T1" fmla="*/ 6 h 6"/>
              <a:gd name="T2" fmla="*/ 1 w 93"/>
              <a:gd name="T3" fmla="*/ 6 h 6"/>
              <a:gd name="T4" fmla="*/ 0 w 93"/>
              <a:gd name="T5" fmla="*/ 0 h 6"/>
              <a:gd name="T6" fmla="*/ 91 w 93"/>
              <a:gd name="T7" fmla="*/ 0 h 6"/>
              <a:gd name="T8" fmla="*/ 93 w 93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" h="6">
                <a:moveTo>
                  <a:pt x="93" y="6"/>
                </a:moveTo>
                <a:lnTo>
                  <a:pt x="1" y="6"/>
                </a:lnTo>
                <a:lnTo>
                  <a:pt x="0" y="0"/>
                </a:lnTo>
                <a:lnTo>
                  <a:pt x="91" y="0"/>
                </a:lnTo>
                <a:lnTo>
                  <a:pt x="93" y="6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2" name="Freeform 532">
            <a:extLst>
              <a:ext uri="{FF2B5EF4-FFF2-40B4-BE49-F238E27FC236}">
                <a16:creationId xmlns:a16="http://schemas.microsoft.com/office/drawing/2014/main" id="{F29497F5-B49B-4FD0-BB9A-E3377FB4162B}"/>
              </a:ext>
            </a:extLst>
          </p:cNvPr>
          <p:cNvSpPr>
            <a:spLocks/>
          </p:cNvSpPr>
          <p:nvPr/>
        </p:nvSpPr>
        <p:spPr bwMode="auto">
          <a:xfrm>
            <a:off x="8366426" y="6451886"/>
            <a:ext cx="43829" cy="33811"/>
          </a:xfrm>
          <a:custGeom>
            <a:avLst/>
            <a:gdLst>
              <a:gd name="T0" fmla="*/ 0 w 83"/>
              <a:gd name="T1" fmla="*/ 37 h 67"/>
              <a:gd name="T2" fmla="*/ 16 w 83"/>
              <a:gd name="T3" fmla="*/ 67 h 67"/>
              <a:gd name="T4" fmla="*/ 35 w 83"/>
              <a:gd name="T5" fmla="*/ 55 h 67"/>
              <a:gd name="T6" fmla="*/ 46 w 83"/>
              <a:gd name="T7" fmla="*/ 21 h 67"/>
              <a:gd name="T8" fmla="*/ 72 w 83"/>
              <a:gd name="T9" fmla="*/ 16 h 67"/>
              <a:gd name="T10" fmla="*/ 73 w 83"/>
              <a:gd name="T11" fmla="*/ 3 h 67"/>
              <a:gd name="T12" fmla="*/ 31 w 83"/>
              <a:gd name="T13" fmla="*/ 13 h 67"/>
              <a:gd name="T14" fmla="*/ 0 w 83"/>
              <a:gd name="T15" fmla="*/ 37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3" h="67">
                <a:moveTo>
                  <a:pt x="0" y="37"/>
                </a:moveTo>
                <a:cubicBezTo>
                  <a:pt x="16" y="67"/>
                  <a:pt x="16" y="67"/>
                  <a:pt x="16" y="67"/>
                </a:cubicBezTo>
                <a:cubicBezTo>
                  <a:pt x="16" y="67"/>
                  <a:pt x="24" y="62"/>
                  <a:pt x="35" y="55"/>
                </a:cubicBezTo>
                <a:cubicBezTo>
                  <a:pt x="47" y="48"/>
                  <a:pt x="43" y="29"/>
                  <a:pt x="46" y="21"/>
                </a:cubicBezTo>
                <a:cubicBezTo>
                  <a:pt x="48" y="12"/>
                  <a:pt x="64" y="14"/>
                  <a:pt x="72" y="16"/>
                </a:cubicBezTo>
                <a:cubicBezTo>
                  <a:pt x="80" y="17"/>
                  <a:pt x="83" y="6"/>
                  <a:pt x="73" y="3"/>
                </a:cubicBezTo>
                <a:cubicBezTo>
                  <a:pt x="63" y="1"/>
                  <a:pt x="38" y="0"/>
                  <a:pt x="31" y="13"/>
                </a:cubicBezTo>
                <a:cubicBezTo>
                  <a:pt x="24" y="26"/>
                  <a:pt x="13" y="29"/>
                  <a:pt x="0" y="37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3" name="Freeform 533">
            <a:extLst>
              <a:ext uri="{FF2B5EF4-FFF2-40B4-BE49-F238E27FC236}">
                <a16:creationId xmlns:a16="http://schemas.microsoft.com/office/drawing/2014/main" id="{12A27BA1-2DBD-43FC-A0F0-3A055413DF88}"/>
              </a:ext>
            </a:extLst>
          </p:cNvPr>
          <p:cNvSpPr>
            <a:spLocks/>
          </p:cNvSpPr>
          <p:nvPr/>
        </p:nvSpPr>
        <p:spPr bwMode="auto">
          <a:xfrm>
            <a:off x="8377695" y="6455642"/>
            <a:ext cx="31306" cy="15027"/>
          </a:xfrm>
          <a:custGeom>
            <a:avLst/>
            <a:gdLst>
              <a:gd name="T0" fmla="*/ 9 w 60"/>
              <a:gd name="T1" fmla="*/ 10 h 30"/>
              <a:gd name="T2" fmla="*/ 52 w 60"/>
              <a:gd name="T3" fmla="*/ 15 h 30"/>
              <a:gd name="T4" fmla="*/ 46 w 60"/>
              <a:gd name="T5" fmla="*/ 26 h 30"/>
              <a:gd name="T6" fmla="*/ 20 w 60"/>
              <a:gd name="T7" fmla="*/ 22 h 30"/>
              <a:gd name="T8" fmla="*/ 9 w 60"/>
              <a:gd name="T9" fmla="*/ 1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0" h="30">
                <a:moveTo>
                  <a:pt x="9" y="10"/>
                </a:moveTo>
                <a:cubicBezTo>
                  <a:pt x="20" y="0"/>
                  <a:pt x="43" y="9"/>
                  <a:pt x="52" y="15"/>
                </a:cubicBezTo>
                <a:cubicBezTo>
                  <a:pt x="60" y="20"/>
                  <a:pt x="53" y="30"/>
                  <a:pt x="46" y="26"/>
                </a:cubicBezTo>
                <a:cubicBezTo>
                  <a:pt x="40" y="22"/>
                  <a:pt x="28" y="16"/>
                  <a:pt x="20" y="22"/>
                </a:cubicBezTo>
                <a:cubicBezTo>
                  <a:pt x="13" y="27"/>
                  <a:pt x="0" y="18"/>
                  <a:pt x="9" y="10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4" name="Freeform 534">
            <a:extLst>
              <a:ext uri="{FF2B5EF4-FFF2-40B4-BE49-F238E27FC236}">
                <a16:creationId xmlns:a16="http://schemas.microsoft.com/office/drawing/2014/main" id="{60AB96F3-8211-4483-A89E-B4C89773567A}"/>
              </a:ext>
            </a:extLst>
          </p:cNvPr>
          <p:cNvSpPr>
            <a:spLocks/>
          </p:cNvSpPr>
          <p:nvPr/>
        </p:nvSpPr>
        <p:spPr bwMode="auto">
          <a:xfrm>
            <a:off x="8372686" y="6460651"/>
            <a:ext cx="30054" cy="18784"/>
          </a:xfrm>
          <a:custGeom>
            <a:avLst/>
            <a:gdLst>
              <a:gd name="T0" fmla="*/ 10 w 58"/>
              <a:gd name="T1" fmla="*/ 8 h 35"/>
              <a:gd name="T2" fmla="*/ 51 w 58"/>
              <a:gd name="T3" fmla="*/ 20 h 35"/>
              <a:gd name="T4" fmla="*/ 44 w 58"/>
              <a:gd name="T5" fmla="*/ 30 h 35"/>
              <a:gd name="T6" fmla="*/ 19 w 58"/>
              <a:gd name="T7" fmla="*/ 22 h 35"/>
              <a:gd name="T8" fmla="*/ 10 w 58"/>
              <a:gd name="T9" fmla="*/ 8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" h="35">
                <a:moveTo>
                  <a:pt x="10" y="8"/>
                </a:moveTo>
                <a:cubicBezTo>
                  <a:pt x="23" y="0"/>
                  <a:pt x="44" y="13"/>
                  <a:pt x="51" y="20"/>
                </a:cubicBezTo>
                <a:cubicBezTo>
                  <a:pt x="58" y="27"/>
                  <a:pt x="50" y="35"/>
                  <a:pt x="44" y="30"/>
                </a:cubicBezTo>
                <a:cubicBezTo>
                  <a:pt x="38" y="25"/>
                  <a:pt x="28" y="17"/>
                  <a:pt x="19" y="22"/>
                </a:cubicBezTo>
                <a:cubicBezTo>
                  <a:pt x="11" y="26"/>
                  <a:pt x="0" y="14"/>
                  <a:pt x="10" y="8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5" name="Freeform 535">
            <a:extLst>
              <a:ext uri="{FF2B5EF4-FFF2-40B4-BE49-F238E27FC236}">
                <a16:creationId xmlns:a16="http://schemas.microsoft.com/office/drawing/2014/main" id="{BD61CE42-8826-4C33-97C2-91C66E05C65B}"/>
              </a:ext>
            </a:extLst>
          </p:cNvPr>
          <p:cNvSpPr>
            <a:spLocks/>
          </p:cNvSpPr>
          <p:nvPr/>
        </p:nvSpPr>
        <p:spPr bwMode="auto">
          <a:xfrm>
            <a:off x="8219914" y="6351707"/>
            <a:ext cx="118963" cy="177817"/>
          </a:xfrm>
          <a:custGeom>
            <a:avLst/>
            <a:gdLst>
              <a:gd name="T0" fmla="*/ 66 w 230"/>
              <a:gd name="T1" fmla="*/ 47 h 343"/>
              <a:gd name="T2" fmla="*/ 153 w 230"/>
              <a:gd name="T3" fmla="*/ 79 h 343"/>
              <a:gd name="T4" fmla="*/ 213 w 230"/>
              <a:gd name="T5" fmla="*/ 197 h 343"/>
              <a:gd name="T6" fmla="*/ 230 w 230"/>
              <a:gd name="T7" fmla="*/ 227 h 343"/>
              <a:gd name="T8" fmla="*/ 66 w 230"/>
              <a:gd name="T9" fmla="*/ 47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0" h="343">
                <a:moveTo>
                  <a:pt x="66" y="47"/>
                </a:moveTo>
                <a:cubicBezTo>
                  <a:pt x="86" y="0"/>
                  <a:pt x="168" y="38"/>
                  <a:pt x="153" y="79"/>
                </a:cubicBezTo>
                <a:cubicBezTo>
                  <a:pt x="101" y="222"/>
                  <a:pt x="87" y="255"/>
                  <a:pt x="213" y="197"/>
                </a:cubicBezTo>
                <a:cubicBezTo>
                  <a:pt x="230" y="227"/>
                  <a:pt x="230" y="227"/>
                  <a:pt x="230" y="227"/>
                </a:cubicBezTo>
                <a:cubicBezTo>
                  <a:pt x="4" y="343"/>
                  <a:pt x="0" y="206"/>
                  <a:pt x="66" y="4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6" name="Freeform 536">
            <a:extLst>
              <a:ext uri="{FF2B5EF4-FFF2-40B4-BE49-F238E27FC236}">
                <a16:creationId xmlns:a16="http://schemas.microsoft.com/office/drawing/2014/main" id="{29A99278-D52F-4D1A-B25F-700FC440DDB7}"/>
              </a:ext>
            </a:extLst>
          </p:cNvPr>
          <p:cNvSpPr>
            <a:spLocks/>
          </p:cNvSpPr>
          <p:nvPr/>
        </p:nvSpPr>
        <p:spPr bwMode="auto">
          <a:xfrm>
            <a:off x="8341381" y="6438111"/>
            <a:ext cx="31306" cy="15027"/>
          </a:xfrm>
          <a:custGeom>
            <a:avLst/>
            <a:gdLst>
              <a:gd name="T0" fmla="*/ 9 w 60"/>
              <a:gd name="T1" fmla="*/ 10 h 29"/>
              <a:gd name="T2" fmla="*/ 51 w 60"/>
              <a:gd name="T3" fmla="*/ 14 h 29"/>
              <a:gd name="T4" fmla="*/ 47 w 60"/>
              <a:gd name="T5" fmla="*/ 26 h 29"/>
              <a:gd name="T6" fmla="*/ 20 w 60"/>
              <a:gd name="T7" fmla="*/ 22 h 29"/>
              <a:gd name="T8" fmla="*/ 9 w 60"/>
              <a:gd name="T9" fmla="*/ 10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0" h="29">
                <a:moveTo>
                  <a:pt x="9" y="10"/>
                </a:moveTo>
                <a:cubicBezTo>
                  <a:pt x="19" y="0"/>
                  <a:pt x="43" y="9"/>
                  <a:pt x="51" y="14"/>
                </a:cubicBezTo>
                <a:cubicBezTo>
                  <a:pt x="60" y="19"/>
                  <a:pt x="54" y="29"/>
                  <a:pt x="47" y="26"/>
                </a:cubicBezTo>
                <a:cubicBezTo>
                  <a:pt x="40" y="22"/>
                  <a:pt x="28" y="16"/>
                  <a:pt x="20" y="22"/>
                </a:cubicBezTo>
                <a:cubicBezTo>
                  <a:pt x="13" y="28"/>
                  <a:pt x="0" y="18"/>
                  <a:pt x="9" y="10"/>
                </a:cubicBezTo>
                <a:close/>
              </a:path>
            </a:pathLst>
          </a:custGeom>
          <a:solidFill>
            <a:srgbClr val="5BBBC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7" name="Freeform 537">
            <a:extLst>
              <a:ext uri="{FF2B5EF4-FFF2-40B4-BE49-F238E27FC236}">
                <a16:creationId xmlns:a16="http://schemas.microsoft.com/office/drawing/2014/main" id="{49CF0679-6445-4311-AF2C-083DE96FCA6A}"/>
              </a:ext>
            </a:extLst>
          </p:cNvPr>
          <p:cNvSpPr>
            <a:spLocks/>
          </p:cNvSpPr>
          <p:nvPr/>
        </p:nvSpPr>
        <p:spPr bwMode="auto">
          <a:xfrm>
            <a:off x="8336372" y="6443120"/>
            <a:ext cx="31306" cy="18784"/>
          </a:xfrm>
          <a:custGeom>
            <a:avLst/>
            <a:gdLst>
              <a:gd name="T0" fmla="*/ 10 w 59"/>
              <a:gd name="T1" fmla="*/ 8 h 35"/>
              <a:gd name="T2" fmla="*/ 51 w 59"/>
              <a:gd name="T3" fmla="*/ 19 h 35"/>
              <a:gd name="T4" fmla="*/ 45 w 59"/>
              <a:gd name="T5" fmla="*/ 30 h 35"/>
              <a:gd name="T6" fmla="*/ 19 w 59"/>
              <a:gd name="T7" fmla="*/ 22 h 35"/>
              <a:gd name="T8" fmla="*/ 10 w 59"/>
              <a:gd name="T9" fmla="*/ 8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9" h="35">
                <a:moveTo>
                  <a:pt x="10" y="8"/>
                </a:moveTo>
                <a:cubicBezTo>
                  <a:pt x="22" y="0"/>
                  <a:pt x="44" y="13"/>
                  <a:pt x="51" y="19"/>
                </a:cubicBezTo>
                <a:cubicBezTo>
                  <a:pt x="59" y="26"/>
                  <a:pt x="51" y="35"/>
                  <a:pt x="45" y="30"/>
                </a:cubicBezTo>
                <a:cubicBezTo>
                  <a:pt x="38" y="25"/>
                  <a:pt x="28" y="17"/>
                  <a:pt x="19" y="22"/>
                </a:cubicBezTo>
                <a:cubicBezTo>
                  <a:pt x="12" y="26"/>
                  <a:pt x="0" y="15"/>
                  <a:pt x="10" y="8"/>
                </a:cubicBezTo>
                <a:close/>
              </a:path>
            </a:pathLst>
          </a:custGeom>
          <a:solidFill>
            <a:srgbClr val="5BBBC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8" name="Freeform 538">
            <a:extLst>
              <a:ext uri="{FF2B5EF4-FFF2-40B4-BE49-F238E27FC236}">
                <a16:creationId xmlns:a16="http://schemas.microsoft.com/office/drawing/2014/main" id="{2A0EF7B6-1800-4B3A-923B-C93E6DC31212}"/>
              </a:ext>
            </a:extLst>
          </p:cNvPr>
          <p:cNvSpPr>
            <a:spLocks/>
          </p:cNvSpPr>
          <p:nvPr/>
        </p:nvSpPr>
        <p:spPr bwMode="auto">
          <a:xfrm>
            <a:off x="8330110" y="6434354"/>
            <a:ext cx="42576" cy="35063"/>
          </a:xfrm>
          <a:custGeom>
            <a:avLst/>
            <a:gdLst>
              <a:gd name="T0" fmla="*/ 0 w 82"/>
              <a:gd name="T1" fmla="*/ 38 h 68"/>
              <a:gd name="T2" fmla="*/ 17 w 82"/>
              <a:gd name="T3" fmla="*/ 68 h 68"/>
              <a:gd name="T4" fmla="*/ 36 w 82"/>
              <a:gd name="T5" fmla="*/ 56 h 68"/>
              <a:gd name="T6" fmla="*/ 46 w 82"/>
              <a:gd name="T7" fmla="*/ 21 h 68"/>
              <a:gd name="T8" fmla="*/ 72 w 82"/>
              <a:gd name="T9" fmla="*/ 15 h 68"/>
              <a:gd name="T10" fmla="*/ 72 w 82"/>
              <a:gd name="T11" fmla="*/ 2 h 68"/>
              <a:gd name="T12" fmla="*/ 31 w 82"/>
              <a:gd name="T13" fmla="*/ 13 h 68"/>
              <a:gd name="T14" fmla="*/ 0 w 82"/>
              <a:gd name="T15" fmla="*/ 3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2" h="68">
                <a:moveTo>
                  <a:pt x="0" y="38"/>
                </a:moveTo>
                <a:cubicBezTo>
                  <a:pt x="17" y="68"/>
                  <a:pt x="17" y="68"/>
                  <a:pt x="17" y="68"/>
                </a:cubicBezTo>
                <a:cubicBezTo>
                  <a:pt x="17" y="68"/>
                  <a:pt x="25" y="63"/>
                  <a:pt x="36" y="56"/>
                </a:cubicBezTo>
                <a:cubicBezTo>
                  <a:pt x="47" y="48"/>
                  <a:pt x="43" y="29"/>
                  <a:pt x="46" y="21"/>
                </a:cubicBezTo>
                <a:cubicBezTo>
                  <a:pt x="48" y="12"/>
                  <a:pt x="64" y="14"/>
                  <a:pt x="72" y="15"/>
                </a:cubicBezTo>
                <a:cubicBezTo>
                  <a:pt x="79" y="16"/>
                  <a:pt x="82" y="4"/>
                  <a:pt x="72" y="2"/>
                </a:cubicBezTo>
                <a:cubicBezTo>
                  <a:pt x="62" y="0"/>
                  <a:pt x="37" y="1"/>
                  <a:pt x="31" y="13"/>
                </a:cubicBezTo>
                <a:cubicBezTo>
                  <a:pt x="24" y="26"/>
                  <a:pt x="13" y="30"/>
                  <a:pt x="0" y="38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9" name="Freeform 539">
            <a:extLst>
              <a:ext uri="{FF2B5EF4-FFF2-40B4-BE49-F238E27FC236}">
                <a16:creationId xmlns:a16="http://schemas.microsoft.com/office/drawing/2014/main" id="{C00561F9-8BEB-4429-AB2E-42DC5FC50FFD}"/>
              </a:ext>
            </a:extLst>
          </p:cNvPr>
          <p:cNvSpPr>
            <a:spLocks/>
          </p:cNvSpPr>
          <p:nvPr/>
        </p:nvSpPr>
        <p:spPr bwMode="auto">
          <a:xfrm>
            <a:off x="8336372" y="6459399"/>
            <a:ext cx="20036" cy="11270"/>
          </a:xfrm>
          <a:custGeom>
            <a:avLst/>
            <a:gdLst>
              <a:gd name="T0" fmla="*/ 1 w 38"/>
              <a:gd name="T1" fmla="*/ 6 h 20"/>
              <a:gd name="T2" fmla="*/ 2 w 38"/>
              <a:gd name="T3" fmla="*/ 11 h 20"/>
              <a:gd name="T4" fmla="*/ 6 w 38"/>
              <a:gd name="T5" fmla="*/ 14 h 20"/>
              <a:gd name="T6" fmla="*/ 30 w 38"/>
              <a:gd name="T7" fmla="*/ 19 h 20"/>
              <a:gd name="T8" fmla="*/ 35 w 38"/>
              <a:gd name="T9" fmla="*/ 18 h 20"/>
              <a:gd name="T10" fmla="*/ 37 w 38"/>
              <a:gd name="T11" fmla="*/ 14 h 20"/>
              <a:gd name="T12" fmla="*/ 32 w 38"/>
              <a:gd name="T13" fmla="*/ 6 h 20"/>
              <a:gd name="T14" fmla="*/ 8 w 38"/>
              <a:gd name="T15" fmla="*/ 1 h 20"/>
              <a:gd name="T16" fmla="*/ 1 w 38"/>
              <a:gd name="T17" fmla="*/ 6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8" h="20">
                <a:moveTo>
                  <a:pt x="1" y="6"/>
                </a:moveTo>
                <a:cubicBezTo>
                  <a:pt x="0" y="8"/>
                  <a:pt x="1" y="10"/>
                  <a:pt x="2" y="11"/>
                </a:cubicBezTo>
                <a:cubicBezTo>
                  <a:pt x="2" y="13"/>
                  <a:pt x="4" y="14"/>
                  <a:pt x="6" y="14"/>
                </a:cubicBezTo>
                <a:cubicBezTo>
                  <a:pt x="30" y="19"/>
                  <a:pt x="30" y="19"/>
                  <a:pt x="30" y="19"/>
                </a:cubicBezTo>
                <a:cubicBezTo>
                  <a:pt x="31" y="20"/>
                  <a:pt x="33" y="19"/>
                  <a:pt x="35" y="18"/>
                </a:cubicBezTo>
                <a:cubicBezTo>
                  <a:pt x="36" y="17"/>
                  <a:pt x="37" y="16"/>
                  <a:pt x="37" y="14"/>
                </a:cubicBezTo>
                <a:cubicBezTo>
                  <a:pt x="38" y="11"/>
                  <a:pt x="36" y="7"/>
                  <a:pt x="32" y="6"/>
                </a:cubicBezTo>
                <a:cubicBezTo>
                  <a:pt x="8" y="1"/>
                  <a:pt x="8" y="1"/>
                  <a:pt x="8" y="1"/>
                </a:cubicBezTo>
                <a:cubicBezTo>
                  <a:pt x="5" y="0"/>
                  <a:pt x="1" y="3"/>
                  <a:pt x="1" y="6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0" name="Freeform 540">
            <a:extLst>
              <a:ext uri="{FF2B5EF4-FFF2-40B4-BE49-F238E27FC236}">
                <a16:creationId xmlns:a16="http://schemas.microsoft.com/office/drawing/2014/main" id="{5ECBD375-6589-4CF9-9210-B72B1D772B50}"/>
              </a:ext>
            </a:extLst>
          </p:cNvPr>
          <p:cNvSpPr>
            <a:spLocks/>
          </p:cNvSpPr>
          <p:nvPr/>
        </p:nvSpPr>
        <p:spPr bwMode="auto">
          <a:xfrm>
            <a:off x="8184851" y="6535785"/>
            <a:ext cx="215384" cy="155277"/>
          </a:xfrm>
          <a:custGeom>
            <a:avLst/>
            <a:gdLst>
              <a:gd name="T0" fmla="*/ 0 w 415"/>
              <a:gd name="T1" fmla="*/ 62 h 297"/>
              <a:gd name="T2" fmla="*/ 106 w 415"/>
              <a:gd name="T3" fmla="*/ 0 h 297"/>
              <a:gd name="T4" fmla="*/ 294 w 415"/>
              <a:gd name="T5" fmla="*/ 297 h 297"/>
              <a:gd name="T6" fmla="*/ 267 w 415"/>
              <a:gd name="T7" fmla="*/ 296 h 297"/>
              <a:gd name="T8" fmla="*/ 55 w 415"/>
              <a:gd name="T9" fmla="*/ 97 h 297"/>
              <a:gd name="T10" fmla="*/ 0 w 415"/>
              <a:gd name="T11" fmla="*/ 62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5" h="297">
                <a:moveTo>
                  <a:pt x="0" y="62"/>
                </a:moveTo>
                <a:cubicBezTo>
                  <a:pt x="0" y="43"/>
                  <a:pt x="19" y="0"/>
                  <a:pt x="106" y="0"/>
                </a:cubicBezTo>
                <a:cubicBezTo>
                  <a:pt x="315" y="0"/>
                  <a:pt x="415" y="44"/>
                  <a:pt x="294" y="297"/>
                </a:cubicBezTo>
                <a:cubicBezTo>
                  <a:pt x="289" y="296"/>
                  <a:pt x="274" y="296"/>
                  <a:pt x="267" y="296"/>
                </a:cubicBezTo>
                <a:cubicBezTo>
                  <a:pt x="354" y="8"/>
                  <a:pt x="146" y="102"/>
                  <a:pt x="55" y="97"/>
                </a:cubicBezTo>
                <a:cubicBezTo>
                  <a:pt x="18" y="94"/>
                  <a:pt x="0" y="81"/>
                  <a:pt x="0" y="62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1" name="Freeform 541">
            <a:extLst>
              <a:ext uri="{FF2B5EF4-FFF2-40B4-BE49-F238E27FC236}">
                <a16:creationId xmlns:a16="http://schemas.microsoft.com/office/drawing/2014/main" id="{3379E3FB-D47D-4CC3-8CF7-FA5CFDFF6C36}"/>
              </a:ext>
            </a:extLst>
          </p:cNvPr>
          <p:cNvSpPr>
            <a:spLocks/>
          </p:cNvSpPr>
          <p:nvPr/>
        </p:nvSpPr>
        <p:spPr bwMode="auto">
          <a:xfrm>
            <a:off x="8321345" y="6694819"/>
            <a:ext cx="35063" cy="12522"/>
          </a:xfrm>
          <a:custGeom>
            <a:avLst/>
            <a:gdLst>
              <a:gd name="T0" fmla="*/ 28 w 68"/>
              <a:gd name="T1" fmla="*/ 0 h 24"/>
              <a:gd name="T2" fmla="*/ 52 w 68"/>
              <a:gd name="T3" fmla="*/ 6 h 24"/>
              <a:gd name="T4" fmla="*/ 56 w 68"/>
              <a:gd name="T5" fmla="*/ 17 h 24"/>
              <a:gd name="T6" fmla="*/ 20 w 68"/>
              <a:gd name="T7" fmla="*/ 15 h 24"/>
              <a:gd name="T8" fmla="*/ 20 w 68"/>
              <a:gd name="T9" fmla="*/ 20 h 24"/>
              <a:gd name="T10" fmla="*/ 0 w 68"/>
              <a:gd name="T11" fmla="*/ 20 h 24"/>
              <a:gd name="T12" fmla="*/ 2 w 68"/>
              <a:gd name="T13" fmla="*/ 1 h 24"/>
              <a:gd name="T14" fmla="*/ 28 w 68"/>
              <a:gd name="T15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8" h="24">
                <a:moveTo>
                  <a:pt x="28" y="0"/>
                </a:moveTo>
                <a:cubicBezTo>
                  <a:pt x="31" y="5"/>
                  <a:pt x="45" y="10"/>
                  <a:pt x="52" y="6"/>
                </a:cubicBezTo>
                <a:cubicBezTo>
                  <a:pt x="58" y="3"/>
                  <a:pt x="68" y="10"/>
                  <a:pt x="56" y="17"/>
                </a:cubicBezTo>
                <a:cubicBezTo>
                  <a:pt x="45" y="24"/>
                  <a:pt x="25" y="21"/>
                  <a:pt x="20" y="15"/>
                </a:cubicBezTo>
                <a:cubicBezTo>
                  <a:pt x="20" y="17"/>
                  <a:pt x="20" y="20"/>
                  <a:pt x="20" y="20"/>
                </a:cubicBezTo>
                <a:cubicBezTo>
                  <a:pt x="0" y="20"/>
                  <a:pt x="0" y="20"/>
                  <a:pt x="0" y="20"/>
                </a:cubicBezTo>
                <a:cubicBezTo>
                  <a:pt x="2" y="1"/>
                  <a:pt x="2" y="1"/>
                  <a:pt x="2" y="1"/>
                </a:cubicBezTo>
                <a:lnTo>
                  <a:pt x="28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2" name="Freeform 542">
            <a:extLst>
              <a:ext uri="{FF2B5EF4-FFF2-40B4-BE49-F238E27FC236}">
                <a16:creationId xmlns:a16="http://schemas.microsoft.com/office/drawing/2014/main" id="{2BEF6788-3EC7-48EF-8018-3BBEA45C60DE}"/>
              </a:ext>
            </a:extLst>
          </p:cNvPr>
          <p:cNvSpPr>
            <a:spLocks/>
          </p:cNvSpPr>
          <p:nvPr/>
        </p:nvSpPr>
        <p:spPr bwMode="auto">
          <a:xfrm>
            <a:off x="8184851" y="6535785"/>
            <a:ext cx="224150" cy="155277"/>
          </a:xfrm>
          <a:custGeom>
            <a:avLst/>
            <a:gdLst>
              <a:gd name="T0" fmla="*/ 0 w 432"/>
              <a:gd name="T1" fmla="*/ 62 h 297"/>
              <a:gd name="T2" fmla="*/ 106 w 432"/>
              <a:gd name="T3" fmla="*/ 0 h 297"/>
              <a:gd name="T4" fmla="*/ 382 w 432"/>
              <a:gd name="T5" fmla="*/ 297 h 297"/>
              <a:gd name="T6" fmla="*/ 355 w 432"/>
              <a:gd name="T7" fmla="*/ 296 h 297"/>
              <a:gd name="T8" fmla="*/ 55 w 432"/>
              <a:gd name="T9" fmla="*/ 97 h 297"/>
              <a:gd name="T10" fmla="*/ 0 w 432"/>
              <a:gd name="T11" fmla="*/ 62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32" h="297">
                <a:moveTo>
                  <a:pt x="0" y="62"/>
                </a:moveTo>
                <a:cubicBezTo>
                  <a:pt x="0" y="43"/>
                  <a:pt x="37" y="0"/>
                  <a:pt x="106" y="0"/>
                </a:cubicBezTo>
                <a:cubicBezTo>
                  <a:pt x="320" y="0"/>
                  <a:pt x="432" y="39"/>
                  <a:pt x="382" y="297"/>
                </a:cubicBezTo>
                <a:cubicBezTo>
                  <a:pt x="377" y="296"/>
                  <a:pt x="362" y="296"/>
                  <a:pt x="355" y="296"/>
                </a:cubicBezTo>
                <a:cubicBezTo>
                  <a:pt x="389" y="8"/>
                  <a:pt x="118" y="101"/>
                  <a:pt x="55" y="97"/>
                </a:cubicBezTo>
                <a:cubicBezTo>
                  <a:pt x="18" y="94"/>
                  <a:pt x="0" y="81"/>
                  <a:pt x="0" y="62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3" name="Freeform 543">
            <a:extLst>
              <a:ext uri="{FF2B5EF4-FFF2-40B4-BE49-F238E27FC236}">
                <a16:creationId xmlns:a16="http://schemas.microsoft.com/office/drawing/2014/main" id="{C31F25CF-70F1-4086-9CD4-6B776420864F}"/>
              </a:ext>
            </a:extLst>
          </p:cNvPr>
          <p:cNvSpPr>
            <a:spLocks/>
          </p:cNvSpPr>
          <p:nvPr/>
        </p:nvSpPr>
        <p:spPr bwMode="auto">
          <a:xfrm>
            <a:off x="8368930" y="6694819"/>
            <a:ext cx="35063" cy="12522"/>
          </a:xfrm>
          <a:custGeom>
            <a:avLst/>
            <a:gdLst>
              <a:gd name="T0" fmla="*/ 28 w 67"/>
              <a:gd name="T1" fmla="*/ 0 h 24"/>
              <a:gd name="T2" fmla="*/ 51 w 67"/>
              <a:gd name="T3" fmla="*/ 6 h 24"/>
              <a:gd name="T4" fmla="*/ 56 w 67"/>
              <a:gd name="T5" fmla="*/ 17 h 24"/>
              <a:gd name="T6" fmla="*/ 19 w 67"/>
              <a:gd name="T7" fmla="*/ 15 h 24"/>
              <a:gd name="T8" fmla="*/ 19 w 67"/>
              <a:gd name="T9" fmla="*/ 20 h 24"/>
              <a:gd name="T10" fmla="*/ 0 w 67"/>
              <a:gd name="T11" fmla="*/ 20 h 24"/>
              <a:gd name="T12" fmla="*/ 2 w 67"/>
              <a:gd name="T13" fmla="*/ 1 h 24"/>
              <a:gd name="T14" fmla="*/ 28 w 67"/>
              <a:gd name="T15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7" h="24">
                <a:moveTo>
                  <a:pt x="28" y="0"/>
                </a:moveTo>
                <a:cubicBezTo>
                  <a:pt x="30" y="5"/>
                  <a:pt x="45" y="10"/>
                  <a:pt x="51" y="6"/>
                </a:cubicBezTo>
                <a:cubicBezTo>
                  <a:pt x="58" y="3"/>
                  <a:pt x="67" y="10"/>
                  <a:pt x="56" y="17"/>
                </a:cubicBezTo>
                <a:cubicBezTo>
                  <a:pt x="44" y="24"/>
                  <a:pt x="24" y="21"/>
                  <a:pt x="19" y="15"/>
                </a:cubicBezTo>
                <a:cubicBezTo>
                  <a:pt x="19" y="17"/>
                  <a:pt x="19" y="20"/>
                  <a:pt x="19" y="20"/>
                </a:cubicBezTo>
                <a:cubicBezTo>
                  <a:pt x="0" y="20"/>
                  <a:pt x="0" y="20"/>
                  <a:pt x="0" y="20"/>
                </a:cubicBezTo>
                <a:cubicBezTo>
                  <a:pt x="2" y="1"/>
                  <a:pt x="2" y="1"/>
                  <a:pt x="2" y="1"/>
                </a:cubicBezTo>
                <a:lnTo>
                  <a:pt x="28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4" name="Freeform 544">
            <a:extLst>
              <a:ext uri="{FF2B5EF4-FFF2-40B4-BE49-F238E27FC236}">
                <a16:creationId xmlns:a16="http://schemas.microsoft.com/office/drawing/2014/main" id="{5CBE546D-40B6-4C2C-A82A-669AEDBAA1F9}"/>
              </a:ext>
            </a:extLst>
          </p:cNvPr>
          <p:cNvSpPr>
            <a:spLocks/>
          </p:cNvSpPr>
          <p:nvPr/>
        </p:nvSpPr>
        <p:spPr bwMode="auto">
          <a:xfrm>
            <a:off x="8268751" y="6317896"/>
            <a:ext cx="56351" cy="61360"/>
          </a:xfrm>
          <a:custGeom>
            <a:avLst/>
            <a:gdLst>
              <a:gd name="T0" fmla="*/ 26 w 109"/>
              <a:gd name="T1" fmla="*/ 37 h 116"/>
              <a:gd name="T2" fmla="*/ 61 w 109"/>
              <a:gd name="T3" fmla="*/ 0 h 116"/>
              <a:gd name="T4" fmla="*/ 99 w 109"/>
              <a:gd name="T5" fmla="*/ 19 h 116"/>
              <a:gd name="T6" fmla="*/ 109 w 109"/>
              <a:gd name="T7" fmla="*/ 45 h 116"/>
              <a:gd name="T8" fmla="*/ 99 w 109"/>
              <a:gd name="T9" fmla="*/ 45 h 116"/>
              <a:gd name="T10" fmla="*/ 100 w 109"/>
              <a:gd name="T11" fmla="*/ 53 h 116"/>
              <a:gd name="T12" fmla="*/ 96 w 109"/>
              <a:gd name="T13" fmla="*/ 57 h 116"/>
              <a:gd name="T14" fmla="*/ 100 w 109"/>
              <a:gd name="T15" fmla="*/ 62 h 116"/>
              <a:gd name="T16" fmla="*/ 98 w 109"/>
              <a:gd name="T17" fmla="*/ 68 h 116"/>
              <a:gd name="T18" fmla="*/ 74 w 109"/>
              <a:gd name="T19" fmla="*/ 116 h 116"/>
              <a:gd name="T20" fmla="*/ 0 w 109"/>
              <a:gd name="T21" fmla="*/ 73 h 116"/>
              <a:gd name="T22" fmla="*/ 26 w 109"/>
              <a:gd name="T23" fmla="*/ 37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9" h="116">
                <a:moveTo>
                  <a:pt x="26" y="37"/>
                </a:moveTo>
                <a:cubicBezTo>
                  <a:pt x="29" y="24"/>
                  <a:pt x="40" y="0"/>
                  <a:pt x="61" y="0"/>
                </a:cubicBezTo>
                <a:cubicBezTo>
                  <a:pt x="80" y="0"/>
                  <a:pt x="93" y="5"/>
                  <a:pt x="99" y="19"/>
                </a:cubicBezTo>
                <a:cubicBezTo>
                  <a:pt x="105" y="33"/>
                  <a:pt x="109" y="45"/>
                  <a:pt x="109" y="45"/>
                </a:cubicBezTo>
                <a:cubicBezTo>
                  <a:pt x="99" y="45"/>
                  <a:pt x="99" y="45"/>
                  <a:pt x="99" y="45"/>
                </a:cubicBezTo>
                <a:cubicBezTo>
                  <a:pt x="99" y="45"/>
                  <a:pt x="100" y="51"/>
                  <a:pt x="100" y="53"/>
                </a:cubicBezTo>
                <a:cubicBezTo>
                  <a:pt x="100" y="56"/>
                  <a:pt x="98" y="56"/>
                  <a:pt x="96" y="57"/>
                </a:cubicBezTo>
                <a:cubicBezTo>
                  <a:pt x="98" y="58"/>
                  <a:pt x="100" y="59"/>
                  <a:pt x="100" y="62"/>
                </a:cubicBezTo>
                <a:cubicBezTo>
                  <a:pt x="100" y="65"/>
                  <a:pt x="98" y="67"/>
                  <a:pt x="98" y="68"/>
                </a:cubicBezTo>
                <a:cubicBezTo>
                  <a:pt x="92" y="83"/>
                  <a:pt x="83" y="101"/>
                  <a:pt x="74" y="116"/>
                </a:cubicBezTo>
                <a:cubicBezTo>
                  <a:pt x="0" y="73"/>
                  <a:pt x="0" y="73"/>
                  <a:pt x="0" y="73"/>
                </a:cubicBezTo>
                <a:cubicBezTo>
                  <a:pt x="8" y="70"/>
                  <a:pt x="22" y="53"/>
                  <a:pt x="26" y="37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5" name="Freeform 545">
            <a:extLst>
              <a:ext uri="{FF2B5EF4-FFF2-40B4-BE49-F238E27FC236}">
                <a16:creationId xmlns:a16="http://schemas.microsoft.com/office/drawing/2014/main" id="{AE91024F-E8D8-4B77-A214-184C144433AE}"/>
              </a:ext>
            </a:extLst>
          </p:cNvPr>
          <p:cNvSpPr>
            <a:spLocks/>
          </p:cNvSpPr>
          <p:nvPr/>
        </p:nvSpPr>
        <p:spPr bwMode="auto">
          <a:xfrm>
            <a:off x="8311327" y="6329167"/>
            <a:ext cx="5009" cy="5009"/>
          </a:xfrm>
          <a:custGeom>
            <a:avLst/>
            <a:gdLst>
              <a:gd name="T0" fmla="*/ 9 w 10"/>
              <a:gd name="T1" fmla="*/ 4 h 9"/>
              <a:gd name="T2" fmla="*/ 6 w 10"/>
              <a:gd name="T3" fmla="*/ 9 h 9"/>
              <a:gd name="T4" fmla="*/ 1 w 10"/>
              <a:gd name="T5" fmla="*/ 6 h 9"/>
              <a:gd name="T6" fmla="*/ 4 w 10"/>
              <a:gd name="T7" fmla="*/ 1 h 9"/>
              <a:gd name="T8" fmla="*/ 9 w 10"/>
              <a:gd name="T9" fmla="*/ 4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" h="9">
                <a:moveTo>
                  <a:pt x="9" y="4"/>
                </a:moveTo>
                <a:cubicBezTo>
                  <a:pt x="10" y="6"/>
                  <a:pt x="9" y="8"/>
                  <a:pt x="6" y="9"/>
                </a:cubicBezTo>
                <a:cubicBezTo>
                  <a:pt x="4" y="9"/>
                  <a:pt x="2" y="8"/>
                  <a:pt x="1" y="6"/>
                </a:cubicBezTo>
                <a:cubicBezTo>
                  <a:pt x="0" y="4"/>
                  <a:pt x="2" y="1"/>
                  <a:pt x="4" y="1"/>
                </a:cubicBezTo>
                <a:cubicBezTo>
                  <a:pt x="6" y="0"/>
                  <a:pt x="9" y="1"/>
                  <a:pt x="9" y="4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6" name="Freeform 546">
            <a:extLst>
              <a:ext uri="{FF2B5EF4-FFF2-40B4-BE49-F238E27FC236}">
                <a16:creationId xmlns:a16="http://schemas.microsoft.com/office/drawing/2014/main" id="{A76E5D89-D3F8-453B-B6F9-5F403BAB4ED9}"/>
              </a:ext>
            </a:extLst>
          </p:cNvPr>
          <p:cNvSpPr>
            <a:spLocks/>
          </p:cNvSpPr>
          <p:nvPr/>
        </p:nvSpPr>
        <p:spPr bwMode="auto">
          <a:xfrm>
            <a:off x="8306318" y="6329167"/>
            <a:ext cx="5009" cy="5009"/>
          </a:xfrm>
          <a:custGeom>
            <a:avLst/>
            <a:gdLst>
              <a:gd name="T0" fmla="*/ 8 w 9"/>
              <a:gd name="T1" fmla="*/ 3 h 9"/>
              <a:gd name="T2" fmla="*/ 6 w 9"/>
              <a:gd name="T3" fmla="*/ 9 h 9"/>
              <a:gd name="T4" fmla="*/ 0 w 9"/>
              <a:gd name="T5" fmla="*/ 6 h 9"/>
              <a:gd name="T6" fmla="*/ 3 w 9"/>
              <a:gd name="T7" fmla="*/ 1 h 9"/>
              <a:gd name="T8" fmla="*/ 8 w 9"/>
              <a:gd name="T9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9">
                <a:moveTo>
                  <a:pt x="8" y="3"/>
                </a:moveTo>
                <a:cubicBezTo>
                  <a:pt x="9" y="6"/>
                  <a:pt x="8" y="8"/>
                  <a:pt x="6" y="9"/>
                </a:cubicBezTo>
                <a:cubicBezTo>
                  <a:pt x="3" y="9"/>
                  <a:pt x="1" y="8"/>
                  <a:pt x="0" y="6"/>
                </a:cubicBezTo>
                <a:cubicBezTo>
                  <a:pt x="0" y="4"/>
                  <a:pt x="1" y="1"/>
                  <a:pt x="3" y="1"/>
                </a:cubicBezTo>
                <a:cubicBezTo>
                  <a:pt x="5" y="0"/>
                  <a:pt x="8" y="1"/>
                  <a:pt x="8" y="3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7" name="Freeform 547">
            <a:extLst>
              <a:ext uri="{FF2B5EF4-FFF2-40B4-BE49-F238E27FC236}">
                <a16:creationId xmlns:a16="http://schemas.microsoft.com/office/drawing/2014/main" id="{F25EDB9B-A405-40DD-B176-113132647AA0}"/>
              </a:ext>
            </a:extLst>
          </p:cNvPr>
          <p:cNvSpPr>
            <a:spLocks/>
          </p:cNvSpPr>
          <p:nvPr/>
        </p:nvSpPr>
        <p:spPr bwMode="auto">
          <a:xfrm>
            <a:off x="8277517" y="6311636"/>
            <a:ext cx="31306" cy="26297"/>
          </a:xfrm>
          <a:custGeom>
            <a:avLst/>
            <a:gdLst>
              <a:gd name="T0" fmla="*/ 16 w 60"/>
              <a:gd name="T1" fmla="*/ 17 h 50"/>
              <a:gd name="T2" fmla="*/ 36 w 60"/>
              <a:gd name="T3" fmla="*/ 4 h 50"/>
              <a:gd name="T4" fmla="*/ 53 w 60"/>
              <a:gd name="T5" fmla="*/ 0 h 50"/>
              <a:gd name="T6" fmla="*/ 50 w 60"/>
              <a:gd name="T7" fmla="*/ 23 h 50"/>
              <a:gd name="T8" fmla="*/ 19 w 60"/>
              <a:gd name="T9" fmla="*/ 27 h 50"/>
              <a:gd name="T10" fmla="*/ 8 w 60"/>
              <a:gd name="T11" fmla="*/ 50 h 50"/>
              <a:gd name="T12" fmla="*/ 16 w 60"/>
              <a:gd name="T13" fmla="*/ 17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0" h="50">
                <a:moveTo>
                  <a:pt x="16" y="17"/>
                </a:moveTo>
                <a:cubicBezTo>
                  <a:pt x="17" y="8"/>
                  <a:pt x="27" y="1"/>
                  <a:pt x="36" y="4"/>
                </a:cubicBezTo>
                <a:cubicBezTo>
                  <a:pt x="45" y="6"/>
                  <a:pt x="53" y="4"/>
                  <a:pt x="53" y="0"/>
                </a:cubicBezTo>
                <a:cubicBezTo>
                  <a:pt x="60" y="6"/>
                  <a:pt x="58" y="18"/>
                  <a:pt x="50" y="23"/>
                </a:cubicBezTo>
                <a:cubicBezTo>
                  <a:pt x="42" y="28"/>
                  <a:pt x="22" y="27"/>
                  <a:pt x="19" y="27"/>
                </a:cubicBezTo>
                <a:cubicBezTo>
                  <a:pt x="20" y="32"/>
                  <a:pt x="13" y="50"/>
                  <a:pt x="8" y="50"/>
                </a:cubicBezTo>
                <a:cubicBezTo>
                  <a:pt x="0" y="41"/>
                  <a:pt x="2" y="17"/>
                  <a:pt x="16" y="17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8" name="Freeform 548">
            <a:extLst>
              <a:ext uri="{FF2B5EF4-FFF2-40B4-BE49-F238E27FC236}">
                <a16:creationId xmlns:a16="http://schemas.microsoft.com/office/drawing/2014/main" id="{3F42CE29-69DA-4AF6-83DF-B1AB18B0FBDA}"/>
              </a:ext>
            </a:extLst>
          </p:cNvPr>
          <p:cNvSpPr>
            <a:spLocks/>
          </p:cNvSpPr>
          <p:nvPr/>
        </p:nvSpPr>
        <p:spPr bwMode="auto">
          <a:xfrm>
            <a:off x="8167320" y="6354212"/>
            <a:ext cx="229159" cy="285509"/>
          </a:xfrm>
          <a:custGeom>
            <a:avLst/>
            <a:gdLst>
              <a:gd name="T0" fmla="*/ 188 w 442"/>
              <a:gd name="T1" fmla="*/ 0 h 548"/>
              <a:gd name="T2" fmla="*/ 282 w 442"/>
              <a:gd name="T3" fmla="*/ 53 h 548"/>
              <a:gd name="T4" fmla="*/ 233 w 442"/>
              <a:gd name="T5" fmla="*/ 345 h 548"/>
              <a:gd name="T6" fmla="*/ 442 w 442"/>
              <a:gd name="T7" fmla="*/ 527 h 548"/>
              <a:gd name="T8" fmla="*/ 293 w 442"/>
              <a:gd name="T9" fmla="*/ 533 h 548"/>
              <a:gd name="T10" fmla="*/ 187 w 442"/>
              <a:gd name="T11" fmla="*/ 438 h 548"/>
              <a:gd name="T12" fmla="*/ 36 w 442"/>
              <a:gd name="T13" fmla="*/ 438 h 548"/>
              <a:gd name="T14" fmla="*/ 188 w 442"/>
              <a:gd name="T15" fmla="*/ 0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2" h="548">
                <a:moveTo>
                  <a:pt x="188" y="0"/>
                </a:moveTo>
                <a:cubicBezTo>
                  <a:pt x="215" y="15"/>
                  <a:pt x="258" y="39"/>
                  <a:pt x="282" y="53"/>
                </a:cubicBezTo>
                <a:cubicBezTo>
                  <a:pt x="250" y="143"/>
                  <a:pt x="191" y="338"/>
                  <a:pt x="233" y="345"/>
                </a:cubicBezTo>
                <a:cubicBezTo>
                  <a:pt x="314" y="359"/>
                  <a:pt x="442" y="390"/>
                  <a:pt x="442" y="527"/>
                </a:cubicBezTo>
                <a:cubicBezTo>
                  <a:pt x="411" y="548"/>
                  <a:pt x="325" y="544"/>
                  <a:pt x="293" y="533"/>
                </a:cubicBezTo>
                <a:cubicBezTo>
                  <a:pt x="278" y="494"/>
                  <a:pt x="240" y="456"/>
                  <a:pt x="187" y="438"/>
                </a:cubicBezTo>
                <a:cubicBezTo>
                  <a:pt x="114" y="438"/>
                  <a:pt x="47" y="438"/>
                  <a:pt x="36" y="438"/>
                </a:cubicBezTo>
                <a:cubicBezTo>
                  <a:pt x="0" y="250"/>
                  <a:pt x="59" y="143"/>
                  <a:pt x="18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9" name="Freeform 549">
            <a:extLst>
              <a:ext uri="{FF2B5EF4-FFF2-40B4-BE49-F238E27FC236}">
                <a16:creationId xmlns:a16="http://schemas.microsoft.com/office/drawing/2014/main" id="{3BE802A1-985B-42F4-B93E-656C4CAB7075}"/>
              </a:ext>
            </a:extLst>
          </p:cNvPr>
          <p:cNvSpPr>
            <a:spLocks/>
          </p:cNvSpPr>
          <p:nvPr/>
        </p:nvSpPr>
        <p:spPr bwMode="auto">
          <a:xfrm>
            <a:off x="8248716" y="6369238"/>
            <a:ext cx="66369" cy="135241"/>
          </a:xfrm>
          <a:custGeom>
            <a:avLst/>
            <a:gdLst>
              <a:gd name="T0" fmla="*/ 0 w 127"/>
              <a:gd name="T1" fmla="*/ 49 h 258"/>
              <a:gd name="T2" fmla="*/ 90 w 127"/>
              <a:gd name="T3" fmla="*/ 46 h 258"/>
              <a:gd name="T4" fmla="*/ 96 w 127"/>
              <a:gd name="T5" fmla="*/ 114 h 258"/>
              <a:gd name="T6" fmla="*/ 75 w 127"/>
              <a:gd name="T7" fmla="*/ 189 h 258"/>
              <a:gd name="T8" fmla="*/ 102 w 127"/>
              <a:gd name="T9" fmla="*/ 185 h 258"/>
              <a:gd name="T10" fmla="*/ 127 w 127"/>
              <a:gd name="T11" fmla="*/ 214 h 258"/>
              <a:gd name="T12" fmla="*/ 67 w 127"/>
              <a:gd name="T13" fmla="*/ 232 h 258"/>
              <a:gd name="T14" fmla="*/ 63 w 127"/>
              <a:gd name="T15" fmla="*/ 258 h 258"/>
              <a:gd name="T16" fmla="*/ 0 w 127"/>
              <a:gd name="T17" fmla="*/ 49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7" h="258">
                <a:moveTo>
                  <a:pt x="0" y="49"/>
                </a:moveTo>
                <a:cubicBezTo>
                  <a:pt x="0" y="0"/>
                  <a:pt x="89" y="3"/>
                  <a:pt x="90" y="46"/>
                </a:cubicBezTo>
                <a:cubicBezTo>
                  <a:pt x="90" y="71"/>
                  <a:pt x="95" y="94"/>
                  <a:pt x="96" y="114"/>
                </a:cubicBezTo>
                <a:cubicBezTo>
                  <a:pt x="88" y="139"/>
                  <a:pt x="81" y="165"/>
                  <a:pt x="75" y="189"/>
                </a:cubicBezTo>
                <a:cubicBezTo>
                  <a:pt x="82" y="190"/>
                  <a:pt x="91" y="188"/>
                  <a:pt x="102" y="185"/>
                </a:cubicBezTo>
                <a:cubicBezTo>
                  <a:pt x="107" y="200"/>
                  <a:pt x="114" y="210"/>
                  <a:pt x="127" y="214"/>
                </a:cubicBezTo>
                <a:cubicBezTo>
                  <a:pt x="104" y="223"/>
                  <a:pt x="84" y="229"/>
                  <a:pt x="67" y="232"/>
                </a:cubicBezTo>
                <a:cubicBezTo>
                  <a:pt x="65" y="241"/>
                  <a:pt x="64" y="250"/>
                  <a:pt x="63" y="258"/>
                </a:cubicBezTo>
                <a:cubicBezTo>
                  <a:pt x="21" y="227"/>
                  <a:pt x="0" y="159"/>
                  <a:pt x="0" y="49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0" name="Freeform 550">
            <a:extLst>
              <a:ext uri="{FF2B5EF4-FFF2-40B4-BE49-F238E27FC236}">
                <a16:creationId xmlns:a16="http://schemas.microsoft.com/office/drawing/2014/main" id="{8B7F838E-EBC6-493F-BC56-2E4A82B40886}"/>
              </a:ext>
            </a:extLst>
          </p:cNvPr>
          <p:cNvSpPr>
            <a:spLocks/>
          </p:cNvSpPr>
          <p:nvPr/>
        </p:nvSpPr>
        <p:spPr bwMode="auto">
          <a:xfrm>
            <a:off x="8248716" y="6364229"/>
            <a:ext cx="126476" cy="189088"/>
          </a:xfrm>
          <a:custGeom>
            <a:avLst/>
            <a:gdLst>
              <a:gd name="T0" fmla="*/ 1 w 244"/>
              <a:gd name="T1" fmla="*/ 59 h 362"/>
              <a:gd name="T2" fmla="*/ 91 w 244"/>
              <a:gd name="T3" fmla="*/ 56 h 362"/>
              <a:gd name="T4" fmla="*/ 228 w 244"/>
              <a:gd name="T5" fmla="*/ 204 h 362"/>
              <a:gd name="T6" fmla="*/ 244 w 244"/>
              <a:gd name="T7" fmla="*/ 234 h 362"/>
              <a:gd name="T8" fmla="*/ 1 w 244"/>
              <a:gd name="T9" fmla="*/ 59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4" h="362">
                <a:moveTo>
                  <a:pt x="1" y="59"/>
                </a:moveTo>
                <a:cubicBezTo>
                  <a:pt x="0" y="0"/>
                  <a:pt x="90" y="4"/>
                  <a:pt x="91" y="56"/>
                </a:cubicBezTo>
                <a:cubicBezTo>
                  <a:pt x="94" y="197"/>
                  <a:pt x="77" y="275"/>
                  <a:pt x="228" y="204"/>
                </a:cubicBezTo>
                <a:cubicBezTo>
                  <a:pt x="244" y="234"/>
                  <a:pt x="244" y="234"/>
                  <a:pt x="244" y="234"/>
                </a:cubicBezTo>
                <a:cubicBezTo>
                  <a:pt x="45" y="362"/>
                  <a:pt x="4" y="201"/>
                  <a:pt x="1" y="5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1" name="Freeform 551">
            <a:extLst>
              <a:ext uri="{FF2B5EF4-FFF2-40B4-BE49-F238E27FC236}">
                <a16:creationId xmlns:a16="http://schemas.microsoft.com/office/drawing/2014/main" id="{6E3B36F6-ED1A-4302-97A9-CC01A5985A6E}"/>
              </a:ext>
            </a:extLst>
          </p:cNvPr>
          <p:cNvSpPr>
            <a:spLocks/>
          </p:cNvSpPr>
          <p:nvPr/>
        </p:nvSpPr>
        <p:spPr bwMode="auto">
          <a:xfrm>
            <a:off x="8159807" y="6582118"/>
            <a:ext cx="147764" cy="28802"/>
          </a:xfrm>
          <a:custGeom>
            <a:avLst/>
            <a:gdLst>
              <a:gd name="T0" fmla="*/ 0 w 286"/>
              <a:gd name="T1" fmla="*/ 28 h 56"/>
              <a:gd name="T2" fmla="*/ 28 w 286"/>
              <a:gd name="T3" fmla="*/ 56 h 56"/>
              <a:gd name="T4" fmla="*/ 257 w 286"/>
              <a:gd name="T5" fmla="*/ 56 h 56"/>
              <a:gd name="T6" fmla="*/ 286 w 286"/>
              <a:gd name="T7" fmla="*/ 28 h 56"/>
              <a:gd name="T8" fmla="*/ 286 w 286"/>
              <a:gd name="T9" fmla="*/ 28 h 56"/>
              <a:gd name="T10" fmla="*/ 257 w 286"/>
              <a:gd name="T11" fmla="*/ 0 h 56"/>
              <a:gd name="T12" fmla="*/ 28 w 286"/>
              <a:gd name="T13" fmla="*/ 0 h 56"/>
              <a:gd name="T14" fmla="*/ 0 w 286"/>
              <a:gd name="T15" fmla="*/ 28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6" h="56">
                <a:moveTo>
                  <a:pt x="0" y="28"/>
                </a:moveTo>
                <a:cubicBezTo>
                  <a:pt x="0" y="43"/>
                  <a:pt x="12" y="56"/>
                  <a:pt x="28" y="56"/>
                </a:cubicBezTo>
                <a:cubicBezTo>
                  <a:pt x="257" y="56"/>
                  <a:pt x="257" y="56"/>
                  <a:pt x="257" y="56"/>
                </a:cubicBezTo>
                <a:cubicBezTo>
                  <a:pt x="273" y="56"/>
                  <a:pt x="286" y="43"/>
                  <a:pt x="286" y="28"/>
                </a:cubicBezTo>
                <a:cubicBezTo>
                  <a:pt x="286" y="28"/>
                  <a:pt x="286" y="28"/>
                  <a:pt x="286" y="28"/>
                </a:cubicBezTo>
                <a:cubicBezTo>
                  <a:pt x="286" y="12"/>
                  <a:pt x="273" y="0"/>
                  <a:pt x="257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12" y="0"/>
                  <a:pt x="0" y="12"/>
                  <a:pt x="0" y="28"/>
                </a:cubicBez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2" name="Freeform 552">
            <a:extLst>
              <a:ext uri="{FF2B5EF4-FFF2-40B4-BE49-F238E27FC236}">
                <a16:creationId xmlns:a16="http://schemas.microsoft.com/office/drawing/2014/main" id="{92277D8B-41B3-46A0-BBB9-5E6F6AE4169C}"/>
              </a:ext>
            </a:extLst>
          </p:cNvPr>
          <p:cNvSpPr>
            <a:spLocks noEditPoints="1"/>
          </p:cNvSpPr>
          <p:nvPr/>
        </p:nvSpPr>
        <p:spPr bwMode="auto">
          <a:xfrm>
            <a:off x="8158555" y="6580865"/>
            <a:ext cx="150268" cy="31306"/>
          </a:xfrm>
          <a:custGeom>
            <a:avLst/>
            <a:gdLst>
              <a:gd name="T0" fmla="*/ 260 w 291"/>
              <a:gd name="T1" fmla="*/ 61 h 61"/>
              <a:gd name="T2" fmla="*/ 31 w 291"/>
              <a:gd name="T3" fmla="*/ 61 h 61"/>
              <a:gd name="T4" fmla="*/ 0 w 291"/>
              <a:gd name="T5" fmla="*/ 31 h 61"/>
              <a:gd name="T6" fmla="*/ 31 w 291"/>
              <a:gd name="T7" fmla="*/ 0 h 61"/>
              <a:gd name="T8" fmla="*/ 260 w 291"/>
              <a:gd name="T9" fmla="*/ 0 h 61"/>
              <a:gd name="T10" fmla="*/ 291 w 291"/>
              <a:gd name="T11" fmla="*/ 31 h 61"/>
              <a:gd name="T12" fmla="*/ 260 w 291"/>
              <a:gd name="T13" fmla="*/ 61 h 61"/>
              <a:gd name="T14" fmla="*/ 31 w 291"/>
              <a:gd name="T15" fmla="*/ 5 h 61"/>
              <a:gd name="T16" fmla="*/ 5 w 291"/>
              <a:gd name="T17" fmla="*/ 31 h 61"/>
              <a:gd name="T18" fmla="*/ 31 w 291"/>
              <a:gd name="T19" fmla="*/ 56 h 61"/>
              <a:gd name="T20" fmla="*/ 260 w 291"/>
              <a:gd name="T21" fmla="*/ 56 h 61"/>
              <a:gd name="T22" fmla="*/ 286 w 291"/>
              <a:gd name="T23" fmla="*/ 31 h 61"/>
              <a:gd name="T24" fmla="*/ 260 w 291"/>
              <a:gd name="T25" fmla="*/ 5 h 61"/>
              <a:gd name="T26" fmla="*/ 31 w 291"/>
              <a:gd name="T27" fmla="*/ 5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91" h="61">
                <a:moveTo>
                  <a:pt x="260" y="61"/>
                </a:moveTo>
                <a:cubicBezTo>
                  <a:pt x="31" y="61"/>
                  <a:pt x="31" y="61"/>
                  <a:pt x="31" y="61"/>
                </a:cubicBezTo>
                <a:cubicBezTo>
                  <a:pt x="14" y="61"/>
                  <a:pt x="0" y="48"/>
                  <a:pt x="0" y="31"/>
                </a:cubicBezTo>
                <a:cubicBezTo>
                  <a:pt x="0" y="14"/>
                  <a:pt x="14" y="0"/>
                  <a:pt x="31" y="0"/>
                </a:cubicBezTo>
                <a:cubicBezTo>
                  <a:pt x="260" y="0"/>
                  <a:pt x="260" y="0"/>
                  <a:pt x="260" y="0"/>
                </a:cubicBezTo>
                <a:cubicBezTo>
                  <a:pt x="277" y="0"/>
                  <a:pt x="291" y="14"/>
                  <a:pt x="291" y="31"/>
                </a:cubicBezTo>
                <a:cubicBezTo>
                  <a:pt x="291" y="48"/>
                  <a:pt x="277" y="61"/>
                  <a:pt x="260" y="61"/>
                </a:cubicBezTo>
                <a:close/>
                <a:moveTo>
                  <a:pt x="31" y="5"/>
                </a:moveTo>
                <a:cubicBezTo>
                  <a:pt x="17" y="5"/>
                  <a:pt x="5" y="17"/>
                  <a:pt x="5" y="31"/>
                </a:cubicBezTo>
                <a:cubicBezTo>
                  <a:pt x="5" y="45"/>
                  <a:pt x="17" y="56"/>
                  <a:pt x="31" y="56"/>
                </a:cubicBezTo>
                <a:cubicBezTo>
                  <a:pt x="260" y="56"/>
                  <a:pt x="260" y="56"/>
                  <a:pt x="260" y="56"/>
                </a:cubicBezTo>
                <a:cubicBezTo>
                  <a:pt x="275" y="56"/>
                  <a:pt x="286" y="45"/>
                  <a:pt x="286" y="31"/>
                </a:cubicBezTo>
                <a:cubicBezTo>
                  <a:pt x="286" y="17"/>
                  <a:pt x="275" y="5"/>
                  <a:pt x="260" y="5"/>
                </a:cubicBezTo>
                <a:cubicBezTo>
                  <a:pt x="31" y="5"/>
                  <a:pt x="31" y="5"/>
                  <a:pt x="31" y="5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3" name="Rectangle 553">
            <a:extLst>
              <a:ext uri="{FF2B5EF4-FFF2-40B4-BE49-F238E27FC236}">
                <a16:creationId xmlns:a16="http://schemas.microsoft.com/office/drawing/2014/main" id="{09B0FEAD-0DEF-4321-BF50-6D50D91841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4923" y="6610919"/>
            <a:ext cx="25045" cy="17531"/>
          </a:xfrm>
          <a:prstGeom prst="rect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4" name="Rectangle 554">
            <a:extLst>
              <a:ext uri="{FF2B5EF4-FFF2-40B4-BE49-F238E27FC236}">
                <a16:creationId xmlns:a16="http://schemas.microsoft.com/office/drawing/2014/main" id="{47E21F13-216E-4B0F-82F8-48EB11B51B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31184" y="6628450"/>
            <a:ext cx="12522" cy="5509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5" name="Rectangle 555">
            <a:extLst>
              <a:ext uri="{FF2B5EF4-FFF2-40B4-BE49-F238E27FC236}">
                <a16:creationId xmlns:a16="http://schemas.microsoft.com/office/drawing/2014/main" id="{C9B3EF27-C013-4DA1-A77F-EF170DCECC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2543" y="6678540"/>
            <a:ext cx="6262" cy="137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6" name="Rectangle 556">
            <a:extLst>
              <a:ext uri="{FF2B5EF4-FFF2-40B4-BE49-F238E27FC236}">
                <a16:creationId xmlns:a16="http://schemas.microsoft.com/office/drawing/2014/main" id="{4709AFC5-8E46-4681-BD80-EE0D566547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33689" y="6678540"/>
            <a:ext cx="7513" cy="137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7" name="Freeform 557">
            <a:extLst>
              <a:ext uri="{FF2B5EF4-FFF2-40B4-BE49-F238E27FC236}">
                <a16:creationId xmlns:a16="http://schemas.microsoft.com/office/drawing/2014/main" id="{51E51625-A889-4FE1-BF0D-F2598E975169}"/>
              </a:ext>
            </a:extLst>
          </p:cNvPr>
          <p:cNvSpPr>
            <a:spLocks/>
          </p:cNvSpPr>
          <p:nvPr/>
        </p:nvSpPr>
        <p:spPr bwMode="auto">
          <a:xfrm>
            <a:off x="8242454" y="6669774"/>
            <a:ext cx="50089" cy="15027"/>
          </a:xfrm>
          <a:custGeom>
            <a:avLst/>
            <a:gdLst>
              <a:gd name="T0" fmla="*/ 0 w 40"/>
              <a:gd name="T1" fmla="*/ 8 h 12"/>
              <a:gd name="T2" fmla="*/ 40 w 40"/>
              <a:gd name="T3" fmla="*/ 12 h 12"/>
              <a:gd name="T4" fmla="*/ 40 w 40"/>
              <a:gd name="T5" fmla="*/ 7 h 12"/>
              <a:gd name="T6" fmla="*/ 0 w 40"/>
              <a:gd name="T7" fmla="*/ 0 h 12"/>
              <a:gd name="T8" fmla="*/ 0 w 40"/>
              <a:gd name="T9" fmla="*/ 8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" h="12">
                <a:moveTo>
                  <a:pt x="0" y="8"/>
                </a:moveTo>
                <a:lnTo>
                  <a:pt x="40" y="12"/>
                </a:lnTo>
                <a:lnTo>
                  <a:pt x="40" y="7"/>
                </a:lnTo>
                <a:lnTo>
                  <a:pt x="0" y="0"/>
                </a:lnTo>
                <a:lnTo>
                  <a:pt x="0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8" name="Oval 558">
            <a:extLst>
              <a:ext uri="{FF2B5EF4-FFF2-40B4-BE49-F238E27FC236}">
                <a16:creationId xmlns:a16="http://schemas.microsoft.com/office/drawing/2014/main" id="{B8148A5C-634F-4D5B-BB56-948698CD88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8787" y="6692315"/>
            <a:ext cx="13775" cy="13775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9" name="Oval 559">
            <a:extLst>
              <a:ext uri="{FF2B5EF4-FFF2-40B4-BE49-F238E27FC236}">
                <a16:creationId xmlns:a16="http://schemas.microsoft.com/office/drawing/2014/main" id="{33B4DE62-2EC6-42F1-9E6F-29DADCAE41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9932" y="6692315"/>
            <a:ext cx="13775" cy="13775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0" name="Rectangle 560">
            <a:extLst>
              <a:ext uri="{FF2B5EF4-FFF2-40B4-BE49-F238E27FC236}">
                <a16:creationId xmlns:a16="http://schemas.microsoft.com/office/drawing/2014/main" id="{9493E086-44AC-4027-B42B-8462FBEF57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76086" y="6678540"/>
            <a:ext cx="6262" cy="137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1" name="Freeform 561">
            <a:extLst>
              <a:ext uri="{FF2B5EF4-FFF2-40B4-BE49-F238E27FC236}">
                <a16:creationId xmlns:a16="http://schemas.microsoft.com/office/drawing/2014/main" id="{17AB12D5-A1BF-46E1-9B7C-72BFBA8ED473}"/>
              </a:ext>
            </a:extLst>
          </p:cNvPr>
          <p:cNvSpPr>
            <a:spLocks/>
          </p:cNvSpPr>
          <p:nvPr/>
        </p:nvSpPr>
        <p:spPr bwMode="auto">
          <a:xfrm>
            <a:off x="8182347" y="6669774"/>
            <a:ext cx="50089" cy="15027"/>
          </a:xfrm>
          <a:custGeom>
            <a:avLst/>
            <a:gdLst>
              <a:gd name="T0" fmla="*/ 40 w 40"/>
              <a:gd name="T1" fmla="*/ 8 h 12"/>
              <a:gd name="T2" fmla="*/ 0 w 40"/>
              <a:gd name="T3" fmla="*/ 12 h 12"/>
              <a:gd name="T4" fmla="*/ 0 w 40"/>
              <a:gd name="T5" fmla="*/ 7 h 12"/>
              <a:gd name="T6" fmla="*/ 40 w 40"/>
              <a:gd name="T7" fmla="*/ 0 h 12"/>
              <a:gd name="T8" fmla="*/ 40 w 40"/>
              <a:gd name="T9" fmla="*/ 8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" h="12">
                <a:moveTo>
                  <a:pt x="40" y="8"/>
                </a:moveTo>
                <a:lnTo>
                  <a:pt x="0" y="12"/>
                </a:lnTo>
                <a:lnTo>
                  <a:pt x="0" y="7"/>
                </a:lnTo>
                <a:lnTo>
                  <a:pt x="40" y="0"/>
                </a:lnTo>
                <a:lnTo>
                  <a:pt x="40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2" name="Oval 562">
            <a:extLst>
              <a:ext uri="{FF2B5EF4-FFF2-40B4-BE49-F238E27FC236}">
                <a16:creationId xmlns:a16="http://schemas.microsoft.com/office/drawing/2014/main" id="{83E741FA-B6AC-4FD4-8AD6-72D70CEE0B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72329" y="6692315"/>
            <a:ext cx="13775" cy="13775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3" name="Rectangle 563">
            <a:extLst>
              <a:ext uri="{FF2B5EF4-FFF2-40B4-BE49-F238E27FC236}">
                <a16:creationId xmlns:a16="http://schemas.microsoft.com/office/drawing/2014/main" id="{042BF46F-B980-47C8-B5AE-DA5E938227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9341" y="6599649"/>
            <a:ext cx="103936" cy="10644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4" name="Rectangle 564">
            <a:extLst>
              <a:ext uri="{FF2B5EF4-FFF2-40B4-BE49-F238E27FC236}">
                <a16:creationId xmlns:a16="http://schemas.microsoft.com/office/drawing/2014/main" id="{1C861BA9-2C8C-4D0B-9DB1-0D27F78D88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69288" y="6599649"/>
            <a:ext cx="45080" cy="106440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5" name="Rectangle 565">
            <a:extLst>
              <a:ext uri="{FF2B5EF4-FFF2-40B4-BE49-F238E27FC236}">
                <a16:creationId xmlns:a16="http://schemas.microsoft.com/office/drawing/2014/main" id="{87F06B59-3285-48A3-8C05-AA675356D8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74296" y="6605910"/>
            <a:ext cx="33811" cy="15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6" name="Rectangle 566">
            <a:extLst>
              <a:ext uri="{FF2B5EF4-FFF2-40B4-BE49-F238E27FC236}">
                <a16:creationId xmlns:a16="http://schemas.microsoft.com/office/drawing/2014/main" id="{41D590DD-33D8-4128-93C1-0B63F21113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74296" y="6625946"/>
            <a:ext cx="33811" cy="15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7" name="Rectangle 567">
            <a:extLst>
              <a:ext uri="{FF2B5EF4-FFF2-40B4-BE49-F238E27FC236}">
                <a16:creationId xmlns:a16="http://schemas.microsoft.com/office/drawing/2014/main" id="{AE192814-854C-4C50-9D46-7A847EBC29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74296" y="6645982"/>
            <a:ext cx="33811" cy="15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8" name="Rectangle 568">
            <a:extLst>
              <a:ext uri="{FF2B5EF4-FFF2-40B4-BE49-F238E27FC236}">
                <a16:creationId xmlns:a16="http://schemas.microsoft.com/office/drawing/2014/main" id="{A182EE51-E2C9-4102-87DF-35D74618B0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5691" y="6620937"/>
            <a:ext cx="37567" cy="3757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9" name="Rectangle 569">
            <a:extLst>
              <a:ext uri="{FF2B5EF4-FFF2-40B4-BE49-F238E27FC236}">
                <a16:creationId xmlns:a16="http://schemas.microsoft.com/office/drawing/2014/main" id="{EC5483E4-895C-449B-A879-2E9C4F0F8C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5691" y="6630955"/>
            <a:ext cx="37567" cy="5009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0" name="Rectangle 570">
            <a:extLst>
              <a:ext uri="{FF2B5EF4-FFF2-40B4-BE49-F238E27FC236}">
                <a16:creationId xmlns:a16="http://schemas.microsoft.com/office/drawing/2014/main" id="{2AE8DC2B-848A-4BF6-B95B-849C93C165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5691" y="6642225"/>
            <a:ext cx="37567" cy="3757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1" name="Rectangle 571">
            <a:extLst>
              <a:ext uri="{FF2B5EF4-FFF2-40B4-BE49-F238E27FC236}">
                <a16:creationId xmlns:a16="http://schemas.microsoft.com/office/drawing/2014/main" id="{FDD85BED-A57B-4870-96A8-C11146570E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5691" y="6652243"/>
            <a:ext cx="37567" cy="3757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2" name="Rectangle 572">
            <a:extLst>
              <a:ext uri="{FF2B5EF4-FFF2-40B4-BE49-F238E27FC236}">
                <a16:creationId xmlns:a16="http://schemas.microsoft.com/office/drawing/2014/main" id="{042600B1-32B5-4322-AFB4-7DC02CEBDF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5691" y="6662261"/>
            <a:ext cx="37567" cy="5009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3" name="Rectangle 573">
            <a:extLst>
              <a:ext uri="{FF2B5EF4-FFF2-40B4-BE49-F238E27FC236}">
                <a16:creationId xmlns:a16="http://schemas.microsoft.com/office/drawing/2014/main" id="{018F57B9-F70D-43E2-B96B-D756C559F8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5691" y="6673531"/>
            <a:ext cx="37567" cy="3757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4" name="Rectangle 574">
            <a:extLst>
              <a:ext uri="{FF2B5EF4-FFF2-40B4-BE49-F238E27FC236}">
                <a16:creationId xmlns:a16="http://schemas.microsoft.com/office/drawing/2014/main" id="{AADBBD53-7C7D-40DF-BCAB-1CE58B7A28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5691" y="6683549"/>
            <a:ext cx="37567" cy="3757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5" name="Freeform 575">
            <a:extLst>
              <a:ext uri="{FF2B5EF4-FFF2-40B4-BE49-F238E27FC236}">
                <a16:creationId xmlns:a16="http://schemas.microsoft.com/office/drawing/2014/main" id="{8CE1C0CD-428E-4D2E-829C-80FB8233ABEA}"/>
              </a:ext>
            </a:extLst>
          </p:cNvPr>
          <p:cNvSpPr>
            <a:spLocks/>
          </p:cNvSpPr>
          <p:nvPr/>
        </p:nvSpPr>
        <p:spPr bwMode="auto">
          <a:xfrm>
            <a:off x="9864097" y="5984802"/>
            <a:ext cx="21288" cy="15027"/>
          </a:xfrm>
          <a:custGeom>
            <a:avLst/>
            <a:gdLst>
              <a:gd name="T0" fmla="*/ 41 w 41"/>
              <a:gd name="T1" fmla="*/ 5 h 29"/>
              <a:gd name="T2" fmla="*/ 35 w 41"/>
              <a:gd name="T3" fmla="*/ 0 h 29"/>
              <a:gd name="T4" fmla="*/ 5 w 41"/>
              <a:gd name="T5" fmla="*/ 0 h 29"/>
              <a:gd name="T6" fmla="*/ 0 w 41"/>
              <a:gd name="T7" fmla="*/ 5 h 29"/>
              <a:gd name="T8" fmla="*/ 0 w 41"/>
              <a:gd name="T9" fmla="*/ 24 h 29"/>
              <a:gd name="T10" fmla="*/ 5 w 41"/>
              <a:gd name="T11" fmla="*/ 29 h 29"/>
              <a:gd name="T12" fmla="*/ 35 w 41"/>
              <a:gd name="T13" fmla="*/ 29 h 29"/>
              <a:gd name="T14" fmla="*/ 41 w 41"/>
              <a:gd name="T15" fmla="*/ 24 h 29"/>
              <a:gd name="T16" fmla="*/ 41 w 41"/>
              <a:gd name="T17" fmla="*/ 5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1" h="29">
                <a:moveTo>
                  <a:pt x="41" y="5"/>
                </a:moveTo>
                <a:cubicBezTo>
                  <a:pt x="41" y="2"/>
                  <a:pt x="38" y="0"/>
                  <a:pt x="35" y="0"/>
                </a:cubicBezTo>
                <a:cubicBezTo>
                  <a:pt x="5" y="0"/>
                  <a:pt x="5" y="0"/>
                  <a:pt x="5" y="0"/>
                </a:cubicBezTo>
                <a:cubicBezTo>
                  <a:pt x="2" y="0"/>
                  <a:pt x="0" y="2"/>
                  <a:pt x="0" y="5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27"/>
                  <a:pt x="2" y="29"/>
                  <a:pt x="5" y="29"/>
                </a:cubicBezTo>
                <a:cubicBezTo>
                  <a:pt x="35" y="29"/>
                  <a:pt x="35" y="29"/>
                  <a:pt x="35" y="29"/>
                </a:cubicBezTo>
                <a:cubicBezTo>
                  <a:pt x="38" y="29"/>
                  <a:pt x="41" y="27"/>
                  <a:pt x="41" y="24"/>
                </a:cubicBezTo>
                <a:lnTo>
                  <a:pt x="41" y="5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6" name="Freeform 576">
            <a:extLst>
              <a:ext uri="{FF2B5EF4-FFF2-40B4-BE49-F238E27FC236}">
                <a16:creationId xmlns:a16="http://schemas.microsoft.com/office/drawing/2014/main" id="{0EA68221-375C-4BDC-83D8-11747CD16D6D}"/>
              </a:ext>
            </a:extLst>
          </p:cNvPr>
          <p:cNvSpPr>
            <a:spLocks/>
          </p:cNvSpPr>
          <p:nvPr/>
        </p:nvSpPr>
        <p:spPr bwMode="auto">
          <a:xfrm>
            <a:off x="9857836" y="5983550"/>
            <a:ext cx="10018" cy="11270"/>
          </a:xfrm>
          <a:custGeom>
            <a:avLst/>
            <a:gdLst>
              <a:gd name="T0" fmla="*/ 8 w 20"/>
              <a:gd name="T1" fmla="*/ 19 h 21"/>
              <a:gd name="T2" fmla="*/ 2 w 20"/>
              <a:gd name="T3" fmla="*/ 19 h 21"/>
              <a:gd name="T4" fmla="*/ 2 w 20"/>
              <a:gd name="T5" fmla="*/ 13 h 21"/>
              <a:gd name="T6" fmla="*/ 13 w 20"/>
              <a:gd name="T7" fmla="*/ 2 h 21"/>
              <a:gd name="T8" fmla="*/ 19 w 20"/>
              <a:gd name="T9" fmla="*/ 2 h 21"/>
              <a:gd name="T10" fmla="*/ 19 w 20"/>
              <a:gd name="T11" fmla="*/ 8 h 21"/>
              <a:gd name="T12" fmla="*/ 8 w 20"/>
              <a:gd name="T13" fmla="*/ 19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21">
                <a:moveTo>
                  <a:pt x="8" y="19"/>
                </a:moveTo>
                <a:cubicBezTo>
                  <a:pt x="6" y="21"/>
                  <a:pt x="3" y="21"/>
                  <a:pt x="2" y="19"/>
                </a:cubicBezTo>
                <a:cubicBezTo>
                  <a:pt x="0" y="17"/>
                  <a:pt x="0" y="15"/>
                  <a:pt x="2" y="13"/>
                </a:cubicBezTo>
                <a:cubicBezTo>
                  <a:pt x="13" y="2"/>
                  <a:pt x="13" y="2"/>
                  <a:pt x="13" y="2"/>
                </a:cubicBezTo>
                <a:cubicBezTo>
                  <a:pt x="14" y="0"/>
                  <a:pt x="17" y="0"/>
                  <a:pt x="19" y="2"/>
                </a:cubicBezTo>
                <a:cubicBezTo>
                  <a:pt x="20" y="4"/>
                  <a:pt x="20" y="6"/>
                  <a:pt x="19" y="8"/>
                </a:cubicBezTo>
                <a:lnTo>
                  <a:pt x="8" y="19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7" name="Freeform 577">
            <a:extLst>
              <a:ext uri="{FF2B5EF4-FFF2-40B4-BE49-F238E27FC236}">
                <a16:creationId xmlns:a16="http://schemas.microsoft.com/office/drawing/2014/main" id="{9A30981A-6BCA-48AC-9B4B-57D7F1205BA3}"/>
              </a:ext>
            </a:extLst>
          </p:cNvPr>
          <p:cNvSpPr>
            <a:spLocks/>
          </p:cNvSpPr>
          <p:nvPr/>
        </p:nvSpPr>
        <p:spPr bwMode="auto">
          <a:xfrm>
            <a:off x="9772684" y="5763157"/>
            <a:ext cx="120214" cy="221646"/>
          </a:xfrm>
          <a:custGeom>
            <a:avLst/>
            <a:gdLst>
              <a:gd name="T0" fmla="*/ 58 w 231"/>
              <a:gd name="T1" fmla="*/ 18 h 426"/>
              <a:gd name="T2" fmla="*/ 209 w 231"/>
              <a:gd name="T3" fmla="*/ 426 h 426"/>
              <a:gd name="T4" fmla="*/ 179 w 231"/>
              <a:gd name="T5" fmla="*/ 426 h 426"/>
              <a:gd name="T6" fmla="*/ 46 w 231"/>
              <a:gd name="T7" fmla="*/ 97 h 426"/>
              <a:gd name="T8" fmla="*/ 58 w 231"/>
              <a:gd name="T9" fmla="*/ 18 h 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1" h="426">
                <a:moveTo>
                  <a:pt x="58" y="18"/>
                </a:moveTo>
                <a:cubicBezTo>
                  <a:pt x="226" y="125"/>
                  <a:pt x="231" y="301"/>
                  <a:pt x="209" y="426"/>
                </a:cubicBezTo>
                <a:cubicBezTo>
                  <a:pt x="179" y="426"/>
                  <a:pt x="179" y="426"/>
                  <a:pt x="179" y="426"/>
                </a:cubicBezTo>
                <a:cubicBezTo>
                  <a:pt x="178" y="303"/>
                  <a:pt x="183" y="181"/>
                  <a:pt x="46" y="97"/>
                </a:cubicBezTo>
                <a:cubicBezTo>
                  <a:pt x="0" y="69"/>
                  <a:pt x="29" y="0"/>
                  <a:pt x="58" y="1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8" name="Rectangle 578">
            <a:extLst>
              <a:ext uri="{FF2B5EF4-FFF2-40B4-BE49-F238E27FC236}">
                <a16:creationId xmlns:a16="http://schemas.microsoft.com/office/drawing/2014/main" id="{D47CAD65-C91D-4873-B828-0B1BD7409B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30286" y="5922191"/>
            <a:ext cx="93918" cy="77638"/>
          </a:xfrm>
          <a:prstGeom prst="rect">
            <a:avLst/>
          </a:pr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9" name="Rectangle 579">
            <a:extLst>
              <a:ext uri="{FF2B5EF4-FFF2-40B4-BE49-F238E27FC236}">
                <a16:creationId xmlns:a16="http://schemas.microsoft.com/office/drawing/2014/main" id="{30FF4465-6AAA-430F-9C4C-63569338D3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37800" y="5929704"/>
            <a:ext cx="78891" cy="6261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0" name="Rectangle 580">
            <a:extLst>
              <a:ext uri="{FF2B5EF4-FFF2-40B4-BE49-F238E27FC236}">
                <a16:creationId xmlns:a16="http://schemas.microsoft.com/office/drawing/2014/main" id="{9F76838D-8F20-4FC6-9407-DD2BE32F94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25278" y="5943479"/>
            <a:ext cx="17531" cy="35063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1" name="Rectangle 581">
            <a:extLst>
              <a:ext uri="{FF2B5EF4-FFF2-40B4-BE49-F238E27FC236}">
                <a16:creationId xmlns:a16="http://schemas.microsoft.com/office/drawing/2014/main" id="{54CAE9C7-B55B-4F5A-8AC3-1335EEF5C2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60340" y="5938470"/>
            <a:ext cx="5009" cy="46333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2" name="Rectangle 582">
            <a:extLst>
              <a:ext uri="{FF2B5EF4-FFF2-40B4-BE49-F238E27FC236}">
                <a16:creationId xmlns:a16="http://schemas.microsoft.com/office/drawing/2014/main" id="{55E29FA1-4991-4F42-989D-D41FBA377E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7871" y="5938470"/>
            <a:ext cx="5009" cy="46333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3" name="Rectangle 583">
            <a:extLst>
              <a:ext uri="{FF2B5EF4-FFF2-40B4-BE49-F238E27FC236}">
                <a16:creationId xmlns:a16="http://schemas.microsoft.com/office/drawing/2014/main" id="{67EF5637-9B2C-4865-882E-CF5FFA6BED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5403" y="5938470"/>
            <a:ext cx="6262" cy="46333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4" name="Freeform 584">
            <a:extLst>
              <a:ext uri="{FF2B5EF4-FFF2-40B4-BE49-F238E27FC236}">
                <a16:creationId xmlns:a16="http://schemas.microsoft.com/office/drawing/2014/main" id="{39A24F78-C871-4A7C-AE24-06BE19C90D22}"/>
              </a:ext>
            </a:extLst>
          </p:cNvPr>
          <p:cNvSpPr>
            <a:spLocks/>
          </p:cNvSpPr>
          <p:nvPr/>
        </p:nvSpPr>
        <p:spPr bwMode="auto">
          <a:xfrm>
            <a:off x="9880376" y="5994820"/>
            <a:ext cx="5009" cy="11270"/>
          </a:xfrm>
          <a:custGeom>
            <a:avLst/>
            <a:gdLst>
              <a:gd name="T0" fmla="*/ 9 w 9"/>
              <a:gd name="T1" fmla="*/ 16 h 21"/>
              <a:gd name="T2" fmla="*/ 4 w 9"/>
              <a:gd name="T3" fmla="*/ 21 h 21"/>
              <a:gd name="T4" fmla="*/ 0 w 9"/>
              <a:gd name="T5" fmla="*/ 17 h 21"/>
              <a:gd name="T6" fmla="*/ 0 w 9"/>
              <a:gd name="T7" fmla="*/ 4 h 21"/>
              <a:gd name="T8" fmla="*/ 4 w 9"/>
              <a:gd name="T9" fmla="*/ 0 h 21"/>
              <a:gd name="T10" fmla="*/ 9 w 9"/>
              <a:gd name="T11" fmla="*/ 4 h 21"/>
              <a:gd name="T12" fmla="*/ 9 w 9"/>
              <a:gd name="T13" fmla="*/ 16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" h="21">
                <a:moveTo>
                  <a:pt x="9" y="16"/>
                </a:moveTo>
                <a:cubicBezTo>
                  <a:pt x="9" y="19"/>
                  <a:pt x="7" y="21"/>
                  <a:pt x="4" y="21"/>
                </a:cubicBezTo>
                <a:cubicBezTo>
                  <a:pt x="2" y="21"/>
                  <a:pt x="0" y="19"/>
                  <a:pt x="0" y="17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7" y="0"/>
                  <a:pt x="9" y="1"/>
                  <a:pt x="9" y="4"/>
                </a:cubicBezTo>
                <a:lnTo>
                  <a:pt x="9" y="16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5" name="Freeform 585">
            <a:extLst>
              <a:ext uri="{FF2B5EF4-FFF2-40B4-BE49-F238E27FC236}">
                <a16:creationId xmlns:a16="http://schemas.microsoft.com/office/drawing/2014/main" id="{7FEDCA84-7C1F-4876-B812-46B91CBD04F8}"/>
              </a:ext>
            </a:extLst>
          </p:cNvPr>
          <p:cNvSpPr>
            <a:spLocks/>
          </p:cNvSpPr>
          <p:nvPr/>
        </p:nvSpPr>
        <p:spPr bwMode="auto">
          <a:xfrm>
            <a:off x="9864097" y="5994820"/>
            <a:ext cx="3757" cy="11270"/>
          </a:xfrm>
          <a:custGeom>
            <a:avLst/>
            <a:gdLst>
              <a:gd name="T0" fmla="*/ 9 w 9"/>
              <a:gd name="T1" fmla="*/ 17 h 21"/>
              <a:gd name="T2" fmla="*/ 5 w 9"/>
              <a:gd name="T3" fmla="*/ 21 h 21"/>
              <a:gd name="T4" fmla="*/ 0 w 9"/>
              <a:gd name="T5" fmla="*/ 17 h 21"/>
              <a:gd name="T6" fmla="*/ 0 w 9"/>
              <a:gd name="T7" fmla="*/ 4 h 21"/>
              <a:gd name="T8" fmla="*/ 4 w 9"/>
              <a:gd name="T9" fmla="*/ 0 h 21"/>
              <a:gd name="T10" fmla="*/ 9 w 9"/>
              <a:gd name="T11" fmla="*/ 4 h 21"/>
              <a:gd name="T12" fmla="*/ 9 w 9"/>
              <a:gd name="T13" fmla="*/ 17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" h="21">
                <a:moveTo>
                  <a:pt x="9" y="17"/>
                </a:moveTo>
                <a:cubicBezTo>
                  <a:pt x="9" y="19"/>
                  <a:pt x="7" y="21"/>
                  <a:pt x="5" y="21"/>
                </a:cubicBezTo>
                <a:cubicBezTo>
                  <a:pt x="2" y="21"/>
                  <a:pt x="0" y="19"/>
                  <a:pt x="0" y="17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7" y="0"/>
                  <a:pt x="9" y="2"/>
                  <a:pt x="9" y="4"/>
                </a:cubicBezTo>
                <a:lnTo>
                  <a:pt x="9" y="17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6" name="Freeform 586">
            <a:extLst>
              <a:ext uri="{FF2B5EF4-FFF2-40B4-BE49-F238E27FC236}">
                <a16:creationId xmlns:a16="http://schemas.microsoft.com/office/drawing/2014/main" id="{42D7A665-7491-468E-B912-91CA5893079F}"/>
              </a:ext>
            </a:extLst>
          </p:cNvPr>
          <p:cNvSpPr>
            <a:spLocks/>
          </p:cNvSpPr>
          <p:nvPr/>
        </p:nvSpPr>
        <p:spPr bwMode="auto">
          <a:xfrm>
            <a:off x="9869106" y="5994820"/>
            <a:ext cx="5009" cy="11270"/>
          </a:xfrm>
          <a:custGeom>
            <a:avLst/>
            <a:gdLst>
              <a:gd name="T0" fmla="*/ 8 w 8"/>
              <a:gd name="T1" fmla="*/ 17 h 21"/>
              <a:gd name="T2" fmla="*/ 4 w 8"/>
              <a:gd name="T3" fmla="*/ 21 h 21"/>
              <a:gd name="T4" fmla="*/ 0 w 8"/>
              <a:gd name="T5" fmla="*/ 17 h 21"/>
              <a:gd name="T6" fmla="*/ 0 w 8"/>
              <a:gd name="T7" fmla="*/ 4 h 21"/>
              <a:gd name="T8" fmla="*/ 4 w 8"/>
              <a:gd name="T9" fmla="*/ 0 h 21"/>
              <a:gd name="T10" fmla="*/ 8 w 8"/>
              <a:gd name="T11" fmla="*/ 4 h 21"/>
              <a:gd name="T12" fmla="*/ 8 w 8"/>
              <a:gd name="T13" fmla="*/ 17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" h="21">
                <a:moveTo>
                  <a:pt x="8" y="17"/>
                </a:moveTo>
                <a:cubicBezTo>
                  <a:pt x="8" y="19"/>
                  <a:pt x="7" y="21"/>
                  <a:pt x="4" y="21"/>
                </a:cubicBezTo>
                <a:cubicBezTo>
                  <a:pt x="2" y="21"/>
                  <a:pt x="0" y="19"/>
                  <a:pt x="0" y="17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6" y="0"/>
                  <a:pt x="8" y="2"/>
                  <a:pt x="8" y="4"/>
                </a:cubicBezTo>
                <a:lnTo>
                  <a:pt x="8" y="17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7" name="Freeform 587">
            <a:extLst>
              <a:ext uri="{FF2B5EF4-FFF2-40B4-BE49-F238E27FC236}">
                <a16:creationId xmlns:a16="http://schemas.microsoft.com/office/drawing/2014/main" id="{1979D979-5F02-415A-8DC7-7B0918616361}"/>
              </a:ext>
            </a:extLst>
          </p:cNvPr>
          <p:cNvSpPr>
            <a:spLocks/>
          </p:cNvSpPr>
          <p:nvPr/>
        </p:nvSpPr>
        <p:spPr bwMode="auto">
          <a:xfrm>
            <a:off x="9874115" y="5994820"/>
            <a:ext cx="5009" cy="11270"/>
          </a:xfrm>
          <a:custGeom>
            <a:avLst/>
            <a:gdLst>
              <a:gd name="T0" fmla="*/ 9 w 9"/>
              <a:gd name="T1" fmla="*/ 17 h 21"/>
              <a:gd name="T2" fmla="*/ 5 w 9"/>
              <a:gd name="T3" fmla="*/ 21 h 21"/>
              <a:gd name="T4" fmla="*/ 0 w 9"/>
              <a:gd name="T5" fmla="*/ 17 h 21"/>
              <a:gd name="T6" fmla="*/ 0 w 9"/>
              <a:gd name="T7" fmla="*/ 4 h 21"/>
              <a:gd name="T8" fmla="*/ 5 w 9"/>
              <a:gd name="T9" fmla="*/ 0 h 21"/>
              <a:gd name="T10" fmla="*/ 9 w 9"/>
              <a:gd name="T11" fmla="*/ 4 h 21"/>
              <a:gd name="T12" fmla="*/ 9 w 9"/>
              <a:gd name="T13" fmla="*/ 17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" h="21">
                <a:moveTo>
                  <a:pt x="9" y="17"/>
                </a:moveTo>
                <a:cubicBezTo>
                  <a:pt x="9" y="19"/>
                  <a:pt x="7" y="21"/>
                  <a:pt x="5" y="21"/>
                </a:cubicBezTo>
                <a:cubicBezTo>
                  <a:pt x="2" y="21"/>
                  <a:pt x="0" y="19"/>
                  <a:pt x="0" y="17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5" y="0"/>
                </a:cubicBezTo>
                <a:cubicBezTo>
                  <a:pt x="7" y="0"/>
                  <a:pt x="9" y="2"/>
                  <a:pt x="9" y="4"/>
                </a:cubicBezTo>
                <a:lnTo>
                  <a:pt x="9" y="17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8" name="Freeform 588">
            <a:extLst>
              <a:ext uri="{FF2B5EF4-FFF2-40B4-BE49-F238E27FC236}">
                <a16:creationId xmlns:a16="http://schemas.microsoft.com/office/drawing/2014/main" id="{475E42F3-F263-45AE-839C-A5B1377AD0C5}"/>
              </a:ext>
            </a:extLst>
          </p:cNvPr>
          <p:cNvSpPr>
            <a:spLocks/>
          </p:cNvSpPr>
          <p:nvPr/>
        </p:nvSpPr>
        <p:spPr bwMode="auto">
          <a:xfrm>
            <a:off x="9718838" y="5715572"/>
            <a:ext cx="48838" cy="68873"/>
          </a:xfrm>
          <a:custGeom>
            <a:avLst/>
            <a:gdLst>
              <a:gd name="T0" fmla="*/ 7 w 95"/>
              <a:gd name="T1" fmla="*/ 34 h 132"/>
              <a:gd name="T2" fmla="*/ 1 w 95"/>
              <a:gd name="T3" fmla="*/ 31 h 132"/>
              <a:gd name="T4" fmla="*/ 23 w 95"/>
              <a:gd name="T5" fmla="*/ 11 h 132"/>
              <a:gd name="T6" fmla="*/ 67 w 95"/>
              <a:gd name="T7" fmla="*/ 9 h 132"/>
              <a:gd name="T8" fmla="*/ 82 w 95"/>
              <a:gd name="T9" fmla="*/ 77 h 132"/>
              <a:gd name="T10" fmla="*/ 95 w 95"/>
              <a:gd name="T11" fmla="*/ 112 h 132"/>
              <a:gd name="T12" fmla="*/ 10 w 95"/>
              <a:gd name="T13" fmla="*/ 132 h 132"/>
              <a:gd name="T14" fmla="*/ 7 w 95"/>
              <a:gd name="T15" fmla="*/ 34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5" h="132">
                <a:moveTo>
                  <a:pt x="7" y="34"/>
                </a:moveTo>
                <a:cubicBezTo>
                  <a:pt x="4" y="32"/>
                  <a:pt x="1" y="31"/>
                  <a:pt x="1" y="31"/>
                </a:cubicBezTo>
                <a:cubicBezTo>
                  <a:pt x="1" y="31"/>
                  <a:pt x="10" y="21"/>
                  <a:pt x="23" y="11"/>
                </a:cubicBezTo>
                <a:cubicBezTo>
                  <a:pt x="35" y="0"/>
                  <a:pt x="49" y="0"/>
                  <a:pt x="67" y="9"/>
                </a:cubicBezTo>
                <a:cubicBezTo>
                  <a:pt x="88" y="19"/>
                  <a:pt x="83" y="62"/>
                  <a:pt x="82" y="77"/>
                </a:cubicBezTo>
                <a:cubicBezTo>
                  <a:pt x="81" y="89"/>
                  <a:pt x="85" y="96"/>
                  <a:pt x="95" y="112"/>
                </a:cubicBezTo>
                <a:cubicBezTo>
                  <a:pt x="10" y="132"/>
                  <a:pt x="10" y="132"/>
                  <a:pt x="10" y="132"/>
                </a:cubicBezTo>
                <a:cubicBezTo>
                  <a:pt x="2" y="97"/>
                  <a:pt x="0" y="54"/>
                  <a:pt x="7" y="34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9" name="Freeform 589">
            <a:extLst>
              <a:ext uri="{FF2B5EF4-FFF2-40B4-BE49-F238E27FC236}">
                <a16:creationId xmlns:a16="http://schemas.microsoft.com/office/drawing/2014/main" id="{ED056152-B5E2-43B3-BA1E-BEAE620E515A}"/>
              </a:ext>
            </a:extLst>
          </p:cNvPr>
          <p:cNvSpPr>
            <a:spLocks/>
          </p:cNvSpPr>
          <p:nvPr/>
        </p:nvSpPr>
        <p:spPr bwMode="auto">
          <a:xfrm>
            <a:off x="9702559" y="6186412"/>
            <a:ext cx="41324" cy="13775"/>
          </a:xfrm>
          <a:custGeom>
            <a:avLst/>
            <a:gdLst>
              <a:gd name="T0" fmla="*/ 49 w 81"/>
              <a:gd name="T1" fmla="*/ 0 h 26"/>
              <a:gd name="T2" fmla="*/ 23 w 81"/>
              <a:gd name="T3" fmla="*/ 7 h 26"/>
              <a:gd name="T4" fmla="*/ 13 w 81"/>
              <a:gd name="T5" fmla="*/ 18 h 26"/>
              <a:gd name="T6" fmla="*/ 59 w 81"/>
              <a:gd name="T7" fmla="*/ 16 h 26"/>
              <a:gd name="T8" fmla="*/ 59 w 81"/>
              <a:gd name="T9" fmla="*/ 22 h 26"/>
              <a:gd name="T10" fmla="*/ 81 w 81"/>
              <a:gd name="T11" fmla="*/ 22 h 26"/>
              <a:gd name="T12" fmla="*/ 79 w 81"/>
              <a:gd name="T13" fmla="*/ 0 h 26"/>
              <a:gd name="T14" fmla="*/ 49 w 81"/>
              <a:gd name="T15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1" h="26">
                <a:moveTo>
                  <a:pt x="49" y="0"/>
                </a:moveTo>
                <a:cubicBezTo>
                  <a:pt x="47" y="5"/>
                  <a:pt x="30" y="11"/>
                  <a:pt x="23" y="7"/>
                </a:cubicBezTo>
                <a:cubicBezTo>
                  <a:pt x="16" y="3"/>
                  <a:pt x="0" y="10"/>
                  <a:pt x="13" y="18"/>
                </a:cubicBezTo>
                <a:cubicBezTo>
                  <a:pt x="25" y="26"/>
                  <a:pt x="53" y="23"/>
                  <a:pt x="59" y="16"/>
                </a:cubicBezTo>
                <a:cubicBezTo>
                  <a:pt x="59" y="19"/>
                  <a:pt x="59" y="22"/>
                  <a:pt x="59" y="22"/>
                </a:cubicBezTo>
                <a:cubicBezTo>
                  <a:pt x="81" y="22"/>
                  <a:pt x="81" y="22"/>
                  <a:pt x="81" y="22"/>
                </a:cubicBezTo>
                <a:cubicBezTo>
                  <a:pt x="79" y="0"/>
                  <a:pt x="79" y="0"/>
                  <a:pt x="79" y="0"/>
                </a:cubicBezTo>
                <a:lnTo>
                  <a:pt x="49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0" name="Freeform 590">
            <a:extLst>
              <a:ext uri="{FF2B5EF4-FFF2-40B4-BE49-F238E27FC236}">
                <a16:creationId xmlns:a16="http://schemas.microsoft.com/office/drawing/2014/main" id="{D3DAA757-1B59-44F6-9121-2FA9327A4C90}"/>
              </a:ext>
            </a:extLst>
          </p:cNvPr>
          <p:cNvSpPr>
            <a:spLocks/>
          </p:cNvSpPr>
          <p:nvPr/>
        </p:nvSpPr>
        <p:spPr bwMode="auto">
          <a:xfrm>
            <a:off x="9723847" y="5939722"/>
            <a:ext cx="70125" cy="239177"/>
          </a:xfrm>
          <a:custGeom>
            <a:avLst/>
            <a:gdLst>
              <a:gd name="T0" fmla="*/ 8 w 136"/>
              <a:gd name="T1" fmla="*/ 80 h 458"/>
              <a:gd name="T2" fmla="*/ 117 w 136"/>
              <a:gd name="T3" fmla="*/ 80 h 458"/>
              <a:gd name="T4" fmla="*/ 36 w 136"/>
              <a:gd name="T5" fmla="*/ 458 h 458"/>
              <a:gd name="T6" fmla="*/ 10 w 136"/>
              <a:gd name="T7" fmla="*/ 458 h 458"/>
              <a:gd name="T8" fmla="*/ 8 w 136"/>
              <a:gd name="T9" fmla="*/ 80 h 4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6" h="458">
                <a:moveTo>
                  <a:pt x="8" y="80"/>
                </a:moveTo>
                <a:cubicBezTo>
                  <a:pt x="14" y="0"/>
                  <a:pt x="136" y="1"/>
                  <a:pt x="117" y="80"/>
                </a:cubicBezTo>
                <a:cubicBezTo>
                  <a:pt x="88" y="196"/>
                  <a:pt x="59" y="326"/>
                  <a:pt x="36" y="458"/>
                </a:cubicBezTo>
                <a:cubicBezTo>
                  <a:pt x="10" y="458"/>
                  <a:pt x="10" y="458"/>
                  <a:pt x="10" y="458"/>
                </a:cubicBezTo>
                <a:cubicBezTo>
                  <a:pt x="16" y="330"/>
                  <a:pt x="0" y="178"/>
                  <a:pt x="8" y="8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1" name="Freeform 591">
            <a:extLst>
              <a:ext uri="{FF2B5EF4-FFF2-40B4-BE49-F238E27FC236}">
                <a16:creationId xmlns:a16="http://schemas.microsoft.com/office/drawing/2014/main" id="{444AC69F-B1DE-4B77-A3F9-0DB6F9717059}"/>
              </a:ext>
            </a:extLst>
          </p:cNvPr>
          <p:cNvSpPr>
            <a:spLocks/>
          </p:cNvSpPr>
          <p:nvPr/>
        </p:nvSpPr>
        <p:spPr bwMode="auto">
          <a:xfrm>
            <a:off x="9792719" y="6186412"/>
            <a:ext cx="42576" cy="13775"/>
          </a:xfrm>
          <a:custGeom>
            <a:avLst/>
            <a:gdLst>
              <a:gd name="T0" fmla="*/ 49 w 81"/>
              <a:gd name="T1" fmla="*/ 0 h 26"/>
              <a:gd name="T2" fmla="*/ 23 w 81"/>
              <a:gd name="T3" fmla="*/ 7 h 26"/>
              <a:gd name="T4" fmla="*/ 12 w 81"/>
              <a:gd name="T5" fmla="*/ 18 h 26"/>
              <a:gd name="T6" fmla="*/ 59 w 81"/>
              <a:gd name="T7" fmla="*/ 16 h 26"/>
              <a:gd name="T8" fmla="*/ 59 w 81"/>
              <a:gd name="T9" fmla="*/ 22 h 26"/>
              <a:gd name="T10" fmla="*/ 81 w 81"/>
              <a:gd name="T11" fmla="*/ 22 h 26"/>
              <a:gd name="T12" fmla="*/ 78 w 81"/>
              <a:gd name="T13" fmla="*/ 0 h 26"/>
              <a:gd name="T14" fmla="*/ 49 w 81"/>
              <a:gd name="T15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1" h="26">
                <a:moveTo>
                  <a:pt x="49" y="0"/>
                </a:moveTo>
                <a:cubicBezTo>
                  <a:pt x="46" y="5"/>
                  <a:pt x="30" y="11"/>
                  <a:pt x="23" y="7"/>
                </a:cubicBezTo>
                <a:cubicBezTo>
                  <a:pt x="15" y="3"/>
                  <a:pt x="0" y="10"/>
                  <a:pt x="12" y="18"/>
                </a:cubicBezTo>
                <a:cubicBezTo>
                  <a:pt x="25" y="26"/>
                  <a:pt x="53" y="23"/>
                  <a:pt x="59" y="16"/>
                </a:cubicBezTo>
                <a:cubicBezTo>
                  <a:pt x="59" y="19"/>
                  <a:pt x="59" y="22"/>
                  <a:pt x="59" y="22"/>
                </a:cubicBezTo>
                <a:cubicBezTo>
                  <a:pt x="81" y="22"/>
                  <a:pt x="81" y="22"/>
                  <a:pt x="81" y="22"/>
                </a:cubicBezTo>
                <a:cubicBezTo>
                  <a:pt x="78" y="0"/>
                  <a:pt x="78" y="0"/>
                  <a:pt x="78" y="0"/>
                </a:cubicBezTo>
                <a:lnTo>
                  <a:pt x="49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2" name="Freeform 592">
            <a:extLst>
              <a:ext uri="{FF2B5EF4-FFF2-40B4-BE49-F238E27FC236}">
                <a16:creationId xmlns:a16="http://schemas.microsoft.com/office/drawing/2014/main" id="{16C18254-7077-4118-AF1C-7C1AFE4A5B43}"/>
              </a:ext>
            </a:extLst>
          </p:cNvPr>
          <p:cNvSpPr>
            <a:spLocks/>
          </p:cNvSpPr>
          <p:nvPr/>
        </p:nvSpPr>
        <p:spPr bwMode="auto">
          <a:xfrm>
            <a:off x="9773936" y="5938470"/>
            <a:ext cx="63864" cy="240429"/>
          </a:xfrm>
          <a:custGeom>
            <a:avLst/>
            <a:gdLst>
              <a:gd name="T0" fmla="*/ 8 w 122"/>
              <a:gd name="T1" fmla="*/ 83 h 461"/>
              <a:gd name="T2" fmla="*/ 113 w 122"/>
              <a:gd name="T3" fmla="*/ 80 h 461"/>
              <a:gd name="T4" fmla="*/ 113 w 122"/>
              <a:gd name="T5" fmla="*/ 461 h 461"/>
              <a:gd name="T6" fmla="*/ 87 w 122"/>
              <a:gd name="T7" fmla="*/ 461 h 461"/>
              <a:gd name="T8" fmla="*/ 8 w 122"/>
              <a:gd name="T9" fmla="*/ 83 h 4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2" h="461">
                <a:moveTo>
                  <a:pt x="8" y="83"/>
                </a:moveTo>
                <a:cubicBezTo>
                  <a:pt x="13" y="3"/>
                  <a:pt x="122" y="0"/>
                  <a:pt x="113" y="80"/>
                </a:cubicBezTo>
                <a:cubicBezTo>
                  <a:pt x="100" y="203"/>
                  <a:pt x="110" y="312"/>
                  <a:pt x="113" y="461"/>
                </a:cubicBezTo>
                <a:cubicBezTo>
                  <a:pt x="87" y="461"/>
                  <a:pt x="87" y="461"/>
                  <a:pt x="87" y="461"/>
                </a:cubicBezTo>
                <a:cubicBezTo>
                  <a:pt x="60" y="317"/>
                  <a:pt x="0" y="181"/>
                  <a:pt x="8" y="83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3" name="Freeform 593">
            <a:extLst>
              <a:ext uri="{FF2B5EF4-FFF2-40B4-BE49-F238E27FC236}">
                <a16:creationId xmlns:a16="http://schemas.microsoft.com/office/drawing/2014/main" id="{1BB6039E-5CF2-4CCB-AB79-0F9DFAE0D0B4}"/>
              </a:ext>
            </a:extLst>
          </p:cNvPr>
          <p:cNvSpPr>
            <a:spLocks/>
          </p:cNvSpPr>
          <p:nvPr/>
        </p:nvSpPr>
        <p:spPr bwMode="auto">
          <a:xfrm>
            <a:off x="9692541" y="5758148"/>
            <a:ext cx="146512" cy="361896"/>
          </a:xfrm>
          <a:custGeom>
            <a:avLst/>
            <a:gdLst>
              <a:gd name="T0" fmla="*/ 1 w 283"/>
              <a:gd name="T1" fmla="*/ 77 h 698"/>
              <a:gd name="T2" fmla="*/ 214 w 283"/>
              <a:gd name="T3" fmla="*/ 28 h 698"/>
              <a:gd name="T4" fmla="*/ 283 w 283"/>
              <a:gd name="T5" fmla="*/ 698 h 698"/>
              <a:gd name="T6" fmla="*/ 184 w 283"/>
              <a:gd name="T7" fmla="*/ 698 h 698"/>
              <a:gd name="T8" fmla="*/ 172 w 283"/>
              <a:gd name="T9" fmla="*/ 580 h 698"/>
              <a:gd name="T10" fmla="*/ 155 w 283"/>
              <a:gd name="T11" fmla="*/ 698 h 698"/>
              <a:gd name="T12" fmla="*/ 47 w 283"/>
              <a:gd name="T13" fmla="*/ 698 h 698"/>
              <a:gd name="T14" fmla="*/ 1 w 283"/>
              <a:gd name="T15" fmla="*/ 77 h 6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3" h="698">
                <a:moveTo>
                  <a:pt x="1" y="77"/>
                </a:moveTo>
                <a:cubicBezTo>
                  <a:pt x="0" y="43"/>
                  <a:pt x="165" y="0"/>
                  <a:pt x="214" y="28"/>
                </a:cubicBezTo>
                <a:cubicBezTo>
                  <a:pt x="262" y="56"/>
                  <a:pt x="283" y="439"/>
                  <a:pt x="283" y="698"/>
                </a:cubicBezTo>
                <a:cubicBezTo>
                  <a:pt x="184" y="698"/>
                  <a:pt x="184" y="698"/>
                  <a:pt x="184" y="698"/>
                </a:cubicBezTo>
                <a:cubicBezTo>
                  <a:pt x="172" y="580"/>
                  <a:pt x="172" y="580"/>
                  <a:pt x="172" y="580"/>
                </a:cubicBezTo>
                <a:cubicBezTo>
                  <a:pt x="155" y="698"/>
                  <a:pt x="155" y="698"/>
                  <a:pt x="155" y="698"/>
                </a:cubicBezTo>
                <a:cubicBezTo>
                  <a:pt x="47" y="698"/>
                  <a:pt x="47" y="698"/>
                  <a:pt x="47" y="698"/>
                </a:cubicBezTo>
                <a:cubicBezTo>
                  <a:pt x="47" y="453"/>
                  <a:pt x="1" y="100"/>
                  <a:pt x="1" y="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4" name="Freeform 594">
            <a:extLst>
              <a:ext uri="{FF2B5EF4-FFF2-40B4-BE49-F238E27FC236}">
                <a16:creationId xmlns:a16="http://schemas.microsoft.com/office/drawing/2014/main" id="{2D0EF57A-FDAF-483F-9C67-EE2D5A998AB2}"/>
              </a:ext>
            </a:extLst>
          </p:cNvPr>
          <p:cNvSpPr>
            <a:spLocks/>
          </p:cNvSpPr>
          <p:nvPr/>
        </p:nvSpPr>
        <p:spPr bwMode="auto">
          <a:xfrm>
            <a:off x="9727603" y="5703050"/>
            <a:ext cx="51342" cy="56351"/>
          </a:xfrm>
          <a:custGeom>
            <a:avLst/>
            <a:gdLst>
              <a:gd name="T0" fmla="*/ 0 w 98"/>
              <a:gd name="T1" fmla="*/ 56 h 108"/>
              <a:gd name="T2" fmla="*/ 7 w 98"/>
              <a:gd name="T3" fmla="*/ 30 h 108"/>
              <a:gd name="T4" fmla="*/ 19 w 98"/>
              <a:gd name="T5" fmla="*/ 0 h 108"/>
              <a:gd name="T6" fmla="*/ 76 w 98"/>
              <a:gd name="T7" fmla="*/ 28 h 108"/>
              <a:gd name="T8" fmla="*/ 64 w 98"/>
              <a:gd name="T9" fmla="*/ 100 h 108"/>
              <a:gd name="T10" fmla="*/ 20 w 98"/>
              <a:gd name="T11" fmla="*/ 86 h 108"/>
              <a:gd name="T12" fmla="*/ 19 w 98"/>
              <a:gd name="T13" fmla="*/ 50 h 108"/>
              <a:gd name="T14" fmla="*/ 5 w 98"/>
              <a:gd name="T15" fmla="*/ 57 h 108"/>
              <a:gd name="T16" fmla="*/ 0 w 98"/>
              <a:gd name="T17" fmla="*/ 5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8" h="108">
                <a:moveTo>
                  <a:pt x="0" y="56"/>
                </a:moveTo>
                <a:cubicBezTo>
                  <a:pt x="1" y="50"/>
                  <a:pt x="4" y="36"/>
                  <a:pt x="7" y="30"/>
                </a:cubicBezTo>
                <a:cubicBezTo>
                  <a:pt x="1" y="24"/>
                  <a:pt x="5" y="5"/>
                  <a:pt x="19" y="0"/>
                </a:cubicBezTo>
                <a:cubicBezTo>
                  <a:pt x="19" y="11"/>
                  <a:pt x="55" y="9"/>
                  <a:pt x="76" y="28"/>
                </a:cubicBezTo>
                <a:cubicBezTo>
                  <a:pt x="98" y="46"/>
                  <a:pt x="80" y="81"/>
                  <a:pt x="64" y="100"/>
                </a:cubicBezTo>
                <a:cubicBezTo>
                  <a:pt x="57" y="108"/>
                  <a:pt x="24" y="96"/>
                  <a:pt x="20" y="86"/>
                </a:cubicBezTo>
                <a:cubicBezTo>
                  <a:pt x="16" y="76"/>
                  <a:pt x="21" y="56"/>
                  <a:pt x="19" y="50"/>
                </a:cubicBezTo>
                <a:cubicBezTo>
                  <a:pt x="16" y="43"/>
                  <a:pt x="7" y="50"/>
                  <a:pt x="5" y="57"/>
                </a:cubicBezTo>
                <a:cubicBezTo>
                  <a:pt x="3" y="57"/>
                  <a:pt x="1" y="56"/>
                  <a:pt x="0" y="56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5" name="Freeform 595">
            <a:extLst>
              <a:ext uri="{FF2B5EF4-FFF2-40B4-BE49-F238E27FC236}">
                <a16:creationId xmlns:a16="http://schemas.microsoft.com/office/drawing/2014/main" id="{51BA7216-9813-41D3-8F27-114FB68A2204}"/>
              </a:ext>
            </a:extLst>
          </p:cNvPr>
          <p:cNvSpPr>
            <a:spLocks/>
          </p:cNvSpPr>
          <p:nvPr/>
        </p:nvSpPr>
        <p:spPr bwMode="auto">
          <a:xfrm>
            <a:off x="9583597" y="5718077"/>
            <a:ext cx="6262" cy="11270"/>
          </a:xfrm>
          <a:custGeom>
            <a:avLst/>
            <a:gdLst>
              <a:gd name="T0" fmla="*/ 0 w 11"/>
              <a:gd name="T1" fmla="*/ 5 h 22"/>
              <a:gd name="T2" fmla="*/ 3 w 11"/>
              <a:gd name="T3" fmla="*/ 0 h 22"/>
              <a:gd name="T4" fmla="*/ 8 w 11"/>
              <a:gd name="T5" fmla="*/ 3 h 22"/>
              <a:gd name="T6" fmla="*/ 11 w 11"/>
              <a:gd name="T7" fmla="*/ 17 h 22"/>
              <a:gd name="T8" fmla="*/ 8 w 11"/>
              <a:gd name="T9" fmla="*/ 22 h 22"/>
              <a:gd name="T10" fmla="*/ 3 w 11"/>
              <a:gd name="T11" fmla="*/ 19 h 22"/>
              <a:gd name="T12" fmla="*/ 0 w 11"/>
              <a:gd name="T13" fmla="*/ 5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" h="22">
                <a:moveTo>
                  <a:pt x="0" y="5"/>
                </a:moveTo>
                <a:cubicBezTo>
                  <a:pt x="0" y="3"/>
                  <a:pt x="1" y="1"/>
                  <a:pt x="3" y="0"/>
                </a:cubicBezTo>
                <a:cubicBezTo>
                  <a:pt x="5" y="0"/>
                  <a:pt x="7" y="1"/>
                  <a:pt x="8" y="3"/>
                </a:cubicBezTo>
                <a:cubicBezTo>
                  <a:pt x="11" y="17"/>
                  <a:pt x="11" y="17"/>
                  <a:pt x="11" y="17"/>
                </a:cubicBezTo>
                <a:cubicBezTo>
                  <a:pt x="11" y="19"/>
                  <a:pt x="10" y="21"/>
                  <a:pt x="8" y="22"/>
                </a:cubicBezTo>
                <a:cubicBezTo>
                  <a:pt x="6" y="22"/>
                  <a:pt x="3" y="21"/>
                  <a:pt x="3" y="19"/>
                </a:cubicBezTo>
                <a:lnTo>
                  <a:pt x="0" y="5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6" name="Freeform 596">
            <a:extLst>
              <a:ext uri="{FF2B5EF4-FFF2-40B4-BE49-F238E27FC236}">
                <a16:creationId xmlns:a16="http://schemas.microsoft.com/office/drawing/2014/main" id="{30764F5C-5BA0-47D1-AEDC-09D434156D93}"/>
              </a:ext>
            </a:extLst>
          </p:cNvPr>
          <p:cNvSpPr>
            <a:spLocks/>
          </p:cNvSpPr>
          <p:nvPr/>
        </p:nvSpPr>
        <p:spPr bwMode="auto">
          <a:xfrm>
            <a:off x="9583597" y="5731851"/>
            <a:ext cx="159034" cy="140250"/>
          </a:xfrm>
          <a:custGeom>
            <a:avLst/>
            <a:gdLst>
              <a:gd name="T0" fmla="*/ 223 w 308"/>
              <a:gd name="T1" fmla="*/ 109 h 268"/>
              <a:gd name="T2" fmla="*/ 15 w 308"/>
              <a:gd name="T3" fmla="*/ 0 h 268"/>
              <a:gd name="T4" fmla="*/ 0 w 308"/>
              <a:gd name="T5" fmla="*/ 23 h 268"/>
              <a:gd name="T6" fmla="*/ 240 w 308"/>
              <a:gd name="T7" fmla="*/ 191 h 268"/>
              <a:gd name="T8" fmla="*/ 223 w 308"/>
              <a:gd name="T9" fmla="*/ 109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8" h="268">
                <a:moveTo>
                  <a:pt x="223" y="109"/>
                </a:moveTo>
                <a:cubicBezTo>
                  <a:pt x="94" y="182"/>
                  <a:pt x="62" y="121"/>
                  <a:pt x="15" y="0"/>
                </a:cubicBezTo>
                <a:cubicBezTo>
                  <a:pt x="0" y="23"/>
                  <a:pt x="0" y="23"/>
                  <a:pt x="0" y="23"/>
                </a:cubicBezTo>
                <a:cubicBezTo>
                  <a:pt x="32" y="182"/>
                  <a:pt x="62" y="268"/>
                  <a:pt x="240" y="191"/>
                </a:cubicBezTo>
                <a:cubicBezTo>
                  <a:pt x="308" y="162"/>
                  <a:pt x="255" y="91"/>
                  <a:pt x="223" y="10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7" name="Freeform 597">
            <a:extLst>
              <a:ext uri="{FF2B5EF4-FFF2-40B4-BE49-F238E27FC236}">
                <a16:creationId xmlns:a16="http://schemas.microsoft.com/office/drawing/2014/main" id="{F60B9C22-227E-4A58-AFD6-6954C0DB8138}"/>
              </a:ext>
            </a:extLst>
          </p:cNvPr>
          <p:cNvSpPr>
            <a:spLocks/>
          </p:cNvSpPr>
          <p:nvPr/>
        </p:nvSpPr>
        <p:spPr bwMode="auto">
          <a:xfrm>
            <a:off x="9562308" y="5674248"/>
            <a:ext cx="52594" cy="75134"/>
          </a:xfrm>
          <a:custGeom>
            <a:avLst/>
            <a:gdLst>
              <a:gd name="T0" fmla="*/ 42 w 42"/>
              <a:gd name="T1" fmla="*/ 4 h 60"/>
              <a:gd name="T2" fmla="*/ 36 w 42"/>
              <a:gd name="T3" fmla="*/ 0 h 60"/>
              <a:gd name="T4" fmla="*/ 0 w 42"/>
              <a:gd name="T5" fmla="*/ 56 h 60"/>
              <a:gd name="T6" fmla="*/ 7 w 42"/>
              <a:gd name="T7" fmla="*/ 60 h 60"/>
              <a:gd name="T8" fmla="*/ 42 w 42"/>
              <a:gd name="T9" fmla="*/ 4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2" h="60">
                <a:moveTo>
                  <a:pt x="42" y="4"/>
                </a:moveTo>
                <a:lnTo>
                  <a:pt x="36" y="0"/>
                </a:lnTo>
                <a:lnTo>
                  <a:pt x="0" y="56"/>
                </a:lnTo>
                <a:lnTo>
                  <a:pt x="7" y="60"/>
                </a:lnTo>
                <a:lnTo>
                  <a:pt x="42" y="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8" name="Freeform 598">
            <a:extLst>
              <a:ext uri="{FF2B5EF4-FFF2-40B4-BE49-F238E27FC236}">
                <a16:creationId xmlns:a16="http://schemas.microsoft.com/office/drawing/2014/main" id="{4E77B1F0-F544-4084-B8A9-6E226E1EB066}"/>
              </a:ext>
            </a:extLst>
          </p:cNvPr>
          <p:cNvSpPr>
            <a:spLocks/>
          </p:cNvSpPr>
          <p:nvPr/>
        </p:nvSpPr>
        <p:spPr bwMode="auto">
          <a:xfrm>
            <a:off x="9573579" y="5644195"/>
            <a:ext cx="72630" cy="71378"/>
          </a:xfrm>
          <a:custGeom>
            <a:avLst/>
            <a:gdLst>
              <a:gd name="T0" fmla="*/ 74 w 140"/>
              <a:gd name="T1" fmla="*/ 137 h 139"/>
              <a:gd name="T2" fmla="*/ 3 w 140"/>
              <a:gd name="T3" fmla="*/ 73 h 139"/>
              <a:gd name="T4" fmla="*/ 66 w 140"/>
              <a:gd name="T5" fmla="*/ 2 h 139"/>
              <a:gd name="T6" fmla="*/ 138 w 140"/>
              <a:gd name="T7" fmla="*/ 65 h 139"/>
              <a:gd name="T8" fmla="*/ 74 w 140"/>
              <a:gd name="T9" fmla="*/ 137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0" h="139">
                <a:moveTo>
                  <a:pt x="74" y="137"/>
                </a:moveTo>
                <a:cubicBezTo>
                  <a:pt x="37" y="139"/>
                  <a:pt x="5" y="110"/>
                  <a:pt x="3" y="73"/>
                </a:cubicBezTo>
                <a:cubicBezTo>
                  <a:pt x="0" y="36"/>
                  <a:pt x="29" y="4"/>
                  <a:pt x="66" y="2"/>
                </a:cubicBezTo>
                <a:cubicBezTo>
                  <a:pt x="104" y="0"/>
                  <a:pt x="136" y="28"/>
                  <a:pt x="138" y="65"/>
                </a:cubicBezTo>
                <a:cubicBezTo>
                  <a:pt x="140" y="103"/>
                  <a:pt x="111" y="135"/>
                  <a:pt x="74" y="137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9" name="Freeform 599">
            <a:extLst>
              <a:ext uri="{FF2B5EF4-FFF2-40B4-BE49-F238E27FC236}">
                <a16:creationId xmlns:a16="http://schemas.microsoft.com/office/drawing/2014/main" id="{9E7BD12D-B37A-4678-9DF7-D3EB939FE34A}"/>
              </a:ext>
            </a:extLst>
          </p:cNvPr>
          <p:cNvSpPr>
            <a:spLocks/>
          </p:cNvSpPr>
          <p:nvPr/>
        </p:nvSpPr>
        <p:spPr bwMode="auto">
          <a:xfrm>
            <a:off x="9579840" y="5650456"/>
            <a:ext cx="58855" cy="58855"/>
          </a:xfrm>
          <a:custGeom>
            <a:avLst/>
            <a:gdLst>
              <a:gd name="T0" fmla="*/ 59 w 112"/>
              <a:gd name="T1" fmla="*/ 110 h 112"/>
              <a:gd name="T2" fmla="*/ 2 w 112"/>
              <a:gd name="T3" fmla="*/ 59 h 112"/>
              <a:gd name="T4" fmla="*/ 53 w 112"/>
              <a:gd name="T5" fmla="*/ 2 h 112"/>
              <a:gd name="T6" fmla="*/ 110 w 112"/>
              <a:gd name="T7" fmla="*/ 53 h 112"/>
              <a:gd name="T8" fmla="*/ 59 w 112"/>
              <a:gd name="T9" fmla="*/ 110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2" h="112">
                <a:moveTo>
                  <a:pt x="59" y="110"/>
                </a:moveTo>
                <a:cubicBezTo>
                  <a:pt x="29" y="112"/>
                  <a:pt x="4" y="89"/>
                  <a:pt x="2" y="59"/>
                </a:cubicBezTo>
                <a:cubicBezTo>
                  <a:pt x="0" y="29"/>
                  <a:pt x="23" y="4"/>
                  <a:pt x="53" y="2"/>
                </a:cubicBezTo>
                <a:cubicBezTo>
                  <a:pt x="83" y="0"/>
                  <a:pt x="109" y="23"/>
                  <a:pt x="110" y="53"/>
                </a:cubicBezTo>
                <a:cubicBezTo>
                  <a:pt x="112" y="83"/>
                  <a:pt x="89" y="109"/>
                  <a:pt x="59" y="11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0" name="Freeform 600">
            <a:extLst>
              <a:ext uri="{FF2B5EF4-FFF2-40B4-BE49-F238E27FC236}">
                <a16:creationId xmlns:a16="http://schemas.microsoft.com/office/drawing/2014/main" id="{2C7E793C-68F9-418D-8071-EE426C6FA775}"/>
              </a:ext>
            </a:extLst>
          </p:cNvPr>
          <p:cNvSpPr>
            <a:spLocks/>
          </p:cNvSpPr>
          <p:nvPr/>
        </p:nvSpPr>
        <p:spPr bwMode="auto">
          <a:xfrm>
            <a:off x="9566066" y="5729347"/>
            <a:ext cx="7513" cy="7513"/>
          </a:xfrm>
          <a:custGeom>
            <a:avLst/>
            <a:gdLst>
              <a:gd name="T0" fmla="*/ 2 w 15"/>
              <a:gd name="T1" fmla="*/ 8 h 13"/>
              <a:gd name="T2" fmla="*/ 1 w 15"/>
              <a:gd name="T3" fmla="*/ 2 h 13"/>
              <a:gd name="T4" fmla="*/ 7 w 15"/>
              <a:gd name="T5" fmla="*/ 1 h 13"/>
              <a:gd name="T6" fmla="*/ 13 w 15"/>
              <a:gd name="T7" fmla="*/ 5 h 13"/>
              <a:gd name="T8" fmla="*/ 14 w 15"/>
              <a:gd name="T9" fmla="*/ 11 h 13"/>
              <a:gd name="T10" fmla="*/ 9 w 15"/>
              <a:gd name="T11" fmla="*/ 12 h 13"/>
              <a:gd name="T12" fmla="*/ 2 w 15"/>
              <a:gd name="T13" fmla="*/ 8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" h="13">
                <a:moveTo>
                  <a:pt x="2" y="8"/>
                </a:moveTo>
                <a:cubicBezTo>
                  <a:pt x="1" y="7"/>
                  <a:pt x="0" y="4"/>
                  <a:pt x="1" y="2"/>
                </a:cubicBezTo>
                <a:cubicBezTo>
                  <a:pt x="2" y="1"/>
                  <a:pt x="5" y="0"/>
                  <a:pt x="7" y="1"/>
                </a:cubicBezTo>
                <a:cubicBezTo>
                  <a:pt x="13" y="5"/>
                  <a:pt x="13" y="5"/>
                  <a:pt x="13" y="5"/>
                </a:cubicBezTo>
                <a:cubicBezTo>
                  <a:pt x="15" y="7"/>
                  <a:pt x="15" y="9"/>
                  <a:pt x="14" y="11"/>
                </a:cubicBezTo>
                <a:cubicBezTo>
                  <a:pt x="13" y="13"/>
                  <a:pt x="11" y="13"/>
                  <a:pt x="9" y="12"/>
                </a:cubicBezTo>
                <a:lnTo>
                  <a:pt x="2" y="8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1" name="Freeform 601">
            <a:extLst>
              <a:ext uri="{FF2B5EF4-FFF2-40B4-BE49-F238E27FC236}">
                <a16:creationId xmlns:a16="http://schemas.microsoft.com/office/drawing/2014/main" id="{E432A988-F7F0-448D-A208-71AD423E5826}"/>
              </a:ext>
            </a:extLst>
          </p:cNvPr>
          <p:cNvSpPr>
            <a:spLocks/>
          </p:cNvSpPr>
          <p:nvPr/>
        </p:nvSpPr>
        <p:spPr bwMode="auto">
          <a:xfrm>
            <a:off x="9568570" y="5719329"/>
            <a:ext cx="21288" cy="22540"/>
          </a:xfrm>
          <a:custGeom>
            <a:avLst/>
            <a:gdLst>
              <a:gd name="T0" fmla="*/ 17 w 40"/>
              <a:gd name="T1" fmla="*/ 42 h 43"/>
              <a:gd name="T2" fmla="*/ 24 w 40"/>
              <a:gd name="T3" fmla="*/ 40 h 43"/>
              <a:gd name="T4" fmla="*/ 39 w 40"/>
              <a:gd name="T5" fmla="*/ 17 h 43"/>
              <a:gd name="T6" fmla="*/ 38 w 40"/>
              <a:gd name="T7" fmla="*/ 11 h 43"/>
              <a:gd name="T8" fmla="*/ 23 w 40"/>
              <a:gd name="T9" fmla="*/ 1 h 43"/>
              <a:gd name="T10" fmla="*/ 17 w 40"/>
              <a:gd name="T11" fmla="*/ 3 h 43"/>
              <a:gd name="T12" fmla="*/ 1 w 40"/>
              <a:gd name="T13" fmla="*/ 26 h 43"/>
              <a:gd name="T14" fmla="*/ 3 w 40"/>
              <a:gd name="T15" fmla="*/ 32 h 43"/>
              <a:gd name="T16" fmla="*/ 17 w 40"/>
              <a:gd name="T17" fmla="*/ 42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" h="43">
                <a:moveTo>
                  <a:pt x="17" y="42"/>
                </a:moveTo>
                <a:cubicBezTo>
                  <a:pt x="20" y="43"/>
                  <a:pt x="22" y="42"/>
                  <a:pt x="24" y="40"/>
                </a:cubicBezTo>
                <a:cubicBezTo>
                  <a:pt x="39" y="17"/>
                  <a:pt x="39" y="17"/>
                  <a:pt x="39" y="17"/>
                </a:cubicBezTo>
                <a:cubicBezTo>
                  <a:pt x="40" y="15"/>
                  <a:pt x="40" y="12"/>
                  <a:pt x="38" y="11"/>
                </a:cubicBezTo>
                <a:cubicBezTo>
                  <a:pt x="23" y="1"/>
                  <a:pt x="23" y="1"/>
                  <a:pt x="23" y="1"/>
                </a:cubicBezTo>
                <a:cubicBezTo>
                  <a:pt x="21" y="0"/>
                  <a:pt x="18" y="1"/>
                  <a:pt x="17" y="3"/>
                </a:cubicBezTo>
                <a:cubicBezTo>
                  <a:pt x="1" y="26"/>
                  <a:pt x="1" y="26"/>
                  <a:pt x="1" y="26"/>
                </a:cubicBezTo>
                <a:cubicBezTo>
                  <a:pt x="0" y="28"/>
                  <a:pt x="1" y="31"/>
                  <a:pt x="3" y="32"/>
                </a:cubicBezTo>
                <a:lnTo>
                  <a:pt x="17" y="42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2" name="Freeform 602">
            <a:extLst>
              <a:ext uri="{FF2B5EF4-FFF2-40B4-BE49-F238E27FC236}">
                <a16:creationId xmlns:a16="http://schemas.microsoft.com/office/drawing/2014/main" id="{5484AC96-7EBB-4E2A-AAA2-76589484E4F2}"/>
              </a:ext>
            </a:extLst>
          </p:cNvPr>
          <p:cNvSpPr>
            <a:spLocks/>
          </p:cNvSpPr>
          <p:nvPr/>
        </p:nvSpPr>
        <p:spPr bwMode="auto">
          <a:xfrm>
            <a:off x="9571074" y="5721833"/>
            <a:ext cx="8766" cy="6262"/>
          </a:xfrm>
          <a:custGeom>
            <a:avLst/>
            <a:gdLst>
              <a:gd name="T0" fmla="*/ 2 w 15"/>
              <a:gd name="T1" fmla="*/ 8 h 13"/>
              <a:gd name="T2" fmla="*/ 1 w 15"/>
              <a:gd name="T3" fmla="*/ 2 h 13"/>
              <a:gd name="T4" fmla="*/ 6 w 15"/>
              <a:gd name="T5" fmla="*/ 1 h 13"/>
              <a:gd name="T6" fmla="*/ 13 w 15"/>
              <a:gd name="T7" fmla="*/ 5 h 13"/>
              <a:gd name="T8" fmla="*/ 14 w 15"/>
              <a:gd name="T9" fmla="*/ 11 h 13"/>
              <a:gd name="T10" fmla="*/ 8 w 15"/>
              <a:gd name="T11" fmla="*/ 12 h 13"/>
              <a:gd name="T12" fmla="*/ 2 w 15"/>
              <a:gd name="T13" fmla="*/ 8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" h="13">
                <a:moveTo>
                  <a:pt x="2" y="8"/>
                </a:moveTo>
                <a:cubicBezTo>
                  <a:pt x="0" y="7"/>
                  <a:pt x="0" y="4"/>
                  <a:pt x="1" y="2"/>
                </a:cubicBezTo>
                <a:cubicBezTo>
                  <a:pt x="2" y="0"/>
                  <a:pt x="4" y="0"/>
                  <a:pt x="6" y="1"/>
                </a:cubicBezTo>
                <a:cubicBezTo>
                  <a:pt x="13" y="5"/>
                  <a:pt x="13" y="5"/>
                  <a:pt x="13" y="5"/>
                </a:cubicBezTo>
                <a:cubicBezTo>
                  <a:pt x="15" y="7"/>
                  <a:pt x="15" y="9"/>
                  <a:pt x="14" y="11"/>
                </a:cubicBezTo>
                <a:cubicBezTo>
                  <a:pt x="13" y="13"/>
                  <a:pt x="10" y="13"/>
                  <a:pt x="8" y="12"/>
                </a:cubicBezTo>
                <a:lnTo>
                  <a:pt x="2" y="8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3" name="Freeform 603">
            <a:extLst>
              <a:ext uri="{FF2B5EF4-FFF2-40B4-BE49-F238E27FC236}">
                <a16:creationId xmlns:a16="http://schemas.microsoft.com/office/drawing/2014/main" id="{42D454B0-6C6A-4785-97B1-089FA0A86FFE}"/>
              </a:ext>
            </a:extLst>
          </p:cNvPr>
          <p:cNvSpPr>
            <a:spLocks/>
          </p:cNvSpPr>
          <p:nvPr/>
        </p:nvSpPr>
        <p:spPr bwMode="auto">
          <a:xfrm>
            <a:off x="9573579" y="5716824"/>
            <a:ext cx="8766" cy="7513"/>
          </a:xfrm>
          <a:custGeom>
            <a:avLst/>
            <a:gdLst>
              <a:gd name="T0" fmla="*/ 2 w 15"/>
              <a:gd name="T1" fmla="*/ 8 h 13"/>
              <a:gd name="T2" fmla="*/ 1 w 15"/>
              <a:gd name="T3" fmla="*/ 2 h 13"/>
              <a:gd name="T4" fmla="*/ 7 w 15"/>
              <a:gd name="T5" fmla="*/ 1 h 13"/>
              <a:gd name="T6" fmla="*/ 13 w 15"/>
              <a:gd name="T7" fmla="*/ 5 h 13"/>
              <a:gd name="T8" fmla="*/ 14 w 15"/>
              <a:gd name="T9" fmla="*/ 11 h 13"/>
              <a:gd name="T10" fmla="*/ 9 w 15"/>
              <a:gd name="T11" fmla="*/ 12 h 13"/>
              <a:gd name="T12" fmla="*/ 2 w 15"/>
              <a:gd name="T13" fmla="*/ 8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" h="13">
                <a:moveTo>
                  <a:pt x="2" y="8"/>
                </a:moveTo>
                <a:cubicBezTo>
                  <a:pt x="0" y="6"/>
                  <a:pt x="0" y="4"/>
                  <a:pt x="1" y="2"/>
                </a:cubicBezTo>
                <a:cubicBezTo>
                  <a:pt x="2" y="0"/>
                  <a:pt x="5" y="0"/>
                  <a:pt x="7" y="1"/>
                </a:cubicBezTo>
                <a:cubicBezTo>
                  <a:pt x="13" y="5"/>
                  <a:pt x="13" y="5"/>
                  <a:pt x="13" y="5"/>
                </a:cubicBezTo>
                <a:cubicBezTo>
                  <a:pt x="15" y="7"/>
                  <a:pt x="15" y="9"/>
                  <a:pt x="14" y="11"/>
                </a:cubicBezTo>
                <a:cubicBezTo>
                  <a:pt x="13" y="13"/>
                  <a:pt x="11" y="13"/>
                  <a:pt x="9" y="12"/>
                </a:cubicBezTo>
                <a:lnTo>
                  <a:pt x="2" y="8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4" name="Freeform 604">
            <a:extLst>
              <a:ext uri="{FF2B5EF4-FFF2-40B4-BE49-F238E27FC236}">
                <a16:creationId xmlns:a16="http://schemas.microsoft.com/office/drawing/2014/main" id="{63CD8B52-A0B3-4630-9557-DF36D5758D8E}"/>
              </a:ext>
            </a:extLst>
          </p:cNvPr>
          <p:cNvSpPr>
            <a:spLocks/>
          </p:cNvSpPr>
          <p:nvPr/>
        </p:nvSpPr>
        <p:spPr bwMode="auto">
          <a:xfrm>
            <a:off x="9568570" y="5725590"/>
            <a:ext cx="8766" cy="6262"/>
          </a:xfrm>
          <a:custGeom>
            <a:avLst/>
            <a:gdLst>
              <a:gd name="T0" fmla="*/ 3 w 16"/>
              <a:gd name="T1" fmla="*/ 8 h 13"/>
              <a:gd name="T2" fmla="*/ 1 w 16"/>
              <a:gd name="T3" fmla="*/ 2 h 13"/>
              <a:gd name="T4" fmla="*/ 7 w 16"/>
              <a:gd name="T5" fmla="*/ 1 h 13"/>
              <a:gd name="T6" fmla="*/ 13 w 16"/>
              <a:gd name="T7" fmla="*/ 5 h 13"/>
              <a:gd name="T8" fmla="*/ 15 w 16"/>
              <a:gd name="T9" fmla="*/ 11 h 13"/>
              <a:gd name="T10" fmla="*/ 9 w 16"/>
              <a:gd name="T11" fmla="*/ 12 h 13"/>
              <a:gd name="T12" fmla="*/ 3 w 16"/>
              <a:gd name="T13" fmla="*/ 8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" h="13">
                <a:moveTo>
                  <a:pt x="3" y="8"/>
                </a:moveTo>
                <a:cubicBezTo>
                  <a:pt x="1" y="7"/>
                  <a:pt x="0" y="4"/>
                  <a:pt x="1" y="2"/>
                </a:cubicBezTo>
                <a:cubicBezTo>
                  <a:pt x="3" y="0"/>
                  <a:pt x="5" y="0"/>
                  <a:pt x="7" y="1"/>
                </a:cubicBezTo>
                <a:cubicBezTo>
                  <a:pt x="13" y="5"/>
                  <a:pt x="13" y="5"/>
                  <a:pt x="13" y="5"/>
                </a:cubicBezTo>
                <a:cubicBezTo>
                  <a:pt x="15" y="7"/>
                  <a:pt x="16" y="9"/>
                  <a:pt x="15" y="11"/>
                </a:cubicBezTo>
                <a:cubicBezTo>
                  <a:pt x="13" y="13"/>
                  <a:pt x="11" y="13"/>
                  <a:pt x="9" y="12"/>
                </a:cubicBezTo>
                <a:lnTo>
                  <a:pt x="3" y="8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5" name="Freeform 605">
            <a:extLst>
              <a:ext uri="{FF2B5EF4-FFF2-40B4-BE49-F238E27FC236}">
                <a16:creationId xmlns:a16="http://schemas.microsoft.com/office/drawing/2014/main" id="{783C9827-241F-47AD-8137-60DAE954D8AA}"/>
              </a:ext>
            </a:extLst>
          </p:cNvPr>
          <p:cNvSpPr>
            <a:spLocks/>
          </p:cNvSpPr>
          <p:nvPr/>
        </p:nvSpPr>
        <p:spPr bwMode="auto">
          <a:xfrm>
            <a:off x="7213118" y="6409310"/>
            <a:ext cx="21288" cy="23793"/>
          </a:xfrm>
          <a:custGeom>
            <a:avLst/>
            <a:gdLst>
              <a:gd name="T0" fmla="*/ 4 w 40"/>
              <a:gd name="T1" fmla="*/ 39 h 46"/>
              <a:gd name="T2" fmla="*/ 1 w 40"/>
              <a:gd name="T3" fmla="*/ 32 h 46"/>
              <a:gd name="T4" fmla="*/ 11 w 40"/>
              <a:gd name="T5" fmla="*/ 4 h 46"/>
              <a:gd name="T6" fmla="*/ 17 w 40"/>
              <a:gd name="T7" fmla="*/ 1 h 46"/>
              <a:gd name="T8" fmla="*/ 35 w 40"/>
              <a:gd name="T9" fmla="*/ 7 h 46"/>
              <a:gd name="T10" fmla="*/ 39 w 40"/>
              <a:gd name="T11" fmla="*/ 14 h 46"/>
              <a:gd name="T12" fmla="*/ 28 w 40"/>
              <a:gd name="T13" fmla="*/ 42 h 46"/>
              <a:gd name="T14" fmla="*/ 22 w 40"/>
              <a:gd name="T15" fmla="*/ 45 h 46"/>
              <a:gd name="T16" fmla="*/ 4 w 40"/>
              <a:gd name="T17" fmla="*/ 39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" h="46">
                <a:moveTo>
                  <a:pt x="4" y="39"/>
                </a:moveTo>
                <a:cubicBezTo>
                  <a:pt x="1" y="38"/>
                  <a:pt x="0" y="35"/>
                  <a:pt x="1" y="32"/>
                </a:cubicBezTo>
                <a:cubicBezTo>
                  <a:pt x="11" y="4"/>
                  <a:pt x="11" y="4"/>
                  <a:pt x="11" y="4"/>
                </a:cubicBezTo>
                <a:cubicBezTo>
                  <a:pt x="12" y="1"/>
                  <a:pt x="15" y="0"/>
                  <a:pt x="17" y="1"/>
                </a:cubicBezTo>
                <a:cubicBezTo>
                  <a:pt x="35" y="7"/>
                  <a:pt x="35" y="7"/>
                  <a:pt x="35" y="7"/>
                </a:cubicBezTo>
                <a:cubicBezTo>
                  <a:pt x="38" y="8"/>
                  <a:pt x="40" y="11"/>
                  <a:pt x="39" y="14"/>
                </a:cubicBezTo>
                <a:cubicBezTo>
                  <a:pt x="28" y="42"/>
                  <a:pt x="28" y="42"/>
                  <a:pt x="28" y="42"/>
                </a:cubicBezTo>
                <a:cubicBezTo>
                  <a:pt x="28" y="45"/>
                  <a:pt x="25" y="46"/>
                  <a:pt x="22" y="45"/>
                </a:cubicBezTo>
                <a:lnTo>
                  <a:pt x="4" y="39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6" name="Freeform 606">
            <a:extLst>
              <a:ext uri="{FF2B5EF4-FFF2-40B4-BE49-F238E27FC236}">
                <a16:creationId xmlns:a16="http://schemas.microsoft.com/office/drawing/2014/main" id="{5D2812E7-65E7-459C-B37B-3B9BE2B91306}"/>
              </a:ext>
            </a:extLst>
          </p:cNvPr>
          <p:cNvSpPr>
            <a:spLocks/>
          </p:cNvSpPr>
          <p:nvPr/>
        </p:nvSpPr>
        <p:spPr bwMode="auto">
          <a:xfrm>
            <a:off x="7218127" y="6405553"/>
            <a:ext cx="12522" cy="8766"/>
          </a:xfrm>
          <a:custGeom>
            <a:avLst/>
            <a:gdLst>
              <a:gd name="T0" fmla="*/ 21 w 24"/>
              <a:gd name="T1" fmla="*/ 9 h 17"/>
              <a:gd name="T2" fmla="*/ 23 w 24"/>
              <a:gd name="T3" fmla="*/ 3 h 17"/>
              <a:gd name="T4" fmla="*/ 17 w 24"/>
              <a:gd name="T5" fmla="*/ 1 h 17"/>
              <a:gd name="T6" fmla="*/ 3 w 24"/>
              <a:gd name="T7" fmla="*/ 8 h 17"/>
              <a:gd name="T8" fmla="*/ 1 w 24"/>
              <a:gd name="T9" fmla="*/ 14 h 17"/>
              <a:gd name="T10" fmla="*/ 7 w 24"/>
              <a:gd name="T11" fmla="*/ 16 h 17"/>
              <a:gd name="T12" fmla="*/ 21 w 24"/>
              <a:gd name="T13" fmla="*/ 9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" h="17">
                <a:moveTo>
                  <a:pt x="21" y="9"/>
                </a:moveTo>
                <a:cubicBezTo>
                  <a:pt x="23" y="8"/>
                  <a:pt x="24" y="6"/>
                  <a:pt x="23" y="3"/>
                </a:cubicBezTo>
                <a:cubicBezTo>
                  <a:pt x="22" y="1"/>
                  <a:pt x="19" y="0"/>
                  <a:pt x="17" y="1"/>
                </a:cubicBezTo>
                <a:cubicBezTo>
                  <a:pt x="3" y="8"/>
                  <a:pt x="3" y="8"/>
                  <a:pt x="3" y="8"/>
                </a:cubicBezTo>
                <a:cubicBezTo>
                  <a:pt x="1" y="9"/>
                  <a:pt x="0" y="12"/>
                  <a:pt x="1" y="14"/>
                </a:cubicBezTo>
                <a:cubicBezTo>
                  <a:pt x="2" y="16"/>
                  <a:pt x="5" y="17"/>
                  <a:pt x="7" y="16"/>
                </a:cubicBezTo>
                <a:lnTo>
                  <a:pt x="21" y="9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7" name="Freeform 607">
            <a:extLst>
              <a:ext uri="{FF2B5EF4-FFF2-40B4-BE49-F238E27FC236}">
                <a16:creationId xmlns:a16="http://schemas.microsoft.com/office/drawing/2014/main" id="{B95ABA11-4CAF-487B-AAE1-C1C6AF050E9A}"/>
              </a:ext>
            </a:extLst>
          </p:cNvPr>
          <p:cNvSpPr>
            <a:spLocks/>
          </p:cNvSpPr>
          <p:nvPr/>
        </p:nvSpPr>
        <p:spPr bwMode="auto">
          <a:xfrm>
            <a:off x="7074120" y="6336680"/>
            <a:ext cx="145259" cy="167799"/>
          </a:xfrm>
          <a:custGeom>
            <a:avLst/>
            <a:gdLst>
              <a:gd name="T0" fmla="*/ 6 w 279"/>
              <a:gd name="T1" fmla="*/ 55 h 321"/>
              <a:gd name="T2" fmla="*/ 269 w 279"/>
              <a:gd name="T3" fmla="*/ 170 h 321"/>
              <a:gd name="T4" fmla="*/ 279 w 279"/>
              <a:gd name="T5" fmla="*/ 142 h 321"/>
              <a:gd name="T6" fmla="*/ 85 w 279"/>
              <a:gd name="T7" fmla="*/ 53 h 321"/>
              <a:gd name="T8" fmla="*/ 6 w 279"/>
              <a:gd name="T9" fmla="*/ 55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9" h="321">
                <a:moveTo>
                  <a:pt x="6" y="55"/>
                </a:moveTo>
                <a:cubicBezTo>
                  <a:pt x="54" y="321"/>
                  <a:pt x="185" y="232"/>
                  <a:pt x="269" y="170"/>
                </a:cubicBezTo>
                <a:cubicBezTo>
                  <a:pt x="279" y="142"/>
                  <a:pt x="279" y="142"/>
                  <a:pt x="279" y="142"/>
                </a:cubicBezTo>
                <a:cubicBezTo>
                  <a:pt x="193" y="158"/>
                  <a:pt x="105" y="240"/>
                  <a:pt x="85" y="53"/>
                </a:cubicBezTo>
                <a:cubicBezTo>
                  <a:pt x="80" y="0"/>
                  <a:pt x="0" y="22"/>
                  <a:pt x="6" y="5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8" name="Freeform 608">
            <a:extLst>
              <a:ext uri="{FF2B5EF4-FFF2-40B4-BE49-F238E27FC236}">
                <a16:creationId xmlns:a16="http://schemas.microsoft.com/office/drawing/2014/main" id="{816B8E09-AFE6-4C07-A4EE-EF25CA42FB54}"/>
              </a:ext>
            </a:extLst>
          </p:cNvPr>
          <p:cNvSpPr>
            <a:spLocks/>
          </p:cNvSpPr>
          <p:nvPr/>
        </p:nvSpPr>
        <p:spPr bwMode="auto">
          <a:xfrm>
            <a:off x="7140488" y="6356716"/>
            <a:ext cx="105188" cy="113954"/>
          </a:xfrm>
          <a:custGeom>
            <a:avLst/>
            <a:gdLst>
              <a:gd name="T0" fmla="*/ 0 w 84"/>
              <a:gd name="T1" fmla="*/ 70 h 91"/>
              <a:gd name="T2" fmla="*/ 59 w 84"/>
              <a:gd name="T3" fmla="*/ 91 h 91"/>
              <a:gd name="T4" fmla="*/ 84 w 84"/>
              <a:gd name="T5" fmla="*/ 20 h 91"/>
              <a:gd name="T6" fmla="*/ 25 w 84"/>
              <a:gd name="T7" fmla="*/ 0 h 91"/>
              <a:gd name="T8" fmla="*/ 0 w 84"/>
              <a:gd name="T9" fmla="*/ 7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4" h="91">
                <a:moveTo>
                  <a:pt x="0" y="70"/>
                </a:moveTo>
                <a:lnTo>
                  <a:pt x="59" y="91"/>
                </a:lnTo>
                <a:lnTo>
                  <a:pt x="84" y="20"/>
                </a:lnTo>
                <a:lnTo>
                  <a:pt x="25" y="0"/>
                </a:lnTo>
                <a:lnTo>
                  <a:pt x="0" y="7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9" name="Freeform 609">
            <a:extLst>
              <a:ext uri="{FF2B5EF4-FFF2-40B4-BE49-F238E27FC236}">
                <a16:creationId xmlns:a16="http://schemas.microsoft.com/office/drawing/2014/main" id="{80861632-E763-4624-862C-F870596839A3}"/>
              </a:ext>
            </a:extLst>
          </p:cNvPr>
          <p:cNvSpPr>
            <a:spLocks/>
          </p:cNvSpPr>
          <p:nvPr/>
        </p:nvSpPr>
        <p:spPr bwMode="auto">
          <a:xfrm>
            <a:off x="7151759" y="6366734"/>
            <a:ext cx="83900" cy="93918"/>
          </a:xfrm>
          <a:custGeom>
            <a:avLst/>
            <a:gdLst>
              <a:gd name="T0" fmla="*/ 46 w 67"/>
              <a:gd name="T1" fmla="*/ 75 h 75"/>
              <a:gd name="T2" fmla="*/ 67 w 67"/>
              <a:gd name="T3" fmla="*/ 16 h 75"/>
              <a:gd name="T4" fmla="*/ 20 w 67"/>
              <a:gd name="T5" fmla="*/ 0 h 75"/>
              <a:gd name="T6" fmla="*/ 0 w 67"/>
              <a:gd name="T7" fmla="*/ 59 h 75"/>
              <a:gd name="T8" fmla="*/ 46 w 67"/>
              <a:gd name="T9" fmla="*/ 75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" h="75">
                <a:moveTo>
                  <a:pt x="46" y="75"/>
                </a:moveTo>
                <a:lnTo>
                  <a:pt x="67" y="16"/>
                </a:lnTo>
                <a:lnTo>
                  <a:pt x="20" y="0"/>
                </a:lnTo>
                <a:lnTo>
                  <a:pt x="0" y="59"/>
                </a:lnTo>
                <a:lnTo>
                  <a:pt x="46" y="7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0" name="Freeform 610">
            <a:extLst>
              <a:ext uri="{FF2B5EF4-FFF2-40B4-BE49-F238E27FC236}">
                <a16:creationId xmlns:a16="http://schemas.microsoft.com/office/drawing/2014/main" id="{66AD0E06-903F-4D6C-A981-97643E7BD138}"/>
              </a:ext>
            </a:extLst>
          </p:cNvPr>
          <p:cNvSpPr>
            <a:spLocks/>
          </p:cNvSpPr>
          <p:nvPr/>
        </p:nvSpPr>
        <p:spPr bwMode="auto">
          <a:xfrm>
            <a:off x="7188073" y="6359220"/>
            <a:ext cx="38820" cy="27549"/>
          </a:xfrm>
          <a:custGeom>
            <a:avLst/>
            <a:gdLst>
              <a:gd name="T0" fmla="*/ 27 w 31"/>
              <a:gd name="T1" fmla="*/ 22 h 22"/>
              <a:gd name="T2" fmla="*/ 31 w 31"/>
              <a:gd name="T3" fmla="*/ 9 h 22"/>
              <a:gd name="T4" fmla="*/ 5 w 31"/>
              <a:gd name="T5" fmla="*/ 0 h 22"/>
              <a:gd name="T6" fmla="*/ 0 w 31"/>
              <a:gd name="T7" fmla="*/ 13 h 22"/>
              <a:gd name="T8" fmla="*/ 27 w 31"/>
              <a:gd name="T9" fmla="*/ 2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22">
                <a:moveTo>
                  <a:pt x="27" y="22"/>
                </a:moveTo>
                <a:lnTo>
                  <a:pt x="31" y="9"/>
                </a:lnTo>
                <a:lnTo>
                  <a:pt x="5" y="0"/>
                </a:lnTo>
                <a:lnTo>
                  <a:pt x="0" y="13"/>
                </a:lnTo>
                <a:lnTo>
                  <a:pt x="27" y="22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1" name="Freeform 611">
            <a:extLst>
              <a:ext uri="{FF2B5EF4-FFF2-40B4-BE49-F238E27FC236}">
                <a16:creationId xmlns:a16="http://schemas.microsoft.com/office/drawing/2014/main" id="{65C5F2FB-1C97-4C4D-A913-0C74B6156B61}"/>
              </a:ext>
            </a:extLst>
          </p:cNvPr>
          <p:cNvSpPr>
            <a:spLocks/>
          </p:cNvSpPr>
          <p:nvPr/>
        </p:nvSpPr>
        <p:spPr bwMode="auto">
          <a:xfrm>
            <a:off x="7175551" y="6389274"/>
            <a:ext cx="45080" cy="20036"/>
          </a:xfrm>
          <a:custGeom>
            <a:avLst/>
            <a:gdLst>
              <a:gd name="T0" fmla="*/ 35 w 36"/>
              <a:gd name="T1" fmla="*/ 16 h 16"/>
              <a:gd name="T2" fmla="*/ 36 w 36"/>
              <a:gd name="T3" fmla="*/ 12 h 16"/>
              <a:gd name="T4" fmla="*/ 2 w 36"/>
              <a:gd name="T5" fmla="*/ 0 h 16"/>
              <a:gd name="T6" fmla="*/ 0 w 36"/>
              <a:gd name="T7" fmla="*/ 4 h 16"/>
              <a:gd name="T8" fmla="*/ 35 w 36"/>
              <a:gd name="T9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" h="16">
                <a:moveTo>
                  <a:pt x="35" y="16"/>
                </a:moveTo>
                <a:lnTo>
                  <a:pt x="36" y="12"/>
                </a:lnTo>
                <a:lnTo>
                  <a:pt x="2" y="0"/>
                </a:lnTo>
                <a:lnTo>
                  <a:pt x="0" y="4"/>
                </a:lnTo>
                <a:lnTo>
                  <a:pt x="35" y="16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2" name="Freeform 612">
            <a:extLst>
              <a:ext uri="{FF2B5EF4-FFF2-40B4-BE49-F238E27FC236}">
                <a16:creationId xmlns:a16="http://schemas.microsoft.com/office/drawing/2014/main" id="{D4EF4D2B-5852-4179-9355-F8B4534E6DE5}"/>
              </a:ext>
            </a:extLst>
          </p:cNvPr>
          <p:cNvSpPr>
            <a:spLocks/>
          </p:cNvSpPr>
          <p:nvPr/>
        </p:nvSpPr>
        <p:spPr bwMode="auto">
          <a:xfrm>
            <a:off x="7170542" y="6406805"/>
            <a:ext cx="43829" cy="20036"/>
          </a:xfrm>
          <a:custGeom>
            <a:avLst/>
            <a:gdLst>
              <a:gd name="T0" fmla="*/ 34 w 35"/>
              <a:gd name="T1" fmla="*/ 16 h 16"/>
              <a:gd name="T2" fmla="*/ 35 w 35"/>
              <a:gd name="T3" fmla="*/ 12 h 16"/>
              <a:gd name="T4" fmla="*/ 1 w 35"/>
              <a:gd name="T5" fmla="*/ 0 h 16"/>
              <a:gd name="T6" fmla="*/ 0 w 35"/>
              <a:gd name="T7" fmla="*/ 4 h 16"/>
              <a:gd name="T8" fmla="*/ 34 w 35"/>
              <a:gd name="T9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" h="16">
                <a:moveTo>
                  <a:pt x="34" y="16"/>
                </a:moveTo>
                <a:lnTo>
                  <a:pt x="35" y="12"/>
                </a:lnTo>
                <a:lnTo>
                  <a:pt x="1" y="0"/>
                </a:lnTo>
                <a:lnTo>
                  <a:pt x="0" y="4"/>
                </a:lnTo>
                <a:lnTo>
                  <a:pt x="34" y="16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3" name="Freeform 613">
            <a:extLst>
              <a:ext uri="{FF2B5EF4-FFF2-40B4-BE49-F238E27FC236}">
                <a16:creationId xmlns:a16="http://schemas.microsoft.com/office/drawing/2014/main" id="{44BACDB9-83B2-4B86-8B8C-E9A426C9A1F6}"/>
              </a:ext>
            </a:extLst>
          </p:cNvPr>
          <p:cNvSpPr>
            <a:spLocks/>
          </p:cNvSpPr>
          <p:nvPr/>
        </p:nvSpPr>
        <p:spPr bwMode="auto">
          <a:xfrm>
            <a:off x="7164281" y="6423084"/>
            <a:ext cx="45080" cy="20036"/>
          </a:xfrm>
          <a:custGeom>
            <a:avLst/>
            <a:gdLst>
              <a:gd name="T0" fmla="*/ 34 w 36"/>
              <a:gd name="T1" fmla="*/ 16 h 16"/>
              <a:gd name="T2" fmla="*/ 36 w 36"/>
              <a:gd name="T3" fmla="*/ 12 h 16"/>
              <a:gd name="T4" fmla="*/ 1 w 36"/>
              <a:gd name="T5" fmla="*/ 0 h 16"/>
              <a:gd name="T6" fmla="*/ 0 w 36"/>
              <a:gd name="T7" fmla="*/ 4 h 16"/>
              <a:gd name="T8" fmla="*/ 34 w 36"/>
              <a:gd name="T9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" h="16">
                <a:moveTo>
                  <a:pt x="34" y="16"/>
                </a:moveTo>
                <a:lnTo>
                  <a:pt x="36" y="12"/>
                </a:lnTo>
                <a:lnTo>
                  <a:pt x="1" y="0"/>
                </a:lnTo>
                <a:lnTo>
                  <a:pt x="0" y="4"/>
                </a:lnTo>
                <a:lnTo>
                  <a:pt x="34" y="16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4" name="Freeform 614">
            <a:extLst>
              <a:ext uri="{FF2B5EF4-FFF2-40B4-BE49-F238E27FC236}">
                <a16:creationId xmlns:a16="http://schemas.microsoft.com/office/drawing/2014/main" id="{510945F9-1C4A-4A94-9F1C-9F3DC82F83FA}"/>
              </a:ext>
            </a:extLst>
          </p:cNvPr>
          <p:cNvSpPr>
            <a:spLocks/>
          </p:cNvSpPr>
          <p:nvPr/>
        </p:nvSpPr>
        <p:spPr bwMode="auto">
          <a:xfrm>
            <a:off x="7221884" y="6428093"/>
            <a:ext cx="12522" cy="6262"/>
          </a:xfrm>
          <a:custGeom>
            <a:avLst/>
            <a:gdLst>
              <a:gd name="T0" fmla="*/ 16 w 22"/>
              <a:gd name="T1" fmla="*/ 14 h 14"/>
              <a:gd name="T2" fmla="*/ 21 w 22"/>
              <a:gd name="T3" fmla="*/ 11 h 14"/>
              <a:gd name="T4" fmla="*/ 19 w 22"/>
              <a:gd name="T5" fmla="*/ 5 h 14"/>
              <a:gd name="T6" fmla="*/ 7 w 22"/>
              <a:gd name="T7" fmla="*/ 1 h 14"/>
              <a:gd name="T8" fmla="*/ 1 w 22"/>
              <a:gd name="T9" fmla="*/ 4 h 14"/>
              <a:gd name="T10" fmla="*/ 4 w 22"/>
              <a:gd name="T11" fmla="*/ 9 h 14"/>
              <a:gd name="T12" fmla="*/ 16 w 22"/>
              <a:gd name="T13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2" h="14">
                <a:moveTo>
                  <a:pt x="16" y="14"/>
                </a:moveTo>
                <a:cubicBezTo>
                  <a:pt x="18" y="14"/>
                  <a:pt x="20" y="13"/>
                  <a:pt x="21" y="11"/>
                </a:cubicBezTo>
                <a:cubicBezTo>
                  <a:pt x="22" y="9"/>
                  <a:pt x="21" y="6"/>
                  <a:pt x="19" y="5"/>
                </a:cubicBezTo>
                <a:cubicBezTo>
                  <a:pt x="7" y="1"/>
                  <a:pt x="7" y="1"/>
                  <a:pt x="7" y="1"/>
                </a:cubicBezTo>
                <a:cubicBezTo>
                  <a:pt x="5" y="0"/>
                  <a:pt x="2" y="2"/>
                  <a:pt x="1" y="4"/>
                </a:cubicBezTo>
                <a:cubicBezTo>
                  <a:pt x="0" y="6"/>
                  <a:pt x="2" y="9"/>
                  <a:pt x="4" y="9"/>
                </a:cubicBezTo>
                <a:lnTo>
                  <a:pt x="16" y="1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5" name="Freeform 615">
            <a:extLst>
              <a:ext uri="{FF2B5EF4-FFF2-40B4-BE49-F238E27FC236}">
                <a16:creationId xmlns:a16="http://schemas.microsoft.com/office/drawing/2014/main" id="{C8485297-68F5-40A5-999C-EBE12ECBEAFE}"/>
              </a:ext>
            </a:extLst>
          </p:cNvPr>
          <p:cNvSpPr>
            <a:spLocks/>
          </p:cNvSpPr>
          <p:nvPr/>
        </p:nvSpPr>
        <p:spPr bwMode="auto">
          <a:xfrm>
            <a:off x="7228145" y="6411814"/>
            <a:ext cx="11270" cy="7513"/>
          </a:xfrm>
          <a:custGeom>
            <a:avLst/>
            <a:gdLst>
              <a:gd name="T0" fmla="*/ 15 w 22"/>
              <a:gd name="T1" fmla="*/ 14 h 14"/>
              <a:gd name="T2" fmla="*/ 21 w 22"/>
              <a:gd name="T3" fmla="*/ 11 h 14"/>
              <a:gd name="T4" fmla="*/ 18 w 22"/>
              <a:gd name="T5" fmla="*/ 5 h 14"/>
              <a:gd name="T6" fmla="*/ 6 w 22"/>
              <a:gd name="T7" fmla="*/ 1 h 14"/>
              <a:gd name="T8" fmla="*/ 1 w 22"/>
              <a:gd name="T9" fmla="*/ 4 h 14"/>
              <a:gd name="T10" fmla="*/ 4 w 22"/>
              <a:gd name="T11" fmla="*/ 9 h 14"/>
              <a:gd name="T12" fmla="*/ 15 w 22"/>
              <a:gd name="T13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2" h="14">
                <a:moveTo>
                  <a:pt x="15" y="14"/>
                </a:moveTo>
                <a:cubicBezTo>
                  <a:pt x="18" y="14"/>
                  <a:pt x="20" y="13"/>
                  <a:pt x="21" y="11"/>
                </a:cubicBezTo>
                <a:cubicBezTo>
                  <a:pt x="22" y="9"/>
                  <a:pt x="21" y="6"/>
                  <a:pt x="18" y="5"/>
                </a:cubicBezTo>
                <a:cubicBezTo>
                  <a:pt x="6" y="1"/>
                  <a:pt x="6" y="1"/>
                  <a:pt x="6" y="1"/>
                </a:cubicBezTo>
                <a:cubicBezTo>
                  <a:pt x="4" y="0"/>
                  <a:pt x="2" y="2"/>
                  <a:pt x="1" y="4"/>
                </a:cubicBezTo>
                <a:cubicBezTo>
                  <a:pt x="0" y="6"/>
                  <a:pt x="1" y="9"/>
                  <a:pt x="4" y="9"/>
                </a:cubicBezTo>
                <a:lnTo>
                  <a:pt x="15" y="1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6" name="Freeform 616">
            <a:extLst>
              <a:ext uri="{FF2B5EF4-FFF2-40B4-BE49-F238E27FC236}">
                <a16:creationId xmlns:a16="http://schemas.microsoft.com/office/drawing/2014/main" id="{FFAA95C7-5FD3-4091-B30A-C3A5324EF9D8}"/>
              </a:ext>
            </a:extLst>
          </p:cNvPr>
          <p:cNvSpPr>
            <a:spLocks/>
          </p:cNvSpPr>
          <p:nvPr/>
        </p:nvSpPr>
        <p:spPr bwMode="auto">
          <a:xfrm>
            <a:off x="7226893" y="6416823"/>
            <a:ext cx="10018" cy="7513"/>
          </a:xfrm>
          <a:custGeom>
            <a:avLst/>
            <a:gdLst>
              <a:gd name="T0" fmla="*/ 15 w 21"/>
              <a:gd name="T1" fmla="*/ 14 h 14"/>
              <a:gd name="T2" fmla="*/ 20 w 21"/>
              <a:gd name="T3" fmla="*/ 11 h 14"/>
              <a:gd name="T4" fmla="*/ 18 w 21"/>
              <a:gd name="T5" fmla="*/ 5 h 14"/>
              <a:gd name="T6" fmla="*/ 6 w 21"/>
              <a:gd name="T7" fmla="*/ 1 h 14"/>
              <a:gd name="T8" fmla="*/ 0 w 21"/>
              <a:gd name="T9" fmla="*/ 4 h 14"/>
              <a:gd name="T10" fmla="*/ 3 w 21"/>
              <a:gd name="T11" fmla="*/ 9 h 14"/>
              <a:gd name="T12" fmla="*/ 15 w 21"/>
              <a:gd name="T13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" h="14">
                <a:moveTo>
                  <a:pt x="15" y="14"/>
                </a:moveTo>
                <a:cubicBezTo>
                  <a:pt x="17" y="14"/>
                  <a:pt x="20" y="13"/>
                  <a:pt x="20" y="11"/>
                </a:cubicBezTo>
                <a:cubicBezTo>
                  <a:pt x="21" y="9"/>
                  <a:pt x="20" y="6"/>
                  <a:pt x="18" y="5"/>
                </a:cubicBezTo>
                <a:cubicBezTo>
                  <a:pt x="6" y="1"/>
                  <a:pt x="6" y="1"/>
                  <a:pt x="6" y="1"/>
                </a:cubicBezTo>
                <a:cubicBezTo>
                  <a:pt x="4" y="0"/>
                  <a:pt x="1" y="2"/>
                  <a:pt x="0" y="4"/>
                </a:cubicBezTo>
                <a:cubicBezTo>
                  <a:pt x="0" y="6"/>
                  <a:pt x="1" y="9"/>
                  <a:pt x="3" y="9"/>
                </a:cubicBezTo>
                <a:lnTo>
                  <a:pt x="15" y="1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7" name="Freeform 617">
            <a:extLst>
              <a:ext uri="{FF2B5EF4-FFF2-40B4-BE49-F238E27FC236}">
                <a16:creationId xmlns:a16="http://schemas.microsoft.com/office/drawing/2014/main" id="{49A9A4B1-5B5E-4082-82A5-291F63DC4C01}"/>
              </a:ext>
            </a:extLst>
          </p:cNvPr>
          <p:cNvSpPr>
            <a:spLocks/>
          </p:cNvSpPr>
          <p:nvPr/>
        </p:nvSpPr>
        <p:spPr bwMode="auto">
          <a:xfrm>
            <a:off x="7224389" y="6421832"/>
            <a:ext cx="11270" cy="7513"/>
          </a:xfrm>
          <a:custGeom>
            <a:avLst/>
            <a:gdLst>
              <a:gd name="T0" fmla="*/ 15 w 22"/>
              <a:gd name="T1" fmla="*/ 14 h 14"/>
              <a:gd name="T2" fmla="*/ 21 w 22"/>
              <a:gd name="T3" fmla="*/ 11 h 14"/>
              <a:gd name="T4" fmla="*/ 18 w 22"/>
              <a:gd name="T5" fmla="*/ 5 h 14"/>
              <a:gd name="T6" fmla="*/ 6 w 22"/>
              <a:gd name="T7" fmla="*/ 1 h 14"/>
              <a:gd name="T8" fmla="*/ 1 w 22"/>
              <a:gd name="T9" fmla="*/ 4 h 14"/>
              <a:gd name="T10" fmla="*/ 3 w 22"/>
              <a:gd name="T11" fmla="*/ 9 h 14"/>
              <a:gd name="T12" fmla="*/ 15 w 22"/>
              <a:gd name="T13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2" h="14">
                <a:moveTo>
                  <a:pt x="15" y="14"/>
                </a:moveTo>
                <a:cubicBezTo>
                  <a:pt x="18" y="14"/>
                  <a:pt x="20" y="13"/>
                  <a:pt x="21" y="11"/>
                </a:cubicBezTo>
                <a:cubicBezTo>
                  <a:pt x="22" y="9"/>
                  <a:pt x="20" y="6"/>
                  <a:pt x="18" y="5"/>
                </a:cubicBezTo>
                <a:cubicBezTo>
                  <a:pt x="6" y="1"/>
                  <a:pt x="6" y="1"/>
                  <a:pt x="6" y="1"/>
                </a:cubicBezTo>
                <a:cubicBezTo>
                  <a:pt x="4" y="0"/>
                  <a:pt x="2" y="2"/>
                  <a:pt x="1" y="4"/>
                </a:cubicBezTo>
                <a:cubicBezTo>
                  <a:pt x="0" y="6"/>
                  <a:pt x="1" y="9"/>
                  <a:pt x="3" y="9"/>
                </a:cubicBezTo>
                <a:lnTo>
                  <a:pt x="15" y="1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8" name="Freeform 618">
            <a:extLst>
              <a:ext uri="{FF2B5EF4-FFF2-40B4-BE49-F238E27FC236}">
                <a16:creationId xmlns:a16="http://schemas.microsoft.com/office/drawing/2014/main" id="{47D3E129-7675-4961-8526-5DF71C5D84A5}"/>
              </a:ext>
            </a:extLst>
          </p:cNvPr>
          <p:cNvSpPr>
            <a:spLocks/>
          </p:cNvSpPr>
          <p:nvPr/>
        </p:nvSpPr>
        <p:spPr bwMode="auto">
          <a:xfrm>
            <a:off x="7069112" y="6284086"/>
            <a:ext cx="55098" cy="68873"/>
          </a:xfrm>
          <a:custGeom>
            <a:avLst/>
            <a:gdLst>
              <a:gd name="T0" fmla="*/ 97 w 105"/>
              <a:gd name="T1" fmla="*/ 34 h 132"/>
              <a:gd name="T2" fmla="*/ 104 w 105"/>
              <a:gd name="T3" fmla="*/ 31 h 132"/>
              <a:gd name="T4" fmla="*/ 82 w 105"/>
              <a:gd name="T5" fmla="*/ 11 h 132"/>
              <a:gd name="T6" fmla="*/ 37 w 105"/>
              <a:gd name="T7" fmla="*/ 9 h 132"/>
              <a:gd name="T8" fmla="*/ 22 w 105"/>
              <a:gd name="T9" fmla="*/ 77 h 132"/>
              <a:gd name="T10" fmla="*/ 0 w 105"/>
              <a:gd name="T11" fmla="*/ 128 h 132"/>
              <a:gd name="T12" fmla="*/ 94 w 105"/>
              <a:gd name="T13" fmla="*/ 132 h 132"/>
              <a:gd name="T14" fmla="*/ 97 w 105"/>
              <a:gd name="T15" fmla="*/ 34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5" h="132">
                <a:moveTo>
                  <a:pt x="97" y="34"/>
                </a:moveTo>
                <a:cubicBezTo>
                  <a:pt x="101" y="33"/>
                  <a:pt x="104" y="31"/>
                  <a:pt x="104" y="31"/>
                </a:cubicBezTo>
                <a:cubicBezTo>
                  <a:pt x="104" y="31"/>
                  <a:pt x="94" y="21"/>
                  <a:pt x="82" y="11"/>
                </a:cubicBezTo>
                <a:cubicBezTo>
                  <a:pt x="70" y="0"/>
                  <a:pt x="56" y="1"/>
                  <a:pt x="37" y="9"/>
                </a:cubicBezTo>
                <a:cubicBezTo>
                  <a:pt x="17" y="19"/>
                  <a:pt x="21" y="62"/>
                  <a:pt x="22" y="77"/>
                </a:cubicBezTo>
                <a:cubicBezTo>
                  <a:pt x="23" y="89"/>
                  <a:pt x="10" y="112"/>
                  <a:pt x="0" y="128"/>
                </a:cubicBezTo>
                <a:cubicBezTo>
                  <a:pt x="94" y="132"/>
                  <a:pt x="94" y="132"/>
                  <a:pt x="94" y="132"/>
                </a:cubicBezTo>
                <a:cubicBezTo>
                  <a:pt x="103" y="97"/>
                  <a:pt x="105" y="54"/>
                  <a:pt x="97" y="3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9" name="Freeform 619">
            <a:extLst>
              <a:ext uri="{FF2B5EF4-FFF2-40B4-BE49-F238E27FC236}">
                <a16:creationId xmlns:a16="http://schemas.microsoft.com/office/drawing/2014/main" id="{CC23DBB7-2503-449F-B07F-24823116A249}"/>
              </a:ext>
            </a:extLst>
          </p:cNvPr>
          <p:cNvSpPr>
            <a:spLocks/>
          </p:cNvSpPr>
          <p:nvPr/>
        </p:nvSpPr>
        <p:spPr bwMode="auto">
          <a:xfrm>
            <a:off x="7132975" y="6756178"/>
            <a:ext cx="42576" cy="12522"/>
          </a:xfrm>
          <a:custGeom>
            <a:avLst/>
            <a:gdLst>
              <a:gd name="T0" fmla="*/ 31 w 81"/>
              <a:gd name="T1" fmla="*/ 0 h 26"/>
              <a:gd name="T2" fmla="*/ 58 w 81"/>
              <a:gd name="T3" fmla="*/ 7 h 26"/>
              <a:gd name="T4" fmla="*/ 68 w 81"/>
              <a:gd name="T5" fmla="*/ 18 h 26"/>
              <a:gd name="T6" fmla="*/ 22 w 81"/>
              <a:gd name="T7" fmla="*/ 16 h 26"/>
              <a:gd name="T8" fmla="*/ 22 w 81"/>
              <a:gd name="T9" fmla="*/ 22 h 26"/>
              <a:gd name="T10" fmla="*/ 0 w 81"/>
              <a:gd name="T11" fmla="*/ 22 h 26"/>
              <a:gd name="T12" fmla="*/ 2 w 81"/>
              <a:gd name="T13" fmla="*/ 0 h 26"/>
              <a:gd name="T14" fmla="*/ 31 w 81"/>
              <a:gd name="T15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1" h="26">
                <a:moveTo>
                  <a:pt x="31" y="0"/>
                </a:moveTo>
                <a:cubicBezTo>
                  <a:pt x="34" y="5"/>
                  <a:pt x="50" y="11"/>
                  <a:pt x="58" y="7"/>
                </a:cubicBezTo>
                <a:cubicBezTo>
                  <a:pt x="65" y="3"/>
                  <a:pt x="81" y="10"/>
                  <a:pt x="68" y="18"/>
                </a:cubicBezTo>
                <a:cubicBezTo>
                  <a:pt x="55" y="26"/>
                  <a:pt x="27" y="23"/>
                  <a:pt x="22" y="16"/>
                </a:cubicBezTo>
                <a:cubicBezTo>
                  <a:pt x="22" y="19"/>
                  <a:pt x="22" y="22"/>
                  <a:pt x="22" y="22"/>
                </a:cubicBezTo>
                <a:cubicBezTo>
                  <a:pt x="0" y="22"/>
                  <a:pt x="0" y="22"/>
                  <a:pt x="0" y="22"/>
                </a:cubicBezTo>
                <a:cubicBezTo>
                  <a:pt x="2" y="0"/>
                  <a:pt x="2" y="0"/>
                  <a:pt x="2" y="0"/>
                </a:cubicBezTo>
                <a:lnTo>
                  <a:pt x="31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0" name="Freeform 620">
            <a:extLst>
              <a:ext uri="{FF2B5EF4-FFF2-40B4-BE49-F238E27FC236}">
                <a16:creationId xmlns:a16="http://schemas.microsoft.com/office/drawing/2014/main" id="{637D1A8A-BC97-48E1-8317-DCCCE9CC8F34}"/>
              </a:ext>
            </a:extLst>
          </p:cNvPr>
          <p:cNvSpPr>
            <a:spLocks/>
          </p:cNvSpPr>
          <p:nvPr/>
        </p:nvSpPr>
        <p:spPr bwMode="auto">
          <a:xfrm>
            <a:off x="7082886" y="6509488"/>
            <a:ext cx="70125" cy="237924"/>
          </a:xfrm>
          <a:custGeom>
            <a:avLst/>
            <a:gdLst>
              <a:gd name="T0" fmla="*/ 129 w 136"/>
              <a:gd name="T1" fmla="*/ 80 h 458"/>
              <a:gd name="T2" fmla="*/ 20 w 136"/>
              <a:gd name="T3" fmla="*/ 80 h 458"/>
              <a:gd name="T4" fmla="*/ 100 w 136"/>
              <a:gd name="T5" fmla="*/ 458 h 458"/>
              <a:gd name="T6" fmla="*/ 127 w 136"/>
              <a:gd name="T7" fmla="*/ 458 h 458"/>
              <a:gd name="T8" fmla="*/ 129 w 136"/>
              <a:gd name="T9" fmla="*/ 80 h 4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6" h="458">
                <a:moveTo>
                  <a:pt x="129" y="80"/>
                </a:moveTo>
                <a:cubicBezTo>
                  <a:pt x="123" y="0"/>
                  <a:pt x="0" y="2"/>
                  <a:pt x="20" y="80"/>
                </a:cubicBezTo>
                <a:cubicBezTo>
                  <a:pt x="48" y="196"/>
                  <a:pt x="78" y="326"/>
                  <a:pt x="100" y="458"/>
                </a:cubicBezTo>
                <a:cubicBezTo>
                  <a:pt x="127" y="458"/>
                  <a:pt x="127" y="458"/>
                  <a:pt x="127" y="458"/>
                </a:cubicBezTo>
                <a:cubicBezTo>
                  <a:pt x="120" y="330"/>
                  <a:pt x="136" y="179"/>
                  <a:pt x="129" y="8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1" name="Freeform 621">
            <a:extLst>
              <a:ext uri="{FF2B5EF4-FFF2-40B4-BE49-F238E27FC236}">
                <a16:creationId xmlns:a16="http://schemas.microsoft.com/office/drawing/2014/main" id="{9A64CA7B-2F22-4999-A722-100F8AE52401}"/>
              </a:ext>
            </a:extLst>
          </p:cNvPr>
          <p:cNvSpPr>
            <a:spLocks/>
          </p:cNvSpPr>
          <p:nvPr/>
        </p:nvSpPr>
        <p:spPr bwMode="auto">
          <a:xfrm>
            <a:off x="7041562" y="6756178"/>
            <a:ext cx="42576" cy="12522"/>
          </a:xfrm>
          <a:custGeom>
            <a:avLst/>
            <a:gdLst>
              <a:gd name="T0" fmla="*/ 32 w 81"/>
              <a:gd name="T1" fmla="*/ 0 h 26"/>
              <a:gd name="T2" fmla="*/ 58 w 81"/>
              <a:gd name="T3" fmla="*/ 7 h 26"/>
              <a:gd name="T4" fmla="*/ 68 w 81"/>
              <a:gd name="T5" fmla="*/ 18 h 26"/>
              <a:gd name="T6" fmla="*/ 22 w 81"/>
              <a:gd name="T7" fmla="*/ 16 h 26"/>
              <a:gd name="T8" fmla="*/ 22 w 81"/>
              <a:gd name="T9" fmla="*/ 22 h 26"/>
              <a:gd name="T10" fmla="*/ 0 w 81"/>
              <a:gd name="T11" fmla="*/ 22 h 26"/>
              <a:gd name="T12" fmla="*/ 2 w 81"/>
              <a:gd name="T13" fmla="*/ 0 h 26"/>
              <a:gd name="T14" fmla="*/ 32 w 81"/>
              <a:gd name="T15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1" h="26">
                <a:moveTo>
                  <a:pt x="32" y="0"/>
                </a:moveTo>
                <a:cubicBezTo>
                  <a:pt x="34" y="5"/>
                  <a:pt x="51" y="11"/>
                  <a:pt x="58" y="7"/>
                </a:cubicBezTo>
                <a:cubicBezTo>
                  <a:pt x="65" y="3"/>
                  <a:pt x="81" y="10"/>
                  <a:pt x="68" y="18"/>
                </a:cubicBezTo>
                <a:cubicBezTo>
                  <a:pt x="55" y="26"/>
                  <a:pt x="27" y="23"/>
                  <a:pt x="22" y="16"/>
                </a:cubicBezTo>
                <a:cubicBezTo>
                  <a:pt x="22" y="19"/>
                  <a:pt x="22" y="22"/>
                  <a:pt x="22" y="22"/>
                </a:cubicBezTo>
                <a:cubicBezTo>
                  <a:pt x="0" y="22"/>
                  <a:pt x="0" y="22"/>
                  <a:pt x="0" y="22"/>
                </a:cubicBezTo>
                <a:cubicBezTo>
                  <a:pt x="2" y="0"/>
                  <a:pt x="2" y="0"/>
                  <a:pt x="2" y="0"/>
                </a:cubicBezTo>
                <a:lnTo>
                  <a:pt x="32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2" name="Freeform 622">
            <a:extLst>
              <a:ext uri="{FF2B5EF4-FFF2-40B4-BE49-F238E27FC236}">
                <a16:creationId xmlns:a16="http://schemas.microsoft.com/office/drawing/2014/main" id="{22C9F440-8320-4D3D-AD95-951CED07E590}"/>
              </a:ext>
            </a:extLst>
          </p:cNvPr>
          <p:cNvSpPr>
            <a:spLocks/>
          </p:cNvSpPr>
          <p:nvPr/>
        </p:nvSpPr>
        <p:spPr bwMode="auto">
          <a:xfrm>
            <a:off x="7039058" y="6508236"/>
            <a:ext cx="63864" cy="239177"/>
          </a:xfrm>
          <a:custGeom>
            <a:avLst/>
            <a:gdLst>
              <a:gd name="T0" fmla="*/ 115 w 122"/>
              <a:gd name="T1" fmla="*/ 83 h 461"/>
              <a:gd name="T2" fmla="*/ 9 w 122"/>
              <a:gd name="T3" fmla="*/ 80 h 461"/>
              <a:gd name="T4" fmla="*/ 9 w 122"/>
              <a:gd name="T5" fmla="*/ 461 h 461"/>
              <a:gd name="T6" fmla="*/ 36 w 122"/>
              <a:gd name="T7" fmla="*/ 461 h 461"/>
              <a:gd name="T8" fmla="*/ 115 w 122"/>
              <a:gd name="T9" fmla="*/ 83 h 4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2" h="461">
                <a:moveTo>
                  <a:pt x="115" y="83"/>
                </a:moveTo>
                <a:cubicBezTo>
                  <a:pt x="109" y="3"/>
                  <a:pt x="0" y="0"/>
                  <a:pt x="9" y="80"/>
                </a:cubicBezTo>
                <a:cubicBezTo>
                  <a:pt x="23" y="203"/>
                  <a:pt x="13" y="312"/>
                  <a:pt x="9" y="461"/>
                </a:cubicBezTo>
                <a:cubicBezTo>
                  <a:pt x="36" y="461"/>
                  <a:pt x="36" y="461"/>
                  <a:pt x="36" y="461"/>
                </a:cubicBezTo>
                <a:cubicBezTo>
                  <a:pt x="62" y="317"/>
                  <a:pt x="122" y="182"/>
                  <a:pt x="115" y="83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3" name="Freeform 623">
            <a:extLst>
              <a:ext uri="{FF2B5EF4-FFF2-40B4-BE49-F238E27FC236}">
                <a16:creationId xmlns:a16="http://schemas.microsoft.com/office/drawing/2014/main" id="{B81BCE63-775A-45C9-909B-87AB78B00DEB}"/>
              </a:ext>
            </a:extLst>
          </p:cNvPr>
          <p:cNvSpPr>
            <a:spLocks/>
          </p:cNvSpPr>
          <p:nvPr/>
        </p:nvSpPr>
        <p:spPr bwMode="auto">
          <a:xfrm>
            <a:off x="7069112" y="6344194"/>
            <a:ext cx="51342" cy="8766"/>
          </a:xfrm>
          <a:custGeom>
            <a:avLst/>
            <a:gdLst>
              <a:gd name="T0" fmla="*/ 94 w 97"/>
              <a:gd name="T1" fmla="*/ 17 h 17"/>
              <a:gd name="T2" fmla="*/ 97 w 97"/>
              <a:gd name="T3" fmla="*/ 6 h 17"/>
              <a:gd name="T4" fmla="*/ 18 w 97"/>
              <a:gd name="T5" fmla="*/ 0 h 17"/>
              <a:gd name="T6" fmla="*/ 8 w 97"/>
              <a:gd name="T7" fmla="*/ 0 h 17"/>
              <a:gd name="T8" fmla="*/ 0 w 97"/>
              <a:gd name="T9" fmla="*/ 13 h 17"/>
              <a:gd name="T10" fmla="*/ 94 w 97"/>
              <a:gd name="T11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7" h="17">
                <a:moveTo>
                  <a:pt x="94" y="17"/>
                </a:moveTo>
                <a:cubicBezTo>
                  <a:pt x="95" y="13"/>
                  <a:pt x="96" y="10"/>
                  <a:pt x="97" y="6"/>
                </a:cubicBezTo>
                <a:cubicBezTo>
                  <a:pt x="71" y="2"/>
                  <a:pt x="43" y="0"/>
                  <a:pt x="18" y="0"/>
                </a:cubicBezTo>
                <a:cubicBezTo>
                  <a:pt x="15" y="0"/>
                  <a:pt x="12" y="0"/>
                  <a:pt x="8" y="0"/>
                </a:cubicBezTo>
                <a:cubicBezTo>
                  <a:pt x="6" y="4"/>
                  <a:pt x="3" y="9"/>
                  <a:pt x="0" y="13"/>
                </a:cubicBezTo>
                <a:lnTo>
                  <a:pt x="94" y="17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4" name="Freeform 624">
            <a:extLst>
              <a:ext uri="{FF2B5EF4-FFF2-40B4-BE49-F238E27FC236}">
                <a16:creationId xmlns:a16="http://schemas.microsoft.com/office/drawing/2014/main" id="{2DA1E80B-321B-4BA7-A7B6-D06025D5396F}"/>
              </a:ext>
            </a:extLst>
          </p:cNvPr>
          <p:cNvSpPr>
            <a:spLocks/>
          </p:cNvSpPr>
          <p:nvPr/>
        </p:nvSpPr>
        <p:spPr bwMode="auto">
          <a:xfrm>
            <a:off x="7007752" y="6336680"/>
            <a:ext cx="154025" cy="353130"/>
          </a:xfrm>
          <a:custGeom>
            <a:avLst/>
            <a:gdLst>
              <a:gd name="T0" fmla="*/ 297 w 298"/>
              <a:gd name="T1" fmla="*/ 58 h 679"/>
              <a:gd name="T2" fmla="*/ 43 w 298"/>
              <a:gd name="T3" fmla="*/ 39 h 679"/>
              <a:gd name="T4" fmla="*/ 58 w 298"/>
              <a:gd name="T5" fmla="*/ 679 h 679"/>
              <a:gd name="T6" fmla="*/ 157 w 298"/>
              <a:gd name="T7" fmla="*/ 679 h 679"/>
              <a:gd name="T8" fmla="*/ 169 w 298"/>
              <a:gd name="T9" fmla="*/ 561 h 679"/>
              <a:gd name="T10" fmla="*/ 186 w 298"/>
              <a:gd name="T11" fmla="*/ 679 h 679"/>
              <a:gd name="T12" fmla="*/ 295 w 298"/>
              <a:gd name="T13" fmla="*/ 679 h 679"/>
              <a:gd name="T14" fmla="*/ 297 w 298"/>
              <a:gd name="T15" fmla="*/ 58 h 6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98" h="679">
                <a:moveTo>
                  <a:pt x="297" y="58"/>
                </a:moveTo>
                <a:cubicBezTo>
                  <a:pt x="298" y="24"/>
                  <a:pt x="84" y="0"/>
                  <a:pt x="43" y="39"/>
                </a:cubicBezTo>
                <a:cubicBezTo>
                  <a:pt x="0" y="80"/>
                  <a:pt x="58" y="420"/>
                  <a:pt x="58" y="679"/>
                </a:cubicBezTo>
                <a:cubicBezTo>
                  <a:pt x="157" y="679"/>
                  <a:pt x="157" y="679"/>
                  <a:pt x="157" y="679"/>
                </a:cubicBezTo>
                <a:cubicBezTo>
                  <a:pt x="169" y="561"/>
                  <a:pt x="169" y="561"/>
                  <a:pt x="169" y="561"/>
                </a:cubicBezTo>
                <a:cubicBezTo>
                  <a:pt x="186" y="679"/>
                  <a:pt x="186" y="679"/>
                  <a:pt x="186" y="679"/>
                </a:cubicBezTo>
                <a:cubicBezTo>
                  <a:pt x="295" y="679"/>
                  <a:pt x="295" y="679"/>
                  <a:pt x="295" y="679"/>
                </a:cubicBezTo>
                <a:cubicBezTo>
                  <a:pt x="295" y="434"/>
                  <a:pt x="297" y="81"/>
                  <a:pt x="297" y="5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5" name="Freeform 625">
            <a:extLst>
              <a:ext uri="{FF2B5EF4-FFF2-40B4-BE49-F238E27FC236}">
                <a16:creationId xmlns:a16="http://schemas.microsoft.com/office/drawing/2014/main" id="{8573BF7D-4613-457A-B7BE-E6F000937F8E}"/>
              </a:ext>
            </a:extLst>
          </p:cNvPr>
          <p:cNvSpPr>
            <a:spLocks/>
          </p:cNvSpPr>
          <p:nvPr/>
        </p:nvSpPr>
        <p:spPr bwMode="auto">
          <a:xfrm>
            <a:off x="7064103" y="6272816"/>
            <a:ext cx="51342" cy="56351"/>
          </a:xfrm>
          <a:custGeom>
            <a:avLst/>
            <a:gdLst>
              <a:gd name="T0" fmla="*/ 98 w 98"/>
              <a:gd name="T1" fmla="*/ 56 h 108"/>
              <a:gd name="T2" fmla="*/ 91 w 98"/>
              <a:gd name="T3" fmla="*/ 30 h 108"/>
              <a:gd name="T4" fmla="*/ 79 w 98"/>
              <a:gd name="T5" fmla="*/ 0 h 108"/>
              <a:gd name="T6" fmla="*/ 21 w 98"/>
              <a:gd name="T7" fmla="*/ 28 h 108"/>
              <a:gd name="T8" fmla="*/ 33 w 98"/>
              <a:gd name="T9" fmla="*/ 100 h 108"/>
              <a:gd name="T10" fmla="*/ 77 w 98"/>
              <a:gd name="T11" fmla="*/ 86 h 108"/>
              <a:gd name="T12" fmla="*/ 79 w 98"/>
              <a:gd name="T13" fmla="*/ 50 h 108"/>
              <a:gd name="T14" fmla="*/ 93 w 98"/>
              <a:gd name="T15" fmla="*/ 57 h 108"/>
              <a:gd name="T16" fmla="*/ 98 w 98"/>
              <a:gd name="T17" fmla="*/ 5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8" h="108">
                <a:moveTo>
                  <a:pt x="98" y="56"/>
                </a:moveTo>
                <a:cubicBezTo>
                  <a:pt x="97" y="50"/>
                  <a:pt x="94" y="36"/>
                  <a:pt x="91" y="30"/>
                </a:cubicBezTo>
                <a:cubicBezTo>
                  <a:pt x="97" y="24"/>
                  <a:pt x="92" y="5"/>
                  <a:pt x="79" y="0"/>
                </a:cubicBezTo>
                <a:cubicBezTo>
                  <a:pt x="79" y="12"/>
                  <a:pt x="42" y="9"/>
                  <a:pt x="21" y="28"/>
                </a:cubicBezTo>
                <a:cubicBezTo>
                  <a:pt x="0" y="47"/>
                  <a:pt x="18" y="81"/>
                  <a:pt x="33" y="100"/>
                </a:cubicBezTo>
                <a:cubicBezTo>
                  <a:pt x="40" y="108"/>
                  <a:pt x="74" y="96"/>
                  <a:pt x="77" y="86"/>
                </a:cubicBezTo>
                <a:cubicBezTo>
                  <a:pt x="81" y="76"/>
                  <a:pt x="76" y="57"/>
                  <a:pt x="79" y="50"/>
                </a:cubicBezTo>
                <a:cubicBezTo>
                  <a:pt x="82" y="44"/>
                  <a:pt x="91" y="50"/>
                  <a:pt x="93" y="57"/>
                </a:cubicBezTo>
                <a:cubicBezTo>
                  <a:pt x="95" y="57"/>
                  <a:pt x="97" y="57"/>
                  <a:pt x="98" y="56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6" name="Freeform 626">
            <a:extLst>
              <a:ext uri="{FF2B5EF4-FFF2-40B4-BE49-F238E27FC236}">
                <a16:creationId xmlns:a16="http://schemas.microsoft.com/office/drawing/2014/main" id="{FA10C14F-81B8-42EA-8EC5-C117CEDB7FCD}"/>
              </a:ext>
            </a:extLst>
          </p:cNvPr>
          <p:cNvSpPr>
            <a:spLocks/>
          </p:cNvSpPr>
          <p:nvPr/>
        </p:nvSpPr>
        <p:spPr bwMode="auto">
          <a:xfrm>
            <a:off x="7151759" y="6399292"/>
            <a:ext cx="18784" cy="47585"/>
          </a:xfrm>
          <a:custGeom>
            <a:avLst/>
            <a:gdLst>
              <a:gd name="T0" fmla="*/ 38 w 38"/>
              <a:gd name="T1" fmla="*/ 92 h 92"/>
              <a:gd name="T2" fmla="*/ 28 w 38"/>
              <a:gd name="T3" fmla="*/ 0 h 92"/>
              <a:gd name="T4" fmla="*/ 0 w 38"/>
              <a:gd name="T5" fmla="*/ 79 h 92"/>
              <a:gd name="T6" fmla="*/ 38 w 38"/>
              <a:gd name="T7" fmla="*/ 92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" h="92">
                <a:moveTo>
                  <a:pt x="38" y="92"/>
                </a:moveTo>
                <a:cubicBezTo>
                  <a:pt x="33" y="64"/>
                  <a:pt x="30" y="32"/>
                  <a:pt x="28" y="0"/>
                </a:cubicBezTo>
                <a:cubicBezTo>
                  <a:pt x="0" y="79"/>
                  <a:pt x="0" y="79"/>
                  <a:pt x="0" y="79"/>
                </a:cubicBezTo>
                <a:lnTo>
                  <a:pt x="38" y="92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7" name="Freeform 627">
            <a:extLst>
              <a:ext uri="{FF2B5EF4-FFF2-40B4-BE49-F238E27FC236}">
                <a16:creationId xmlns:a16="http://schemas.microsoft.com/office/drawing/2014/main" id="{91BFD2B8-86A8-4800-8B22-0B510B77A5C8}"/>
              </a:ext>
            </a:extLst>
          </p:cNvPr>
          <p:cNvSpPr>
            <a:spLocks/>
          </p:cNvSpPr>
          <p:nvPr/>
        </p:nvSpPr>
        <p:spPr bwMode="auto">
          <a:xfrm>
            <a:off x="7115444" y="6347950"/>
            <a:ext cx="121467" cy="217889"/>
          </a:xfrm>
          <a:custGeom>
            <a:avLst/>
            <a:gdLst>
              <a:gd name="T0" fmla="*/ 89 w 233"/>
              <a:gd name="T1" fmla="*/ 39 h 420"/>
              <a:gd name="T2" fmla="*/ 203 w 233"/>
              <a:gd name="T3" fmla="*/ 222 h 420"/>
              <a:gd name="T4" fmla="*/ 233 w 233"/>
              <a:gd name="T5" fmla="*/ 236 h 420"/>
              <a:gd name="T6" fmla="*/ 11 w 233"/>
              <a:gd name="T7" fmla="*/ 66 h 420"/>
              <a:gd name="T8" fmla="*/ 89 w 233"/>
              <a:gd name="T9" fmla="*/ 39 h 4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3" h="420">
                <a:moveTo>
                  <a:pt x="89" y="39"/>
                </a:moveTo>
                <a:cubicBezTo>
                  <a:pt x="97" y="186"/>
                  <a:pt x="110" y="344"/>
                  <a:pt x="203" y="222"/>
                </a:cubicBezTo>
                <a:cubicBezTo>
                  <a:pt x="233" y="236"/>
                  <a:pt x="233" y="236"/>
                  <a:pt x="233" y="236"/>
                </a:cubicBezTo>
                <a:cubicBezTo>
                  <a:pt x="105" y="420"/>
                  <a:pt x="42" y="257"/>
                  <a:pt x="11" y="66"/>
                </a:cubicBezTo>
                <a:cubicBezTo>
                  <a:pt x="0" y="0"/>
                  <a:pt x="88" y="9"/>
                  <a:pt x="89" y="3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8" name="Freeform 628">
            <a:extLst>
              <a:ext uri="{FF2B5EF4-FFF2-40B4-BE49-F238E27FC236}">
                <a16:creationId xmlns:a16="http://schemas.microsoft.com/office/drawing/2014/main" id="{F2DDD7A0-1013-46AC-BB02-BAEB6AF377DF}"/>
              </a:ext>
            </a:extLst>
          </p:cNvPr>
          <p:cNvSpPr>
            <a:spLocks/>
          </p:cNvSpPr>
          <p:nvPr/>
        </p:nvSpPr>
        <p:spPr bwMode="auto">
          <a:xfrm>
            <a:off x="7219380" y="6449381"/>
            <a:ext cx="8766" cy="12522"/>
          </a:xfrm>
          <a:custGeom>
            <a:avLst/>
            <a:gdLst>
              <a:gd name="T0" fmla="*/ 11 w 15"/>
              <a:gd name="T1" fmla="*/ 23 h 24"/>
              <a:gd name="T2" fmla="*/ 14 w 15"/>
              <a:gd name="T3" fmla="*/ 17 h 24"/>
              <a:gd name="T4" fmla="*/ 9 w 15"/>
              <a:gd name="T5" fmla="*/ 4 h 24"/>
              <a:gd name="T6" fmla="*/ 3 w 15"/>
              <a:gd name="T7" fmla="*/ 1 h 24"/>
              <a:gd name="T8" fmla="*/ 3 w 15"/>
              <a:gd name="T9" fmla="*/ 1 h 24"/>
              <a:gd name="T10" fmla="*/ 1 w 15"/>
              <a:gd name="T11" fmla="*/ 7 h 24"/>
              <a:gd name="T12" fmla="*/ 6 w 15"/>
              <a:gd name="T13" fmla="*/ 20 h 24"/>
              <a:gd name="T14" fmla="*/ 11 w 15"/>
              <a:gd name="T15" fmla="*/ 23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24">
                <a:moveTo>
                  <a:pt x="11" y="23"/>
                </a:moveTo>
                <a:cubicBezTo>
                  <a:pt x="14" y="22"/>
                  <a:pt x="15" y="19"/>
                  <a:pt x="14" y="17"/>
                </a:cubicBezTo>
                <a:cubicBezTo>
                  <a:pt x="9" y="4"/>
                  <a:pt x="9" y="4"/>
                  <a:pt x="9" y="4"/>
                </a:cubicBezTo>
                <a:cubicBezTo>
                  <a:pt x="8" y="1"/>
                  <a:pt x="6" y="0"/>
                  <a:pt x="3" y="1"/>
                </a:cubicBezTo>
                <a:cubicBezTo>
                  <a:pt x="3" y="1"/>
                  <a:pt x="3" y="1"/>
                  <a:pt x="3" y="1"/>
                </a:cubicBezTo>
                <a:cubicBezTo>
                  <a:pt x="1" y="2"/>
                  <a:pt x="0" y="4"/>
                  <a:pt x="1" y="7"/>
                </a:cubicBezTo>
                <a:cubicBezTo>
                  <a:pt x="6" y="20"/>
                  <a:pt x="6" y="20"/>
                  <a:pt x="6" y="20"/>
                </a:cubicBezTo>
                <a:cubicBezTo>
                  <a:pt x="7" y="22"/>
                  <a:pt x="9" y="24"/>
                  <a:pt x="11" y="2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9" name="Freeform 629">
            <a:extLst>
              <a:ext uri="{FF2B5EF4-FFF2-40B4-BE49-F238E27FC236}">
                <a16:creationId xmlns:a16="http://schemas.microsoft.com/office/drawing/2014/main" id="{FA075C13-FE75-4565-A25A-4165CFD39B95}"/>
              </a:ext>
            </a:extLst>
          </p:cNvPr>
          <p:cNvSpPr>
            <a:spLocks/>
          </p:cNvSpPr>
          <p:nvPr/>
        </p:nvSpPr>
        <p:spPr bwMode="auto">
          <a:xfrm>
            <a:off x="7213118" y="6440615"/>
            <a:ext cx="26297" cy="22540"/>
          </a:xfrm>
          <a:custGeom>
            <a:avLst/>
            <a:gdLst>
              <a:gd name="T0" fmla="*/ 0 w 21"/>
              <a:gd name="T1" fmla="*/ 14 h 18"/>
              <a:gd name="T2" fmla="*/ 19 w 21"/>
              <a:gd name="T3" fmla="*/ 0 h 18"/>
              <a:gd name="T4" fmla="*/ 21 w 21"/>
              <a:gd name="T5" fmla="*/ 4 h 18"/>
              <a:gd name="T6" fmla="*/ 3 w 21"/>
              <a:gd name="T7" fmla="*/ 18 h 18"/>
              <a:gd name="T8" fmla="*/ 0 w 21"/>
              <a:gd name="T9" fmla="*/ 14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" h="18">
                <a:moveTo>
                  <a:pt x="0" y="14"/>
                </a:moveTo>
                <a:lnTo>
                  <a:pt x="19" y="0"/>
                </a:lnTo>
                <a:lnTo>
                  <a:pt x="21" y="4"/>
                </a:lnTo>
                <a:lnTo>
                  <a:pt x="3" y="18"/>
                </a:lnTo>
                <a:lnTo>
                  <a:pt x="0" y="1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0" name="Freeform 630">
            <a:extLst>
              <a:ext uri="{FF2B5EF4-FFF2-40B4-BE49-F238E27FC236}">
                <a16:creationId xmlns:a16="http://schemas.microsoft.com/office/drawing/2014/main" id="{D5B1F885-F598-47A4-BF97-3A03FCFE9244}"/>
              </a:ext>
            </a:extLst>
          </p:cNvPr>
          <p:cNvSpPr>
            <a:spLocks/>
          </p:cNvSpPr>
          <p:nvPr/>
        </p:nvSpPr>
        <p:spPr bwMode="auto">
          <a:xfrm>
            <a:off x="7236911" y="6440615"/>
            <a:ext cx="5009" cy="5009"/>
          </a:xfrm>
          <a:custGeom>
            <a:avLst/>
            <a:gdLst>
              <a:gd name="T0" fmla="*/ 4 w 4"/>
              <a:gd name="T1" fmla="*/ 0 h 4"/>
              <a:gd name="T2" fmla="*/ 2 w 4"/>
              <a:gd name="T3" fmla="*/ 4 h 4"/>
              <a:gd name="T4" fmla="*/ 0 w 4"/>
              <a:gd name="T5" fmla="*/ 0 h 4"/>
              <a:gd name="T6" fmla="*/ 4 w 4"/>
              <a:gd name="T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4">
                <a:moveTo>
                  <a:pt x="4" y="0"/>
                </a:moveTo>
                <a:lnTo>
                  <a:pt x="2" y="4"/>
                </a:lnTo>
                <a:lnTo>
                  <a:pt x="0" y="0"/>
                </a:lnTo>
                <a:lnTo>
                  <a:pt x="4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1" name="Freeform 631">
            <a:extLst>
              <a:ext uri="{FF2B5EF4-FFF2-40B4-BE49-F238E27FC236}">
                <a16:creationId xmlns:a16="http://schemas.microsoft.com/office/drawing/2014/main" id="{3A318AF4-682D-4D34-B508-A9C2FA899C66}"/>
              </a:ext>
            </a:extLst>
          </p:cNvPr>
          <p:cNvSpPr>
            <a:spLocks/>
          </p:cNvSpPr>
          <p:nvPr/>
        </p:nvSpPr>
        <p:spPr bwMode="auto">
          <a:xfrm>
            <a:off x="7221884" y="6450633"/>
            <a:ext cx="21288" cy="17531"/>
          </a:xfrm>
          <a:custGeom>
            <a:avLst/>
            <a:gdLst>
              <a:gd name="T0" fmla="*/ 33 w 40"/>
              <a:gd name="T1" fmla="*/ 30 h 34"/>
              <a:gd name="T2" fmla="*/ 27 w 40"/>
              <a:gd name="T3" fmla="*/ 33 h 34"/>
              <a:gd name="T4" fmla="*/ 3 w 40"/>
              <a:gd name="T5" fmla="*/ 22 h 34"/>
              <a:gd name="T6" fmla="*/ 1 w 40"/>
              <a:gd name="T7" fmla="*/ 16 h 34"/>
              <a:gd name="T8" fmla="*/ 7 w 40"/>
              <a:gd name="T9" fmla="*/ 3 h 34"/>
              <a:gd name="T10" fmla="*/ 13 w 40"/>
              <a:gd name="T11" fmla="*/ 1 h 34"/>
              <a:gd name="T12" fmla="*/ 36 w 40"/>
              <a:gd name="T13" fmla="*/ 12 h 34"/>
              <a:gd name="T14" fmla="*/ 39 w 40"/>
              <a:gd name="T15" fmla="*/ 18 h 34"/>
              <a:gd name="T16" fmla="*/ 33 w 40"/>
              <a:gd name="T17" fmla="*/ 30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" h="34">
                <a:moveTo>
                  <a:pt x="33" y="30"/>
                </a:moveTo>
                <a:cubicBezTo>
                  <a:pt x="32" y="33"/>
                  <a:pt x="29" y="34"/>
                  <a:pt x="27" y="33"/>
                </a:cubicBezTo>
                <a:cubicBezTo>
                  <a:pt x="3" y="22"/>
                  <a:pt x="3" y="22"/>
                  <a:pt x="3" y="22"/>
                </a:cubicBezTo>
                <a:cubicBezTo>
                  <a:pt x="1" y="21"/>
                  <a:pt x="0" y="18"/>
                  <a:pt x="1" y="16"/>
                </a:cubicBezTo>
                <a:cubicBezTo>
                  <a:pt x="7" y="3"/>
                  <a:pt x="7" y="3"/>
                  <a:pt x="7" y="3"/>
                </a:cubicBezTo>
                <a:cubicBezTo>
                  <a:pt x="8" y="1"/>
                  <a:pt x="10" y="0"/>
                  <a:pt x="13" y="1"/>
                </a:cubicBezTo>
                <a:cubicBezTo>
                  <a:pt x="36" y="12"/>
                  <a:pt x="36" y="12"/>
                  <a:pt x="36" y="12"/>
                </a:cubicBezTo>
                <a:cubicBezTo>
                  <a:pt x="39" y="13"/>
                  <a:pt x="40" y="16"/>
                  <a:pt x="39" y="18"/>
                </a:cubicBezTo>
                <a:lnTo>
                  <a:pt x="33" y="3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2" name="Freeform 633">
            <a:extLst>
              <a:ext uri="{FF2B5EF4-FFF2-40B4-BE49-F238E27FC236}">
                <a16:creationId xmlns:a16="http://schemas.microsoft.com/office/drawing/2014/main" id="{7B6230B6-CACF-415C-A8F8-1AE974DB9796}"/>
              </a:ext>
            </a:extLst>
          </p:cNvPr>
          <p:cNvSpPr>
            <a:spLocks/>
          </p:cNvSpPr>
          <p:nvPr/>
        </p:nvSpPr>
        <p:spPr bwMode="auto">
          <a:xfrm>
            <a:off x="7229397" y="6448129"/>
            <a:ext cx="7513" cy="10018"/>
          </a:xfrm>
          <a:custGeom>
            <a:avLst/>
            <a:gdLst>
              <a:gd name="T0" fmla="*/ 1 w 13"/>
              <a:gd name="T1" fmla="*/ 11 h 18"/>
              <a:gd name="T2" fmla="*/ 3 w 13"/>
              <a:gd name="T3" fmla="*/ 17 h 18"/>
              <a:gd name="T4" fmla="*/ 9 w 13"/>
              <a:gd name="T5" fmla="*/ 15 h 18"/>
              <a:gd name="T6" fmla="*/ 12 w 13"/>
              <a:gd name="T7" fmla="*/ 7 h 18"/>
              <a:gd name="T8" fmla="*/ 10 w 13"/>
              <a:gd name="T9" fmla="*/ 1 h 18"/>
              <a:gd name="T10" fmla="*/ 10 w 13"/>
              <a:gd name="T11" fmla="*/ 1 h 18"/>
              <a:gd name="T12" fmla="*/ 4 w 13"/>
              <a:gd name="T13" fmla="*/ 3 h 18"/>
              <a:gd name="T14" fmla="*/ 1 w 13"/>
              <a:gd name="T15" fmla="*/ 11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18">
                <a:moveTo>
                  <a:pt x="1" y="11"/>
                </a:moveTo>
                <a:cubicBezTo>
                  <a:pt x="0" y="13"/>
                  <a:pt x="1" y="16"/>
                  <a:pt x="3" y="17"/>
                </a:cubicBezTo>
                <a:cubicBezTo>
                  <a:pt x="5" y="18"/>
                  <a:pt x="8" y="17"/>
                  <a:pt x="9" y="15"/>
                </a:cubicBezTo>
                <a:cubicBezTo>
                  <a:pt x="12" y="7"/>
                  <a:pt x="12" y="7"/>
                  <a:pt x="12" y="7"/>
                </a:cubicBezTo>
                <a:cubicBezTo>
                  <a:pt x="13" y="4"/>
                  <a:pt x="12" y="2"/>
                  <a:pt x="10" y="1"/>
                </a:cubicBezTo>
                <a:cubicBezTo>
                  <a:pt x="10" y="1"/>
                  <a:pt x="10" y="1"/>
                  <a:pt x="10" y="1"/>
                </a:cubicBezTo>
                <a:cubicBezTo>
                  <a:pt x="8" y="0"/>
                  <a:pt x="5" y="1"/>
                  <a:pt x="4" y="3"/>
                </a:cubicBezTo>
                <a:lnTo>
                  <a:pt x="1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3" name="Freeform 634">
            <a:extLst>
              <a:ext uri="{FF2B5EF4-FFF2-40B4-BE49-F238E27FC236}">
                <a16:creationId xmlns:a16="http://schemas.microsoft.com/office/drawing/2014/main" id="{D3561F2D-C268-4915-AF79-4CF2DE8CF8A0}"/>
              </a:ext>
            </a:extLst>
          </p:cNvPr>
          <p:cNvSpPr>
            <a:spLocks/>
          </p:cNvSpPr>
          <p:nvPr/>
        </p:nvSpPr>
        <p:spPr bwMode="auto">
          <a:xfrm>
            <a:off x="7225640" y="6441868"/>
            <a:ext cx="8766" cy="13775"/>
          </a:xfrm>
          <a:custGeom>
            <a:avLst/>
            <a:gdLst>
              <a:gd name="T0" fmla="*/ 1 w 17"/>
              <a:gd name="T1" fmla="*/ 19 h 26"/>
              <a:gd name="T2" fmla="*/ 3 w 17"/>
              <a:gd name="T3" fmla="*/ 25 h 26"/>
              <a:gd name="T4" fmla="*/ 9 w 17"/>
              <a:gd name="T5" fmla="*/ 23 h 26"/>
              <a:gd name="T6" fmla="*/ 16 w 17"/>
              <a:gd name="T7" fmla="*/ 7 h 26"/>
              <a:gd name="T8" fmla="*/ 14 w 17"/>
              <a:gd name="T9" fmla="*/ 1 h 26"/>
              <a:gd name="T10" fmla="*/ 14 w 17"/>
              <a:gd name="T11" fmla="*/ 1 h 26"/>
              <a:gd name="T12" fmla="*/ 8 w 17"/>
              <a:gd name="T13" fmla="*/ 3 h 26"/>
              <a:gd name="T14" fmla="*/ 1 w 17"/>
              <a:gd name="T15" fmla="*/ 19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" h="26">
                <a:moveTo>
                  <a:pt x="1" y="19"/>
                </a:moveTo>
                <a:cubicBezTo>
                  <a:pt x="0" y="22"/>
                  <a:pt x="1" y="24"/>
                  <a:pt x="3" y="25"/>
                </a:cubicBezTo>
                <a:cubicBezTo>
                  <a:pt x="5" y="26"/>
                  <a:pt x="8" y="25"/>
                  <a:pt x="9" y="23"/>
                </a:cubicBezTo>
                <a:cubicBezTo>
                  <a:pt x="16" y="7"/>
                  <a:pt x="16" y="7"/>
                  <a:pt x="16" y="7"/>
                </a:cubicBezTo>
                <a:cubicBezTo>
                  <a:pt x="17" y="5"/>
                  <a:pt x="16" y="2"/>
                  <a:pt x="14" y="1"/>
                </a:cubicBezTo>
                <a:cubicBezTo>
                  <a:pt x="14" y="1"/>
                  <a:pt x="14" y="1"/>
                  <a:pt x="14" y="1"/>
                </a:cubicBezTo>
                <a:cubicBezTo>
                  <a:pt x="12" y="0"/>
                  <a:pt x="9" y="1"/>
                  <a:pt x="8" y="3"/>
                </a:cubicBezTo>
                <a:lnTo>
                  <a:pt x="1" y="1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4" name="Freeform 635">
            <a:extLst>
              <a:ext uri="{FF2B5EF4-FFF2-40B4-BE49-F238E27FC236}">
                <a16:creationId xmlns:a16="http://schemas.microsoft.com/office/drawing/2014/main" id="{8C969A42-A497-4F9C-ABFC-F1713F23B740}"/>
              </a:ext>
            </a:extLst>
          </p:cNvPr>
          <p:cNvSpPr>
            <a:spLocks/>
          </p:cNvSpPr>
          <p:nvPr/>
        </p:nvSpPr>
        <p:spPr bwMode="auto">
          <a:xfrm>
            <a:off x="7234406" y="6449381"/>
            <a:ext cx="6262" cy="10018"/>
          </a:xfrm>
          <a:custGeom>
            <a:avLst/>
            <a:gdLst>
              <a:gd name="T0" fmla="*/ 3 w 13"/>
              <a:gd name="T1" fmla="*/ 18 h 19"/>
              <a:gd name="T2" fmla="*/ 9 w 13"/>
              <a:gd name="T3" fmla="*/ 15 h 19"/>
              <a:gd name="T4" fmla="*/ 12 w 13"/>
              <a:gd name="T5" fmla="*/ 7 h 19"/>
              <a:gd name="T6" fmla="*/ 10 w 13"/>
              <a:gd name="T7" fmla="*/ 1 h 19"/>
              <a:gd name="T8" fmla="*/ 10 w 13"/>
              <a:gd name="T9" fmla="*/ 1 h 19"/>
              <a:gd name="T10" fmla="*/ 4 w 13"/>
              <a:gd name="T11" fmla="*/ 4 h 19"/>
              <a:gd name="T12" fmla="*/ 1 w 13"/>
              <a:gd name="T13" fmla="*/ 12 h 19"/>
              <a:gd name="T14" fmla="*/ 3 w 13"/>
              <a:gd name="T15" fmla="*/ 18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19">
                <a:moveTo>
                  <a:pt x="3" y="18"/>
                </a:moveTo>
                <a:cubicBezTo>
                  <a:pt x="5" y="19"/>
                  <a:pt x="8" y="18"/>
                  <a:pt x="9" y="15"/>
                </a:cubicBezTo>
                <a:cubicBezTo>
                  <a:pt x="12" y="7"/>
                  <a:pt x="12" y="7"/>
                  <a:pt x="12" y="7"/>
                </a:cubicBezTo>
                <a:cubicBezTo>
                  <a:pt x="13" y="5"/>
                  <a:pt x="12" y="2"/>
                  <a:pt x="10" y="1"/>
                </a:cubicBezTo>
                <a:cubicBezTo>
                  <a:pt x="10" y="1"/>
                  <a:pt x="10" y="1"/>
                  <a:pt x="10" y="1"/>
                </a:cubicBezTo>
                <a:cubicBezTo>
                  <a:pt x="8" y="0"/>
                  <a:pt x="5" y="1"/>
                  <a:pt x="4" y="4"/>
                </a:cubicBezTo>
                <a:cubicBezTo>
                  <a:pt x="1" y="12"/>
                  <a:pt x="1" y="12"/>
                  <a:pt x="1" y="12"/>
                </a:cubicBezTo>
                <a:cubicBezTo>
                  <a:pt x="0" y="14"/>
                  <a:pt x="1" y="17"/>
                  <a:pt x="3" y="1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5" name="Freeform 636">
            <a:extLst>
              <a:ext uri="{FF2B5EF4-FFF2-40B4-BE49-F238E27FC236}">
                <a16:creationId xmlns:a16="http://schemas.microsoft.com/office/drawing/2014/main" id="{7A7ED67B-44B5-4AB6-829A-C450F1227C07}"/>
              </a:ext>
            </a:extLst>
          </p:cNvPr>
          <p:cNvSpPr>
            <a:spLocks/>
          </p:cNvSpPr>
          <p:nvPr/>
        </p:nvSpPr>
        <p:spPr bwMode="auto">
          <a:xfrm>
            <a:off x="7238163" y="6451886"/>
            <a:ext cx="6262" cy="10018"/>
          </a:xfrm>
          <a:custGeom>
            <a:avLst/>
            <a:gdLst>
              <a:gd name="T0" fmla="*/ 1 w 13"/>
              <a:gd name="T1" fmla="*/ 11 h 18"/>
              <a:gd name="T2" fmla="*/ 3 w 13"/>
              <a:gd name="T3" fmla="*/ 17 h 18"/>
              <a:gd name="T4" fmla="*/ 9 w 13"/>
              <a:gd name="T5" fmla="*/ 15 h 18"/>
              <a:gd name="T6" fmla="*/ 12 w 13"/>
              <a:gd name="T7" fmla="*/ 7 h 18"/>
              <a:gd name="T8" fmla="*/ 10 w 13"/>
              <a:gd name="T9" fmla="*/ 1 h 18"/>
              <a:gd name="T10" fmla="*/ 4 w 13"/>
              <a:gd name="T11" fmla="*/ 3 h 18"/>
              <a:gd name="T12" fmla="*/ 1 w 13"/>
              <a:gd name="T13" fmla="*/ 11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18">
                <a:moveTo>
                  <a:pt x="1" y="11"/>
                </a:moveTo>
                <a:cubicBezTo>
                  <a:pt x="0" y="14"/>
                  <a:pt x="1" y="16"/>
                  <a:pt x="3" y="17"/>
                </a:cubicBezTo>
                <a:cubicBezTo>
                  <a:pt x="5" y="18"/>
                  <a:pt x="8" y="17"/>
                  <a:pt x="9" y="15"/>
                </a:cubicBezTo>
                <a:cubicBezTo>
                  <a:pt x="12" y="7"/>
                  <a:pt x="12" y="7"/>
                  <a:pt x="12" y="7"/>
                </a:cubicBezTo>
                <a:cubicBezTo>
                  <a:pt x="13" y="5"/>
                  <a:pt x="12" y="2"/>
                  <a:pt x="10" y="1"/>
                </a:cubicBezTo>
                <a:cubicBezTo>
                  <a:pt x="8" y="0"/>
                  <a:pt x="5" y="1"/>
                  <a:pt x="4" y="3"/>
                </a:cubicBezTo>
                <a:lnTo>
                  <a:pt x="1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6" name="Rectangle 637">
            <a:extLst>
              <a:ext uri="{FF2B5EF4-FFF2-40B4-BE49-F238E27FC236}">
                <a16:creationId xmlns:a16="http://schemas.microsoft.com/office/drawing/2014/main" id="{6A664E3F-C3D3-4E35-9081-5134B8DC99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73761" y="3809673"/>
            <a:ext cx="717530" cy="36315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7" name="Rectangle 638">
            <a:extLst>
              <a:ext uri="{FF2B5EF4-FFF2-40B4-BE49-F238E27FC236}">
                <a16:creationId xmlns:a16="http://schemas.microsoft.com/office/drawing/2014/main" id="{F50C2080-6A44-4C15-9294-B6BB8A0E06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0130" y="3659405"/>
            <a:ext cx="651162" cy="18784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8" name="Rectangle 639">
            <a:extLst>
              <a:ext uri="{FF2B5EF4-FFF2-40B4-BE49-F238E27FC236}">
                <a16:creationId xmlns:a16="http://schemas.microsoft.com/office/drawing/2014/main" id="{F41396FE-165A-4419-BCAA-F756A6D864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50148" y="3678188"/>
            <a:ext cx="11270" cy="149016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9" name="Rectangle 640">
            <a:extLst>
              <a:ext uri="{FF2B5EF4-FFF2-40B4-BE49-F238E27FC236}">
                <a16:creationId xmlns:a16="http://schemas.microsoft.com/office/drawing/2014/main" id="{1A9C0B46-645D-41F4-88AD-5B1C162CF1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2831" y="3678188"/>
            <a:ext cx="11270" cy="149016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0" name="Rectangle 641">
            <a:extLst>
              <a:ext uri="{FF2B5EF4-FFF2-40B4-BE49-F238E27FC236}">
                <a16:creationId xmlns:a16="http://schemas.microsoft.com/office/drawing/2014/main" id="{2B77E322-8461-41B6-B7F7-7DD7B89F92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5514" y="3678188"/>
            <a:ext cx="11270" cy="149016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1" name="Rectangle 642">
            <a:extLst>
              <a:ext uri="{FF2B5EF4-FFF2-40B4-BE49-F238E27FC236}">
                <a16:creationId xmlns:a16="http://schemas.microsoft.com/office/drawing/2014/main" id="{F6216903-8BE0-4BE7-8A22-007D16DFA1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59449" y="3678188"/>
            <a:ext cx="10018" cy="149016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2" name="Rectangle 643">
            <a:extLst>
              <a:ext uri="{FF2B5EF4-FFF2-40B4-BE49-F238E27FC236}">
                <a16:creationId xmlns:a16="http://schemas.microsoft.com/office/drawing/2014/main" id="{B843EB3D-FF2D-442A-9301-6EB707FA48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0881" y="3678188"/>
            <a:ext cx="11270" cy="149016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3" name="Rectangle 644">
            <a:extLst>
              <a:ext uri="{FF2B5EF4-FFF2-40B4-BE49-F238E27FC236}">
                <a16:creationId xmlns:a16="http://schemas.microsoft.com/office/drawing/2014/main" id="{F41C79C1-F790-4478-A470-504A59F70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63564" y="3678188"/>
            <a:ext cx="11270" cy="149016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4" name="Rectangle 645">
            <a:extLst>
              <a:ext uri="{FF2B5EF4-FFF2-40B4-BE49-F238E27FC236}">
                <a16:creationId xmlns:a16="http://schemas.microsoft.com/office/drawing/2014/main" id="{9574689D-5A78-4E0F-9D3C-1F3C8CA3F7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67499" y="3678188"/>
            <a:ext cx="10018" cy="149016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5" name="Freeform 646">
            <a:extLst>
              <a:ext uri="{FF2B5EF4-FFF2-40B4-BE49-F238E27FC236}">
                <a16:creationId xmlns:a16="http://schemas.microsoft.com/office/drawing/2014/main" id="{0E42DF08-C84D-433D-A917-494400855748}"/>
              </a:ext>
            </a:extLst>
          </p:cNvPr>
          <p:cNvSpPr>
            <a:spLocks/>
          </p:cNvSpPr>
          <p:nvPr/>
        </p:nvSpPr>
        <p:spPr bwMode="auto">
          <a:xfrm>
            <a:off x="7676445" y="3947419"/>
            <a:ext cx="251699" cy="535956"/>
          </a:xfrm>
          <a:custGeom>
            <a:avLst/>
            <a:gdLst>
              <a:gd name="T0" fmla="*/ 478 w 486"/>
              <a:gd name="T1" fmla="*/ 1030 h 1030"/>
              <a:gd name="T2" fmla="*/ 473 w 486"/>
              <a:gd name="T3" fmla="*/ 1028 h 1030"/>
              <a:gd name="T4" fmla="*/ 3 w 486"/>
              <a:gd name="T5" fmla="*/ 630 h 1030"/>
              <a:gd name="T6" fmla="*/ 0 w 486"/>
              <a:gd name="T7" fmla="*/ 624 h 1030"/>
              <a:gd name="T8" fmla="*/ 3 w 486"/>
              <a:gd name="T9" fmla="*/ 618 h 1030"/>
              <a:gd name="T10" fmla="*/ 442 w 486"/>
              <a:gd name="T11" fmla="*/ 329 h 1030"/>
              <a:gd name="T12" fmla="*/ 23 w 486"/>
              <a:gd name="T13" fmla="*/ 15 h 1030"/>
              <a:gd name="T14" fmla="*/ 22 w 486"/>
              <a:gd name="T15" fmla="*/ 4 h 1030"/>
              <a:gd name="T16" fmla="*/ 32 w 486"/>
              <a:gd name="T17" fmla="*/ 2 h 1030"/>
              <a:gd name="T18" fmla="*/ 460 w 486"/>
              <a:gd name="T19" fmla="*/ 323 h 1030"/>
              <a:gd name="T20" fmla="*/ 463 w 486"/>
              <a:gd name="T21" fmla="*/ 330 h 1030"/>
              <a:gd name="T22" fmla="*/ 459 w 486"/>
              <a:gd name="T23" fmla="*/ 336 h 1030"/>
              <a:gd name="T24" fmla="*/ 20 w 486"/>
              <a:gd name="T25" fmla="*/ 625 h 1030"/>
              <a:gd name="T26" fmla="*/ 483 w 486"/>
              <a:gd name="T27" fmla="*/ 1016 h 1030"/>
              <a:gd name="T28" fmla="*/ 484 w 486"/>
              <a:gd name="T29" fmla="*/ 1027 h 1030"/>
              <a:gd name="T30" fmla="*/ 478 w 486"/>
              <a:gd name="T31" fmla="*/ 1030 h 10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486" h="1030">
                <a:moveTo>
                  <a:pt x="478" y="1030"/>
                </a:moveTo>
                <a:cubicBezTo>
                  <a:pt x="476" y="1030"/>
                  <a:pt x="474" y="1029"/>
                  <a:pt x="473" y="1028"/>
                </a:cubicBezTo>
                <a:cubicBezTo>
                  <a:pt x="3" y="630"/>
                  <a:pt x="3" y="630"/>
                  <a:pt x="3" y="630"/>
                </a:cubicBezTo>
                <a:cubicBezTo>
                  <a:pt x="1" y="629"/>
                  <a:pt x="0" y="627"/>
                  <a:pt x="0" y="624"/>
                </a:cubicBezTo>
                <a:cubicBezTo>
                  <a:pt x="0" y="622"/>
                  <a:pt x="1" y="620"/>
                  <a:pt x="3" y="618"/>
                </a:cubicBezTo>
                <a:cubicBezTo>
                  <a:pt x="442" y="329"/>
                  <a:pt x="442" y="329"/>
                  <a:pt x="442" y="329"/>
                </a:cubicBezTo>
                <a:cubicBezTo>
                  <a:pt x="23" y="15"/>
                  <a:pt x="23" y="15"/>
                  <a:pt x="23" y="15"/>
                </a:cubicBezTo>
                <a:cubicBezTo>
                  <a:pt x="20" y="12"/>
                  <a:pt x="19" y="7"/>
                  <a:pt x="22" y="4"/>
                </a:cubicBezTo>
                <a:cubicBezTo>
                  <a:pt x="24" y="1"/>
                  <a:pt x="29" y="0"/>
                  <a:pt x="32" y="2"/>
                </a:cubicBezTo>
                <a:cubicBezTo>
                  <a:pt x="460" y="323"/>
                  <a:pt x="460" y="323"/>
                  <a:pt x="460" y="323"/>
                </a:cubicBezTo>
                <a:cubicBezTo>
                  <a:pt x="462" y="325"/>
                  <a:pt x="463" y="327"/>
                  <a:pt x="463" y="330"/>
                </a:cubicBezTo>
                <a:cubicBezTo>
                  <a:pt x="463" y="332"/>
                  <a:pt x="461" y="334"/>
                  <a:pt x="459" y="336"/>
                </a:cubicBezTo>
                <a:cubicBezTo>
                  <a:pt x="20" y="625"/>
                  <a:pt x="20" y="625"/>
                  <a:pt x="20" y="625"/>
                </a:cubicBezTo>
                <a:cubicBezTo>
                  <a:pt x="483" y="1016"/>
                  <a:pt x="483" y="1016"/>
                  <a:pt x="483" y="1016"/>
                </a:cubicBezTo>
                <a:cubicBezTo>
                  <a:pt x="486" y="1019"/>
                  <a:pt x="486" y="1024"/>
                  <a:pt x="484" y="1027"/>
                </a:cubicBezTo>
                <a:cubicBezTo>
                  <a:pt x="482" y="1029"/>
                  <a:pt x="480" y="1030"/>
                  <a:pt x="478" y="103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6" name="Freeform 647">
            <a:extLst>
              <a:ext uri="{FF2B5EF4-FFF2-40B4-BE49-F238E27FC236}">
                <a16:creationId xmlns:a16="http://schemas.microsoft.com/office/drawing/2014/main" id="{AD5F943C-B66A-4C6B-A548-95600E707DEB}"/>
              </a:ext>
            </a:extLst>
          </p:cNvPr>
          <p:cNvSpPr>
            <a:spLocks/>
          </p:cNvSpPr>
          <p:nvPr/>
        </p:nvSpPr>
        <p:spPr bwMode="auto">
          <a:xfrm>
            <a:off x="7653904" y="4632390"/>
            <a:ext cx="298032" cy="535956"/>
          </a:xfrm>
          <a:custGeom>
            <a:avLst/>
            <a:gdLst>
              <a:gd name="T0" fmla="*/ 565 w 574"/>
              <a:gd name="T1" fmla="*/ 1030 h 1030"/>
              <a:gd name="T2" fmla="*/ 561 w 574"/>
              <a:gd name="T3" fmla="*/ 1029 h 1030"/>
              <a:gd name="T4" fmla="*/ 3 w 574"/>
              <a:gd name="T5" fmla="*/ 631 h 1030"/>
              <a:gd name="T6" fmla="*/ 0 w 574"/>
              <a:gd name="T7" fmla="*/ 624 h 1030"/>
              <a:gd name="T8" fmla="*/ 4 w 574"/>
              <a:gd name="T9" fmla="*/ 618 h 1030"/>
              <a:gd name="T10" fmla="*/ 530 w 574"/>
              <a:gd name="T11" fmla="*/ 329 h 1030"/>
              <a:gd name="T12" fmla="*/ 27 w 574"/>
              <a:gd name="T13" fmla="*/ 15 h 1030"/>
              <a:gd name="T14" fmla="*/ 25 w 574"/>
              <a:gd name="T15" fmla="*/ 4 h 1030"/>
              <a:gd name="T16" fmla="*/ 35 w 574"/>
              <a:gd name="T17" fmla="*/ 2 h 1030"/>
              <a:gd name="T18" fmla="*/ 549 w 574"/>
              <a:gd name="T19" fmla="*/ 323 h 1030"/>
              <a:gd name="T20" fmla="*/ 552 w 574"/>
              <a:gd name="T21" fmla="*/ 329 h 1030"/>
              <a:gd name="T22" fmla="*/ 548 w 574"/>
              <a:gd name="T23" fmla="*/ 336 h 1030"/>
              <a:gd name="T24" fmla="*/ 21 w 574"/>
              <a:gd name="T25" fmla="*/ 625 h 1030"/>
              <a:gd name="T26" fmla="*/ 569 w 574"/>
              <a:gd name="T27" fmla="*/ 1016 h 1030"/>
              <a:gd name="T28" fmla="*/ 571 w 574"/>
              <a:gd name="T29" fmla="*/ 1027 h 1030"/>
              <a:gd name="T30" fmla="*/ 565 w 574"/>
              <a:gd name="T31" fmla="*/ 1030 h 10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74" h="1030">
                <a:moveTo>
                  <a:pt x="565" y="1030"/>
                </a:moveTo>
                <a:cubicBezTo>
                  <a:pt x="563" y="1030"/>
                  <a:pt x="562" y="1030"/>
                  <a:pt x="561" y="1029"/>
                </a:cubicBezTo>
                <a:cubicBezTo>
                  <a:pt x="3" y="631"/>
                  <a:pt x="3" y="631"/>
                  <a:pt x="3" y="631"/>
                </a:cubicBezTo>
                <a:cubicBezTo>
                  <a:pt x="1" y="629"/>
                  <a:pt x="0" y="627"/>
                  <a:pt x="0" y="624"/>
                </a:cubicBezTo>
                <a:cubicBezTo>
                  <a:pt x="0" y="621"/>
                  <a:pt x="1" y="619"/>
                  <a:pt x="4" y="618"/>
                </a:cubicBezTo>
                <a:cubicBezTo>
                  <a:pt x="530" y="329"/>
                  <a:pt x="530" y="329"/>
                  <a:pt x="530" y="329"/>
                </a:cubicBezTo>
                <a:cubicBezTo>
                  <a:pt x="27" y="15"/>
                  <a:pt x="27" y="15"/>
                  <a:pt x="27" y="15"/>
                </a:cubicBezTo>
                <a:cubicBezTo>
                  <a:pt x="24" y="13"/>
                  <a:pt x="22" y="8"/>
                  <a:pt x="25" y="4"/>
                </a:cubicBezTo>
                <a:cubicBezTo>
                  <a:pt x="27" y="1"/>
                  <a:pt x="32" y="0"/>
                  <a:pt x="35" y="2"/>
                </a:cubicBezTo>
                <a:cubicBezTo>
                  <a:pt x="549" y="323"/>
                  <a:pt x="549" y="323"/>
                  <a:pt x="549" y="323"/>
                </a:cubicBezTo>
                <a:cubicBezTo>
                  <a:pt x="551" y="324"/>
                  <a:pt x="552" y="327"/>
                  <a:pt x="552" y="329"/>
                </a:cubicBezTo>
                <a:cubicBezTo>
                  <a:pt x="552" y="332"/>
                  <a:pt x="551" y="335"/>
                  <a:pt x="548" y="336"/>
                </a:cubicBezTo>
                <a:cubicBezTo>
                  <a:pt x="21" y="625"/>
                  <a:pt x="21" y="625"/>
                  <a:pt x="21" y="625"/>
                </a:cubicBezTo>
                <a:cubicBezTo>
                  <a:pt x="569" y="1016"/>
                  <a:pt x="569" y="1016"/>
                  <a:pt x="569" y="1016"/>
                </a:cubicBezTo>
                <a:cubicBezTo>
                  <a:pt x="573" y="1019"/>
                  <a:pt x="574" y="1024"/>
                  <a:pt x="571" y="1027"/>
                </a:cubicBezTo>
                <a:cubicBezTo>
                  <a:pt x="570" y="1029"/>
                  <a:pt x="567" y="1030"/>
                  <a:pt x="565" y="103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7" name="Freeform 648">
            <a:extLst>
              <a:ext uri="{FF2B5EF4-FFF2-40B4-BE49-F238E27FC236}">
                <a16:creationId xmlns:a16="http://schemas.microsoft.com/office/drawing/2014/main" id="{F754E7E4-4CF8-4340-B4C7-2A987F15D1CF}"/>
              </a:ext>
            </a:extLst>
          </p:cNvPr>
          <p:cNvSpPr>
            <a:spLocks/>
          </p:cNvSpPr>
          <p:nvPr/>
        </p:nvSpPr>
        <p:spPr bwMode="auto">
          <a:xfrm>
            <a:off x="7632617" y="5311101"/>
            <a:ext cx="340608" cy="534704"/>
          </a:xfrm>
          <a:custGeom>
            <a:avLst/>
            <a:gdLst>
              <a:gd name="T0" fmla="*/ 647 w 655"/>
              <a:gd name="T1" fmla="*/ 1028 h 1028"/>
              <a:gd name="T2" fmla="*/ 643 w 655"/>
              <a:gd name="T3" fmla="*/ 1027 h 1028"/>
              <a:gd name="T4" fmla="*/ 3 w 655"/>
              <a:gd name="T5" fmla="*/ 631 h 1028"/>
              <a:gd name="T6" fmla="*/ 0 w 655"/>
              <a:gd name="T7" fmla="*/ 625 h 1028"/>
              <a:gd name="T8" fmla="*/ 4 w 655"/>
              <a:gd name="T9" fmla="*/ 618 h 1028"/>
              <a:gd name="T10" fmla="*/ 602 w 655"/>
              <a:gd name="T11" fmla="*/ 329 h 1028"/>
              <a:gd name="T12" fmla="*/ 31 w 655"/>
              <a:gd name="T13" fmla="*/ 16 h 1028"/>
              <a:gd name="T14" fmla="*/ 28 w 655"/>
              <a:gd name="T15" fmla="*/ 5 h 1028"/>
              <a:gd name="T16" fmla="*/ 38 w 655"/>
              <a:gd name="T17" fmla="*/ 2 h 1028"/>
              <a:gd name="T18" fmla="*/ 622 w 655"/>
              <a:gd name="T19" fmla="*/ 323 h 1028"/>
              <a:gd name="T20" fmla="*/ 626 w 655"/>
              <a:gd name="T21" fmla="*/ 330 h 1028"/>
              <a:gd name="T22" fmla="*/ 622 w 655"/>
              <a:gd name="T23" fmla="*/ 337 h 1028"/>
              <a:gd name="T24" fmla="*/ 23 w 655"/>
              <a:gd name="T25" fmla="*/ 626 h 1028"/>
              <a:gd name="T26" fmla="*/ 651 w 655"/>
              <a:gd name="T27" fmla="*/ 1014 h 1028"/>
              <a:gd name="T28" fmla="*/ 653 w 655"/>
              <a:gd name="T29" fmla="*/ 1025 h 1028"/>
              <a:gd name="T30" fmla="*/ 647 w 655"/>
              <a:gd name="T31" fmla="*/ 1028 h 10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655" h="1028">
                <a:moveTo>
                  <a:pt x="647" y="1028"/>
                </a:moveTo>
                <a:cubicBezTo>
                  <a:pt x="645" y="1028"/>
                  <a:pt x="644" y="1028"/>
                  <a:pt x="643" y="1027"/>
                </a:cubicBezTo>
                <a:cubicBezTo>
                  <a:pt x="3" y="631"/>
                  <a:pt x="3" y="631"/>
                  <a:pt x="3" y="631"/>
                </a:cubicBezTo>
                <a:cubicBezTo>
                  <a:pt x="1" y="630"/>
                  <a:pt x="0" y="627"/>
                  <a:pt x="0" y="625"/>
                </a:cubicBezTo>
                <a:cubicBezTo>
                  <a:pt x="0" y="622"/>
                  <a:pt x="1" y="619"/>
                  <a:pt x="4" y="618"/>
                </a:cubicBezTo>
                <a:cubicBezTo>
                  <a:pt x="602" y="329"/>
                  <a:pt x="602" y="329"/>
                  <a:pt x="602" y="329"/>
                </a:cubicBezTo>
                <a:cubicBezTo>
                  <a:pt x="31" y="16"/>
                  <a:pt x="31" y="16"/>
                  <a:pt x="31" y="16"/>
                </a:cubicBezTo>
                <a:cubicBezTo>
                  <a:pt x="28" y="14"/>
                  <a:pt x="26" y="9"/>
                  <a:pt x="28" y="5"/>
                </a:cubicBezTo>
                <a:cubicBezTo>
                  <a:pt x="30" y="2"/>
                  <a:pt x="35" y="0"/>
                  <a:pt x="38" y="2"/>
                </a:cubicBezTo>
                <a:cubicBezTo>
                  <a:pt x="622" y="323"/>
                  <a:pt x="622" y="323"/>
                  <a:pt x="622" y="323"/>
                </a:cubicBezTo>
                <a:cubicBezTo>
                  <a:pt x="625" y="325"/>
                  <a:pt x="626" y="327"/>
                  <a:pt x="626" y="330"/>
                </a:cubicBezTo>
                <a:cubicBezTo>
                  <a:pt x="626" y="333"/>
                  <a:pt x="624" y="335"/>
                  <a:pt x="622" y="337"/>
                </a:cubicBezTo>
                <a:cubicBezTo>
                  <a:pt x="23" y="626"/>
                  <a:pt x="23" y="626"/>
                  <a:pt x="23" y="626"/>
                </a:cubicBezTo>
                <a:cubicBezTo>
                  <a:pt x="651" y="1014"/>
                  <a:pt x="651" y="1014"/>
                  <a:pt x="651" y="1014"/>
                </a:cubicBezTo>
                <a:cubicBezTo>
                  <a:pt x="654" y="1016"/>
                  <a:pt x="655" y="1021"/>
                  <a:pt x="653" y="1025"/>
                </a:cubicBezTo>
                <a:cubicBezTo>
                  <a:pt x="652" y="1027"/>
                  <a:pt x="649" y="1028"/>
                  <a:pt x="647" y="1028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8" name="Freeform 649">
            <a:extLst>
              <a:ext uri="{FF2B5EF4-FFF2-40B4-BE49-F238E27FC236}">
                <a16:creationId xmlns:a16="http://schemas.microsoft.com/office/drawing/2014/main" id="{0C48C8E7-A388-4B0B-A28C-1BDC206F7B63}"/>
              </a:ext>
            </a:extLst>
          </p:cNvPr>
          <p:cNvSpPr>
            <a:spLocks/>
          </p:cNvSpPr>
          <p:nvPr/>
        </p:nvSpPr>
        <p:spPr bwMode="auto">
          <a:xfrm>
            <a:off x="7671436" y="3947419"/>
            <a:ext cx="252951" cy="535956"/>
          </a:xfrm>
          <a:custGeom>
            <a:avLst/>
            <a:gdLst>
              <a:gd name="T0" fmla="*/ 8 w 486"/>
              <a:gd name="T1" fmla="*/ 1030 h 1030"/>
              <a:gd name="T2" fmla="*/ 2 w 486"/>
              <a:gd name="T3" fmla="*/ 1027 h 1030"/>
              <a:gd name="T4" fmla="*/ 3 w 486"/>
              <a:gd name="T5" fmla="*/ 1016 h 1030"/>
              <a:gd name="T6" fmla="*/ 466 w 486"/>
              <a:gd name="T7" fmla="*/ 625 h 1030"/>
              <a:gd name="T8" fmla="*/ 27 w 486"/>
              <a:gd name="T9" fmla="*/ 336 h 1030"/>
              <a:gd name="T10" fmla="*/ 23 w 486"/>
              <a:gd name="T11" fmla="*/ 330 h 1030"/>
              <a:gd name="T12" fmla="*/ 26 w 486"/>
              <a:gd name="T13" fmla="*/ 323 h 1030"/>
              <a:gd name="T14" fmla="*/ 454 w 486"/>
              <a:gd name="T15" fmla="*/ 2 h 1030"/>
              <a:gd name="T16" fmla="*/ 464 w 486"/>
              <a:gd name="T17" fmla="*/ 4 h 1030"/>
              <a:gd name="T18" fmla="*/ 463 w 486"/>
              <a:gd name="T19" fmla="*/ 15 h 1030"/>
              <a:gd name="T20" fmla="*/ 44 w 486"/>
              <a:gd name="T21" fmla="*/ 329 h 1030"/>
              <a:gd name="T22" fmla="*/ 483 w 486"/>
              <a:gd name="T23" fmla="*/ 618 h 1030"/>
              <a:gd name="T24" fmla="*/ 486 w 486"/>
              <a:gd name="T25" fmla="*/ 624 h 1030"/>
              <a:gd name="T26" fmla="*/ 483 w 486"/>
              <a:gd name="T27" fmla="*/ 630 h 1030"/>
              <a:gd name="T28" fmla="*/ 13 w 486"/>
              <a:gd name="T29" fmla="*/ 1028 h 1030"/>
              <a:gd name="T30" fmla="*/ 8 w 486"/>
              <a:gd name="T31" fmla="*/ 1030 h 10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486" h="1030">
                <a:moveTo>
                  <a:pt x="8" y="1030"/>
                </a:moveTo>
                <a:cubicBezTo>
                  <a:pt x="6" y="1030"/>
                  <a:pt x="4" y="1029"/>
                  <a:pt x="2" y="1027"/>
                </a:cubicBezTo>
                <a:cubicBezTo>
                  <a:pt x="0" y="1024"/>
                  <a:pt x="0" y="1019"/>
                  <a:pt x="3" y="1016"/>
                </a:cubicBezTo>
                <a:cubicBezTo>
                  <a:pt x="466" y="625"/>
                  <a:pt x="466" y="625"/>
                  <a:pt x="466" y="625"/>
                </a:cubicBezTo>
                <a:cubicBezTo>
                  <a:pt x="27" y="336"/>
                  <a:pt x="27" y="336"/>
                  <a:pt x="27" y="336"/>
                </a:cubicBezTo>
                <a:cubicBezTo>
                  <a:pt x="25" y="334"/>
                  <a:pt x="23" y="332"/>
                  <a:pt x="23" y="330"/>
                </a:cubicBezTo>
                <a:cubicBezTo>
                  <a:pt x="23" y="327"/>
                  <a:pt x="24" y="325"/>
                  <a:pt x="26" y="323"/>
                </a:cubicBezTo>
                <a:cubicBezTo>
                  <a:pt x="454" y="2"/>
                  <a:pt x="454" y="2"/>
                  <a:pt x="454" y="2"/>
                </a:cubicBezTo>
                <a:cubicBezTo>
                  <a:pt x="457" y="0"/>
                  <a:pt x="462" y="1"/>
                  <a:pt x="464" y="4"/>
                </a:cubicBezTo>
                <a:cubicBezTo>
                  <a:pt x="467" y="7"/>
                  <a:pt x="466" y="12"/>
                  <a:pt x="463" y="15"/>
                </a:cubicBezTo>
                <a:cubicBezTo>
                  <a:pt x="44" y="329"/>
                  <a:pt x="44" y="329"/>
                  <a:pt x="44" y="329"/>
                </a:cubicBezTo>
                <a:cubicBezTo>
                  <a:pt x="483" y="618"/>
                  <a:pt x="483" y="618"/>
                  <a:pt x="483" y="618"/>
                </a:cubicBezTo>
                <a:cubicBezTo>
                  <a:pt x="485" y="620"/>
                  <a:pt x="486" y="622"/>
                  <a:pt x="486" y="624"/>
                </a:cubicBezTo>
                <a:cubicBezTo>
                  <a:pt x="486" y="627"/>
                  <a:pt x="485" y="629"/>
                  <a:pt x="483" y="630"/>
                </a:cubicBezTo>
                <a:cubicBezTo>
                  <a:pt x="13" y="1028"/>
                  <a:pt x="13" y="1028"/>
                  <a:pt x="13" y="1028"/>
                </a:cubicBezTo>
                <a:cubicBezTo>
                  <a:pt x="12" y="1029"/>
                  <a:pt x="10" y="1030"/>
                  <a:pt x="8" y="103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9" name="Freeform 650">
            <a:extLst>
              <a:ext uri="{FF2B5EF4-FFF2-40B4-BE49-F238E27FC236}">
                <a16:creationId xmlns:a16="http://schemas.microsoft.com/office/drawing/2014/main" id="{BB109B36-ED46-4F59-9316-2E43A8EACF63}"/>
              </a:ext>
            </a:extLst>
          </p:cNvPr>
          <p:cNvSpPr>
            <a:spLocks/>
          </p:cNvSpPr>
          <p:nvPr/>
        </p:nvSpPr>
        <p:spPr bwMode="auto">
          <a:xfrm>
            <a:off x="7648895" y="4632390"/>
            <a:ext cx="298032" cy="535956"/>
          </a:xfrm>
          <a:custGeom>
            <a:avLst/>
            <a:gdLst>
              <a:gd name="T0" fmla="*/ 9 w 574"/>
              <a:gd name="T1" fmla="*/ 1030 h 1030"/>
              <a:gd name="T2" fmla="*/ 3 w 574"/>
              <a:gd name="T3" fmla="*/ 1027 h 1030"/>
              <a:gd name="T4" fmla="*/ 5 w 574"/>
              <a:gd name="T5" fmla="*/ 1016 h 1030"/>
              <a:gd name="T6" fmla="*/ 553 w 574"/>
              <a:gd name="T7" fmla="*/ 625 h 1030"/>
              <a:gd name="T8" fmla="*/ 33 w 574"/>
              <a:gd name="T9" fmla="*/ 336 h 1030"/>
              <a:gd name="T10" fmla="*/ 29 w 574"/>
              <a:gd name="T11" fmla="*/ 329 h 1030"/>
              <a:gd name="T12" fmla="*/ 33 w 574"/>
              <a:gd name="T13" fmla="*/ 323 h 1030"/>
              <a:gd name="T14" fmla="*/ 532 w 574"/>
              <a:gd name="T15" fmla="*/ 2 h 1030"/>
              <a:gd name="T16" fmla="*/ 542 w 574"/>
              <a:gd name="T17" fmla="*/ 4 h 1030"/>
              <a:gd name="T18" fmla="*/ 540 w 574"/>
              <a:gd name="T19" fmla="*/ 15 h 1030"/>
              <a:gd name="T20" fmla="*/ 52 w 574"/>
              <a:gd name="T21" fmla="*/ 329 h 1030"/>
              <a:gd name="T22" fmla="*/ 570 w 574"/>
              <a:gd name="T23" fmla="*/ 618 h 1030"/>
              <a:gd name="T24" fmla="*/ 574 w 574"/>
              <a:gd name="T25" fmla="*/ 624 h 1030"/>
              <a:gd name="T26" fmla="*/ 571 w 574"/>
              <a:gd name="T27" fmla="*/ 631 h 1030"/>
              <a:gd name="T28" fmla="*/ 13 w 574"/>
              <a:gd name="T29" fmla="*/ 1029 h 1030"/>
              <a:gd name="T30" fmla="*/ 9 w 574"/>
              <a:gd name="T31" fmla="*/ 1030 h 10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74" h="1030">
                <a:moveTo>
                  <a:pt x="9" y="1030"/>
                </a:moveTo>
                <a:cubicBezTo>
                  <a:pt x="7" y="1030"/>
                  <a:pt x="4" y="1029"/>
                  <a:pt x="3" y="1027"/>
                </a:cubicBezTo>
                <a:cubicBezTo>
                  <a:pt x="0" y="1024"/>
                  <a:pt x="1" y="1019"/>
                  <a:pt x="5" y="1016"/>
                </a:cubicBezTo>
                <a:cubicBezTo>
                  <a:pt x="553" y="625"/>
                  <a:pt x="553" y="625"/>
                  <a:pt x="553" y="625"/>
                </a:cubicBezTo>
                <a:cubicBezTo>
                  <a:pt x="33" y="336"/>
                  <a:pt x="33" y="336"/>
                  <a:pt x="33" y="336"/>
                </a:cubicBezTo>
                <a:cubicBezTo>
                  <a:pt x="31" y="335"/>
                  <a:pt x="29" y="332"/>
                  <a:pt x="29" y="329"/>
                </a:cubicBezTo>
                <a:cubicBezTo>
                  <a:pt x="29" y="327"/>
                  <a:pt x="30" y="324"/>
                  <a:pt x="33" y="323"/>
                </a:cubicBezTo>
                <a:cubicBezTo>
                  <a:pt x="532" y="2"/>
                  <a:pt x="532" y="2"/>
                  <a:pt x="532" y="2"/>
                </a:cubicBezTo>
                <a:cubicBezTo>
                  <a:pt x="535" y="0"/>
                  <a:pt x="540" y="1"/>
                  <a:pt x="542" y="4"/>
                </a:cubicBezTo>
                <a:cubicBezTo>
                  <a:pt x="545" y="8"/>
                  <a:pt x="543" y="12"/>
                  <a:pt x="540" y="15"/>
                </a:cubicBezTo>
                <a:cubicBezTo>
                  <a:pt x="52" y="329"/>
                  <a:pt x="52" y="329"/>
                  <a:pt x="52" y="329"/>
                </a:cubicBezTo>
                <a:cubicBezTo>
                  <a:pt x="570" y="618"/>
                  <a:pt x="570" y="618"/>
                  <a:pt x="570" y="618"/>
                </a:cubicBezTo>
                <a:cubicBezTo>
                  <a:pt x="573" y="619"/>
                  <a:pt x="574" y="621"/>
                  <a:pt x="574" y="624"/>
                </a:cubicBezTo>
                <a:cubicBezTo>
                  <a:pt x="574" y="627"/>
                  <a:pt x="573" y="629"/>
                  <a:pt x="571" y="631"/>
                </a:cubicBezTo>
                <a:cubicBezTo>
                  <a:pt x="13" y="1029"/>
                  <a:pt x="13" y="1029"/>
                  <a:pt x="13" y="1029"/>
                </a:cubicBezTo>
                <a:cubicBezTo>
                  <a:pt x="12" y="1030"/>
                  <a:pt x="10" y="1030"/>
                  <a:pt x="9" y="103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0" name="Freeform 651">
            <a:extLst>
              <a:ext uri="{FF2B5EF4-FFF2-40B4-BE49-F238E27FC236}">
                <a16:creationId xmlns:a16="http://schemas.microsoft.com/office/drawing/2014/main" id="{D8D69124-3BDA-4B06-8A5B-7E178C264DDE}"/>
              </a:ext>
            </a:extLst>
          </p:cNvPr>
          <p:cNvSpPr>
            <a:spLocks/>
          </p:cNvSpPr>
          <p:nvPr/>
        </p:nvSpPr>
        <p:spPr bwMode="auto">
          <a:xfrm>
            <a:off x="7632617" y="5311101"/>
            <a:ext cx="340608" cy="534704"/>
          </a:xfrm>
          <a:custGeom>
            <a:avLst/>
            <a:gdLst>
              <a:gd name="T0" fmla="*/ 8 w 655"/>
              <a:gd name="T1" fmla="*/ 1028 h 1028"/>
              <a:gd name="T2" fmla="*/ 2 w 655"/>
              <a:gd name="T3" fmla="*/ 1025 h 1028"/>
              <a:gd name="T4" fmla="*/ 4 w 655"/>
              <a:gd name="T5" fmla="*/ 1014 h 1028"/>
              <a:gd name="T6" fmla="*/ 632 w 655"/>
              <a:gd name="T7" fmla="*/ 626 h 1028"/>
              <a:gd name="T8" fmla="*/ 33 w 655"/>
              <a:gd name="T9" fmla="*/ 337 h 1028"/>
              <a:gd name="T10" fmla="*/ 29 w 655"/>
              <a:gd name="T11" fmla="*/ 330 h 1028"/>
              <a:gd name="T12" fmla="*/ 33 w 655"/>
              <a:gd name="T13" fmla="*/ 323 h 1028"/>
              <a:gd name="T14" fmla="*/ 616 w 655"/>
              <a:gd name="T15" fmla="*/ 2 h 1028"/>
              <a:gd name="T16" fmla="*/ 627 w 655"/>
              <a:gd name="T17" fmla="*/ 5 h 1028"/>
              <a:gd name="T18" fmla="*/ 624 w 655"/>
              <a:gd name="T19" fmla="*/ 16 h 1028"/>
              <a:gd name="T20" fmla="*/ 53 w 655"/>
              <a:gd name="T21" fmla="*/ 329 h 1028"/>
              <a:gd name="T22" fmla="*/ 651 w 655"/>
              <a:gd name="T23" fmla="*/ 618 h 1028"/>
              <a:gd name="T24" fmla="*/ 655 w 655"/>
              <a:gd name="T25" fmla="*/ 625 h 1028"/>
              <a:gd name="T26" fmla="*/ 652 w 655"/>
              <a:gd name="T27" fmla="*/ 631 h 1028"/>
              <a:gd name="T28" fmla="*/ 12 w 655"/>
              <a:gd name="T29" fmla="*/ 1027 h 1028"/>
              <a:gd name="T30" fmla="*/ 8 w 655"/>
              <a:gd name="T31" fmla="*/ 1028 h 10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655" h="1028">
                <a:moveTo>
                  <a:pt x="8" y="1028"/>
                </a:moveTo>
                <a:cubicBezTo>
                  <a:pt x="6" y="1028"/>
                  <a:pt x="3" y="1027"/>
                  <a:pt x="2" y="1025"/>
                </a:cubicBezTo>
                <a:cubicBezTo>
                  <a:pt x="0" y="1021"/>
                  <a:pt x="1" y="1016"/>
                  <a:pt x="4" y="1014"/>
                </a:cubicBezTo>
                <a:cubicBezTo>
                  <a:pt x="632" y="626"/>
                  <a:pt x="632" y="626"/>
                  <a:pt x="632" y="626"/>
                </a:cubicBezTo>
                <a:cubicBezTo>
                  <a:pt x="33" y="337"/>
                  <a:pt x="33" y="337"/>
                  <a:pt x="33" y="337"/>
                </a:cubicBezTo>
                <a:cubicBezTo>
                  <a:pt x="30" y="335"/>
                  <a:pt x="29" y="333"/>
                  <a:pt x="29" y="330"/>
                </a:cubicBezTo>
                <a:cubicBezTo>
                  <a:pt x="29" y="327"/>
                  <a:pt x="30" y="325"/>
                  <a:pt x="33" y="323"/>
                </a:cubicBezTo>
                <a:cubicBezTo>
                  <a:pt x="616" y="2"/>
                  <a:pt x="616" y="2"/>
                  <a:pt x="616" y="2"/>
                </a:cubicBezTo>
                <a:cubicBezTo>
                  <a:pt x="620" y="0"/>
                  <a:pt x="625" y="2"/>
                  <a:pt x="627" y="5"/>
                </a:cubicBezTo>
                <a:cubicBezTo>
                  <a:pt x="629" y="9"/>
                  <a:pt x="627" y="14"/>
                  <a:pt x="624" y="16"/>
                </a:cubicBezTo>
                <a:cubicBezTo>
                  <a:pt x="53" y="329"/>
                  <a:pt x="53" y="329"/>
                  <a:pt x="53" y="329"/>
                </a:cubicBezTo>
                <a:cubicBezTo>
                  <a:pt x="651" y="618"/>
                  <a:pt x="651" y="618"/>
                  <a:pt x="651" y="618"/>
                </a:cubicBezTo>
                <a:cubicBezTo>
                  <a:pt x="653" y="619"/>
                  <a:pt x="655" y="622"/>
                  <a:pt x="655" y="625"/>
                </a:cubicBezTo>
                <a:cubicBezTo>
                  <a:pt x="655" y="627"/>
                  <a:pt x="654" y="630"/>
                  <a:pt x="652" y="631"/>
                </a:cubicBezTo>
                <a:cubicBezTo>
                  <a:pt x="12" y="1027"/>
                  <a:pt x="12" y="1027"/>
                  <a:pt x="12" y="1027"/>
                </a:cubicBezTo>
                <a:cubicBezTo>
                  <a:pt x="11" y="1028"/>
                  <a:pt x="10" y="1028"/>
                  <a:pt x="8" y="1028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1" name="Freeform 652">
            <a:extLst>
              <a:ext uri="{FF2B5EF4-FFF2-40B4-BE49-F238E27FC236}">
                <a16:creationId xmlns:a16="http://schemas.microsoft.com/office/drawing/2014/main" id="{2507874E-FF1C-4161-B467-1E124166E243}"/>
              </a:ext>
            </a:extLst>
          </p:cNvPr>
          <p:cNvSpPr>
            <a:spLocks/>
          </p:cNvSpPr>
          <p:nvPr/>
        </p:nvSpPr>
        <p:spPr bwMode="auto">
          <a:xfrm>
            <a:off x="7794154" y="3852249"/>
            <a:ext cx="15027" cy="2007331"/>
          </a:xfrm>
          <a:custGeom>
            <a:avLst/>
            <a:gdLst>
              <a:gd name="T0" fmla="*/ 12 w 12"/>
              <a:gd name="T1" fmla="*/ 1603 h 1603"/>
              <a:gd name="T2" fmla="*/ 0 w 12"/>
              <a:gd name="T3" fmla="*/ 1603 h 1603"/>
              <a:gd name="T4" fmla="*/ 0 w 12"/>
              <a:gd name="T5" fmla="*/ 0 h 1603"/>
              <a:gd name="T6" fmla="*/ 12 w 12"/>
              <a:gd name="T7" fmla="*/ 0 h 1603"/>
              <a:gd name="T8" fmla="*/ 12 w 12"/>
              <a:gd name="T9" fmla="*/ 1603 h 1603"/>
              <a:gd name="T10" fmla="*/ 12 w 12"/>
              <a:gd name="T11" fmla="*/ 1603 h 16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" h="1603">
                <a:moveTo>
                  <a:pt x="12" y="1603"/>
                </a:moveTo>
                <a:lnTo>
                  <a:pt x="0" y="1603"/>
                </a:lnTo>
                <a:lnTo>
                  <a:pt x="0" y="0"/>
                </a:lnTo>
                <a:lnTo>
                  <a:pt x="12" y="0"/>
                </a:lnTo>
                <a:lnTo>
                  <a:pt x="12" y="1603"/>
                </a:lnTo>
                <a:lnTo>
                  <a:pt x="12" y="160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2" name="Freeform 653">
            <a:extLst>
              <a:ext uri="{FF2B5EF4-FFF2-40B4-BE49-F238E27FC236}">
                <a16:creationId xmlns:a16="http://schemas.microsoft.com/office/drawing/2014/main" id="{BA12D721-36C8-4848-91D6-6A9F447E1F9A}"/>
              </a:ext>
            </a:extLst>
          </p:cNvPr>
          <p:cNvSpPr>
            <a:spLocks/>
          </p:cNvSpPr>
          <p:nvPr/>
        </p:nvSpPr>
        <p:spPr bwMode="auto">
          <a:xfrm>
            <a:off x="7620094" y="3844735"/>
            <a:ext cx="82647" cy="2021105"/>
          </a:xfrm>
          <a:custGeom>
            <a:avLst/>
            <a:gdLst>
              <a:gd name="T0" fmla="*/ 12 w 66"/>
              <a:gd name="T1" fmla="*/ 1614 h 1614"/>
              <a:gd name="T2" fmla="*/ 0 w 66"/>
              <a:gd name="T3" fmla="*/ 1614 h 1614"/>
              <a:gd name="T4" fmla="*/ 53 w 66"/>
              <a:gd name="T5" fmla="*/ 0 h 1614"/>
              <a:gd name="T6" fmla="*/ 66 w 66"/>
              <a:gd name="T7" fmla="*/ 1 h 1614"/>
              <a:gd name="T8" fmla="*/ 12 w 66"/>
              <a:gd name="T9" fmla="*/ 1614 h 1614"/>
              <a:gd name="T10" fmla="*/ 12 w 66"/>
              <a:gd name="T11" fmla="*/ 1614 h 1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6" h="1614">
                <a:moveTo>
                  <a:pt x="12" y="1614"/>
                </a:moveTo>
                <a:lnTo>
                  <a:pt x="0" y="1614"/>
                </a:lnTo>
                <a:lnTo>
                  <a:pt x="53" y="0"/>
                </a:lnTo>
                <a:lnTo>
                  <a:pt x="66" y="1"/>
                </a:lnTo>
                <a:lnTo>
                  <a:pt x="12" y="1614"/>
                </a:lnTo>
                <a:lnTo>
                  <a:pt x="12" y="161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3" name="Freeform 654">
            <a:extLst>
              <a:ext uri="{FF2B5EF4-FFF2-40B4-BE49-F238E27FC236}">
                <a16:creationId xmlns:a16="http://schemas.microsoft.com/office/drawing/2014/main" id="{76A9F2F4-D12F-434B-9456-2B3951F6613C}"/>
              </a:ext>
            </a:extLst>
          </p:cNvPr>
          <p:cNvSpPr>
            <a:spLocks/>
          </p:cNvSpPr>
          <p:nvPr/>
        </p:nvSpPr>
        <p:spPr bwMode="auto">
          <a:xfrm>
            <a:off x="7900595" y="3844735"/>
            <a:ext cx="82647" cy="2021105"/>
          </a:xfrm>
          <a:custGeom>
            <a:avLst/>
            <a:gdLst>
              <a:gd name="T0" fmla="*/ 54 w 66"/>
              <a:gd name="T1" fmla="*/ 1614 h 1614"/>
              <a:gd name="T2" fmla="*/ 0 w 66"/>
              <a:gd name="T3" fmla="*/ 1 h 1614"/>
              <a:gd name="T4" fmla="*/ 13 w 66"/>
              <a:gd name="T5" fmla="*/ 0 h 1614"/>
              <a:gd name="T6" fmla="*/ 66 w 66"/>
              <a:gd name="T7" fmla="*/ 1614 h 1614"/>
              <a:gd name="T8" fmla="*/ 54 w 66"/>
              <a:gd name="T9" fmla="*/ 1614 h 1614"/>
              <a:gd name="T10" fmla="*/ 54 w 66"/>
              <a:gd name="T11" fmla="*/ 1614 h 1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6" h="1614">
                <a:moveTo>
                  <a:pt x="54" y="1614"/>
                </a:moveTo>
                <a:lnTo>
                  <a:pt x="0" y="1"/>
                </a:lnTo>
                <a:lnTo>
                  <a:pt x="13" y="0"/>
                </a:lnTo>
                <a:lnTo>
                  <a:pt x="66" y="1614"/>
                </a:lnTo>
                <a:lnTo>
                  <a:pt x="54" y="1614"/>
                </a:lnTo>
                <a:lnTo>
                  <a:pt x="54" y="161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4" name="Rectangle 655">
            <a:extLst>
              <a:ext uri="{FF2B5EF4-FFF2-40B4-BE49-F238E27FC236}">
                <a16:creationId xmlns:a16="http://schemas.microsoft.com/office/drawing/2014/main" id="{D84373B4-E7D2-4A5E-885D-80FD78DCC0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1382" y="4483375"/>
            <a:ext cx="320572" cy="40071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5" name="Rectangle 656">
            <a:extLst>
              <a:ext uri="{FF2B5EF4-FFF2-40B4-BE49-F238E27FC236}">
                <a16:creationId xmlns:a16="http://schemas.microsoft.com/office/drawing/2014/main" id="{A6EB4FB4-DACE-4722-ACC5-8856FE3500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3833" y="5162085"/>
            <a:ext cx="375670" cy="38820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6" name="Rectangle 657">
            <a:extLst>
              <a:ext uri="{FF2B5EF4-FFF2-40B4-BE49-F238E27FC236}">
                <a16:creationId xmlns:a16="http://schemas.microsoft.com/office/drawing/2014/main" id="{0AF4A0B4-70CC-47C4-9B2E-10490E0BC7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67679" y="3845987"/>
            <a:ext cx="267978" cy="105188"/>
          </a:xfrm>
          <a:prstGeom prst="rect">
            <a:avLst/>
          </a:pr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7" name="Rectangle 658">
            <a:extLst>
              <a:ext uri="{FF2B5EF4-FFF2-40B4-BE49-F238E27FC236}">
                <a16:creationId xmlns:a16="http://schemas.microsoft.com/office/drawing/2014/main" id="{F1C202FC-1CC0-4062-A94A-DF519D31C3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50148" y="4523446"/>
            <a:ext cx="303041" cy="113954"/>
          </a:xfrm>
          <a:prstGeom prst="rect">
            <a:avLst/>
          </a:pr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8" name="Rectangle 659">
            <a:extLst>
              <a:ext uri="{FF2B5EF4-FFF2-40B4-BE49-F238E27FC236}">
                <a16:creationId xmlns:a16="http://schemas.microsoft.com/office/drawing/2014/main" id="{8E278D1A-12C1-43FE-8E42-1F90C57C16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7608" y="5200904"/>
            <a:ext cx="348121" cy="118963"/>
          </a:xfrm>
          <a:prstGeom prst="rect">
            <a:avLst/>
          </a:pr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9" name="Rectangle 660">
            <a:extLst>
              <a:ext uri="{FF2B5EF4-FFF2-40B4-BE49-F238E27FC236}">
                <a16:creationId xmlns:a16="http://schemas.microsoft.com/office/drawing/2014/main" id="{82663FA9-0097-4AC2-8522-A9661660F4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6319" y="5878363"/>
            <a:ext cx="390697" cy="118963"/>
          </a:xfrm>
          <a:prstGeom prst="rect">
            <a:avLst/>
          </a:pr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0" name="Rectangle 661">
            <a:extLst>
              <a:ext uri="{FF2B5EF4-FFF2-40B4-BE49-F238E27FC236}">
                <a16:creationId xmlns:a16="http://schemas.microsoft.com/office/drawing/2014/main" id="{DB51CC5E-3BCB-4D36-B850-460DD76968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88788" y="5839543"/>
            <a:ext cx="425759" cy="38820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1" name="Freeform 662">
            <a:extLst>
              <a:ext uri="{FF2B5EF4-FFF2-40B4-BE49-F238E27FC236}">
                <a16:creationId xmlns:a16="http://schemas.microsoft.com/office/drawing/2014/main" id="{548DC2D0-C278-4F39-964F-4E6192E4C5FE}"/>
              </a:ext>
            </a:extLst>
          </p:cNvPr>
          <p:cNvSpPr>
            <a:spLocks/>
          </p:cNvSpPr>
          <p:nvPr/>
        </p:nvSpPr>
        <p:spPr bwMode="auto">
          <a:xfrm>
            <a:off x="7585032" y="3844735"/>
            <a:ext cx="73882" cy="2033627"/>
          </a:xfrm>
          <a:custGeom>
            <a:avLst/>
            <a:gdLst>
              <a:gd name="T0" fmla="*/ 7 w 59"/>
              <a:gd name="T1" fmla="*/ 1624 h 1624"/>
              <a:gd name="T2" fmla="*/ 0 w 59"/>
              <a:gd name="T3" fmla="*/ 1624 h 1624"/>
              <a:gd name="T4" fmla="*/ 52 w 59"/>
              <a:gd name="T5" fmla="*/ 0 h 1624"/>
              <a:gd name="T6" fmla="*/ 59 w 59"/>
              <a:gd name="T7" fmla="*/ 1 h 1624"/>
              <a:gd name="T8" fmla="*/ 7 w 59"/>
              <a:gd name="T9" fmla="*/ 1624 h 1624"/>
              <a:gd name="T10" fmla="*/ 7 w 59"/>
              <a:gd name="T11" fmla="*/ 1624 h 16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9" h="1624">
                <a:moveTo>
                  <a:pt x="7" y="1624"/>
                </a:moveTo>
                <a:lnTo>
                  <a:pt x="0" y="1624"/>
                </a:lnTo>
                <a:lnTo>
                  <a:pt x="52" y="0"/>
                </a:lnTo>
                <a:lnTo>
                  <a:pt x="59" y="1"/>
                </a:lnTo>
                <a:lnTo>
                  <a:pt x="7" y="1624"/>
                </a:lnTo>
                <a:lnTo>
                  <a:pt x="7" y="162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2" name="Freeform 663">
            <a:extLst>
              <a:ext uri="{FF2B5EF4-FFF2-40B4-BE49-F238E27FC236}">
                <a16:creationId xmlns:a16="http://schemas.microsoft.com/office/drawing/2014/main" id="{DB1ABB5B-2074-4B34-8B44-3534C04C9BB1}"/>
              </a:ext>
            </a:extLst>
          </p:cNvPr>
          <p:cNvSpPr>
            <a:spLocks/>
          </p:cNvSpPr>
          <p:nvPr/>
        </p:nvSpPr>
        <p:spPr bwMode="auto">
          <a:xfrm>
            <a:off x="7518663" y="3844735"/>
            <a:ext cx="72630" cy="2033627"/>
          </a:xfrm>
          <a:custGeom>
            <a:avLst/>
            <a:gdLst>
              <a:gd name="T0" fmla="*/ 6 w 58"/>
              <a:gd name="T1" fmla="*/ 1624 h 1624"/>
              <a:gd name="T2" fmla="*/ 0 w 58"/>
              <a:gd name="T3" fmla="*/ 1624 h 1624"/>
              <a:gd name="T4" fmla="*/ 51 w 58"/>
              <a:gd name="T5" fmla="*/ 0 h 1624"/>
              <a:gd name="T6" fmla="*/ 58 w 58"/>
              <a:gd name="T7" fmla="*/ 1 h 1624"/>
              <a:gd name="T8" fmla="*/ 6 w 58"/>
              <a:gd name="T9" fmla="*/ 1624 h 1624"/>
              <a:gd name="T10" fmla="*/ 6 w 58"/>
              <a:gd name="T11" fmla="*/ 1624 h 16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8" h="1624">
                <a:moveTo>
                  <a:pt x="6" y="1624"/>
                </a:moveTo>
                <a:lnTo>
                  <a:pt x="0" y="1624"/>
                </a:lnTo>
                <a:lnTo>
                  <a:pt x="51" y="0"/>
                </a:lnTo>
                <a:lnTo>
                  <a:pt x="58" y="1"/>
                </a:lnTo>
                <a:lnTo>
                  <a:pt x="6" y="1624"/>
                </a:lnTo>
                <a:lnTo>
                  <a:pt x="6" y="162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3" name="Freeform 664">
            <a:extLst>
              <a:ext uri="{FF2B5EF4-FFF2-40B4-BE49-F238E27FC236}">
                <a16:creationId xmlns:a16="http://schemas.microsoft.com/office/drawing/2014/main" id="{F2A2CAA7-446B-4B1A-9A46-609A72606BB3}"/>
              </a:ext>
            </a:extLst>
          </p:cNvPr>
          <p:cNvSpPr>
            <a:spLocks/>
          </p:cNvSpPr>
          <p:nvPr/>
        </p:nvSpPr>
        <p:spPr bwMode="auto">
          <a:xfrm>
            <a:off x="7586284" y="3883554"/>
            <a:ext cx="67621" cy="3757"/>
          </a:xfrm>
          <a:custGeom>
            <a:avLst/>
            <a:gdLst>
              <a:gd name="T0" fmla="*/ 54 w 54"/>
              <a:gd name="T1" fmla="*/ 3 h 3"/>
              <a:gd name="T2" fmla="*/ 0 w 54"/>
              <a:gd name="T3" fmla="*/ 3 h 3"/>
              <a:gd name="T4" fmla="*/ 0 w 54"/>
              <a:gd name="T5" fmla="*/ 0 h 3"/>
              <a:gd name="T6" fmla="*/ 54 w 54"/>
              <a:gd name="T7" fmla="*/ 0 h 3"/>
              <a:gd name="T8" fmla="*/ 54 w 54"/>
              <a:gd name="T9" fmla="*/ 3 h 3"/>
              <a:gd name="T10" fmla="*/ 54 w 54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3">
                <a:moveTo>
                  <a:pt x="54" y="3"/>
                </a:moveTo>
                <a:lnTo>
                  <a:pt x="0" y="3"/>
                </a:lnTo>
                <a:lnTo>
                  <a:pt x="0" y="0"/>
                </a:lnTo>
                <a:lnTo>
                  <a:pt x="54" y="0"/>
                </a:lnTo>
                <a:lnTo>
                  <a:pt x="54" y="3"/>
                </a:lnTo>
                <a:lnTo>
                  <a:pt x="54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4" name="Freeform 665">
            <a:extLst>
              <a:ext uri="{FF2B5EF4-FFF2-40B4-BE49-F238E27FC236}">
                <a16:creationId xmlns:a16="http://schemas.microsoft.com/office/drawing/2014/main" id="{01F1F653-58B1-4295-B136-42F945783FC1}"/>
              </a:ext>
            </a:extLst>
          </p:cNvPr>
          <p:cNvSpPr>
            <a:spLocks/>
          </p:cNvSpPr>
          <p:nvPr/>
        </p:nvSpPr>
        <p:spPr bwMode="auto">
          <a:xfrm>
            <a:off x="7585032" y="3929887"/>
            <a:ext cx="66369" cy="5009"/>
          </a:xfrm>
          <a:custGeom>
            <a:avLst/>
            <a:gdLst>
              <a:gd name="T0" fmla="*/ 53 w 53"/>
              <a:gd name="T1" fmla="*/ 4 h 4"/>
              <a:gd name="T2" fmla="*/ 0 w 53"/>
              <a:gd name="T3" fmla="*/ 4 h 4"/>
              <a:gd name="T4" fmla="*/ 0 w 53"/>
              <a:gd name="T5" fmla="*/ 0 h 4"/>
              <a:gd name="T6" fmla="*/ 53 w 53"/>
              <a:gd name="T7" fmla="*/ 0 h 4"/>
              <a:gd name="T8" fmla="*/ 53 w 53"/>
              <a:gd name="T9" fmla="*/ 4 h 4"/>
              <a:gd name="T10" fmla="*/ 53 w 53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" h="4">
                <a:moveTo>
                  <a:pt x="53" y="4"/>
                </a:moveTo>
                <a:lnTo>
                  <a:pt x="0" y="4"/>
                </a:lnTo>
                <a:lnTo>
                  <a:pt x="0" y="0"/>
                </a:lnTo>
                <a:lnTo>
                  <a:pt x="53" y="0"/>
                </a:lnTo>
                <a:lnTo>
                  <a:pt x="53" y="4"/>
                </a:lnTo>
                <a:lnTo>
                  <a:pt x="53" y="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5" name="Freeform 666">
            <a:extLst>
              <a:ext uri="{FF2B5EF4-FFF2-40B4-BE49-F238E27FC236}">
                <a16:creationId xmlns:a16="http://schemas.microsoft.com/office/drawing/2014/main" id="{6895AD52-CA47-441E-BE3F-AE1C2AB10562}"/>
              </a:ext>
            </a:extLst>
          </p:cNvPr>
          <p:cNvSpPr>
            <a:spLocks/>
          </p:cNvSpPr>
          <p:nvPr/>
        </p:nvSpPr>
        <p:spPr bwMode="auto">
          <a:xfrm>
            <a:off x="7582527" y="3977472"/>
            <a:ext cx="67621" cy="5009"/>
          </a:xfrm>
          <a:custGeom>
            <a:avLst/>
            <a:gdLst>
              <a:gd name="T0" fmla="*/ 54 w 54"/>
              <a:gd name="T1" fmla="*/ 4 h 4"/>
              <a:gd name="T2" fmla="*/ 0 w 54"/>
              <a:gd name="T3" fmla="*/ 4 h 4"/>
              <a:gd name="T4" fmla="*/ 0 w 54"/>
              <a:gd name="T5" fmla="*/ 0 h 4"/>
              <a:gd name="T6" fmla="*/ 54 w 54"/>
              <a:gd name="T7" fmla="*/ 0 h 4"/>
              <a:gd name="T8" fmla="*/ 54 w 54"/>
              <a:gd name="T9" fmla="*/ 4 h 4"/>
              <a:gd name="T10" fmla="*/ 54 w 54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4">
                <a:moveTo>
                  <a:pt x="54" y="4"/>
                </a:moveTo>
                <a:lnTo>
                  <a:pt x="0" y="4"/>
                </a:lnTo>
                <a:lnTo>
                  <a:pt x="0" y="0"/>
                </a:lnTo>
                <a:lnTo>
                  <a:pt x="54" y="0"/>
                </a:lnTo>
                <a:lnTo>
                  <a:pt x="54" y="4"/>
                </a:lnTo>
                <a:lnTo>
                  <a:pt x="54" y="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6" name="Freeform 667">
            <a:extLst>
              <a:ext uri="{FF2B5EF4-FFF2-40B4-BE49-F238E27FC236}">
                <a16:creationId xmlns:a16="http://schemas.microsoft.com/office/drawing/2014/main" id="{71452EAD-9DF3-46FF-B161-9137E1A70ED5}"/>
              </a:ext>
            </a:extLst>
          </p:cNvPr>
          <p:cNvSpPr>
            <a:spLocks/>
          </p:cNvSpPr>
          <p:nvPr/>
        </p:nvSpPr>
        <p:spPr bwMode="auto">
          <a:xfrm>
            <a:off x="7581275" y="4025057"/>
            <a:ext cx="67621" cy="3757"/>
          </a:xfrm>
          <a:custGeom>
            <a:avLst/>
            <a:gdLst>
              <a:gd name="T0" fmla="*/ 54 w 54"/>
              <a:gd name="T1" fmla="*/ 3 h 3"/>
              <a:gd name="T2" fmla="*/ 0 w 54"/>
              <a:gd name="T3" fmla="*/ 3 h 3"/>
              <a:gd name="T4" fmla="*/ 0 w 54"/>
              <a:gd name="T5" fmla="*/ 0 h 3"/>
              <a:gd name="T6" fmla="*/ 54 w 54"/>
              <a:gd name="T7" fmla="*/ 0 h 3"/>
              <a:gd name="T8" fmla="*/ 54 w 54"/>
              <a:gd name="T9" fmla="*/ 3 h 3"/>
              <a:gd name="T10" fmla="*/ 54 w 54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3">
                <a:moveTo>
                  <a:pt x="54" y="3"/>
                </a:moveTo>
                <a:lnTo>
                  <a:pt x="0" y="3"/>
                </a:lnTo>
                <a:lnTo>
                  <a:pt x="0" y="0"/>
                </a:lnTo>
                <a:lnTo>
                  <a:pt x="54" y="0"/>
                </a:lnTo>
                <a:lnTo>
                  <a:pt x="54" y="3"/>
                </a:lnTo>
                <a:lnTo>
                  <a:pt x="54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7" name="Freeform 668">
            <a:extLst>
              <a:ext uri="{FF2B5EF4-FFF2-40B4-BE49-F238E27FC236}">
                <a16:creationId xmlns:a16="http://schemas.microsoft.com/office/drawing/2014/main" id="{5F85B63D-3127-41C6-AE02-9353D182BA77}"/>
              </a:ext>
            </a:extLst>
          </p:cNvPr>
          <p:cNvSpPr>
            <a:spLocks/>
          </p:cNvSpPr>
          <p:nvPr/>
        </p:nvSpPr>
        <p:spPr bwMode="auto">
          <a:xfrm>
            <a:off x="7580023" y="4071389"/>
            <a:ext cx="67621" cy="5009"/>
          </a:xfrm>
          <a:custGeom>
            <a:avLst/>
            <a:gdLst>
              <a:gd name="T0" fmla="*/ 54 w 54"/>
              <a:gd name="T1" fmla="*/ 4 h 4"/>
              <a:gd name="T2" fmla="*/ 0 w 54"/>
              <a:gd name="T3" fmla="*/ 4 h 4"/>
              <a:gd name="T4" fmla="*/ 0 w 54"/>
              <a:gd name="T5" fmla="*/ 0 h 4"/>
              <a:gd name="T6" fmla="*/ 54 w 54"/>
              <a:gd name="T7" fmla="*/ 0 h 4"/>
              <a:gd name="T8" fmla="*/ 54 w 54"/>
              <a:gd name="T9" fmla="*/ 4 h 4"/>
              <a:gd name="T10" fmla="*/ 54 w 54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4">
                <a:moveTo>
                  <a:pt x="54" y="4"/>
                </a:moveTo>
                <a:lnTo>
                  <a:pt x="0" y="4"/>
                </a:lnTo>
                <a:lnTo>
                  <a:pt x="0" y="0"/>
                </a:lnTo>
                <a:lnTo>
                  <a:pt x="54" y="0"/>
                </a:lnTo>
                <a:lnTo>
                  <a:pt x="54" y="4"/>
                </a:lnTo>
                <a:lnTo>
                  <a:pt x="54" y="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8" name="Freeform 669">
            <a:extLst>
              <a:ext uri="{FF2B5EF4-FFF2-40B4-BE49-F238E27FC236}">
                <a16:creationId xmlns:a16="http://schemas.microsoft.com/office/drawing/2014/main" id="{ADD0FAB5-4516-47AC-99FF-4B86651D7BE2}"/>
              </a:ext>
            </a:extLst>
          </p:cNvPr>
          <p:cNvSpPr>
            <a:spLocks/>
          </p:cNvSpPr>
          <p:nvPr/>
        </p:nvSpPr>
        <p:spPr bwMode="auto">
          <a:xfrm>
            <a:off x="7577518" y="4118974"/>
            <a:ext cx="67621" cy="3757"/>
          </a:xfrm>
          <a:custGeom>
            <a:avLst/>
            <a:gdLst>
              <a:gd name="T0" fmla="*/ 54 w 54"/>
              <a:gd name="T1" fmla="*/ 3 h 3"/>
              <a:gd name="T2" fmla="*/ 0 w 54"/>
              <a:gd name="T3" fmla="*/ 3 h 3"/>
              <a:gd name="T4" fmla="*/ 0 w 54"/>
              <a:gd name="T5" fmla="*/ 0 h 3"/>
              <a:gd name="T6" fmla="*/ 54 w 54"/>
              <a:gd name="T7" fmla="*/ 0 h 3"/>
              <a:gd name="T8" fmla="*/ 54 w 54"/>
              <a:gd name="T9" fmla="*/ 3 h 3"/>
              <a:gd name="T10" fmla="*/ 54 w 54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3">
                <a:moveTo>
                  <a:pt x="54" y="3"/>
                </a:moveTo>
                <a:lnTo>
                  <a:pt x="0" y="3"/>
                </a:lnTo>
                <a:lnTo>
                  <a:pt x="0" y="0"/>
                </a:lnTo>
                <a:lnTo>
                  <a:pt x="54" y="0"/>
                </a:lnTo>
                <a:lnTo>
                  <a:pt x="54" y="3"/>
                </a:lnTo>
                <a:lnTo>
                  <a:pt x="54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9" name="Freeform 670">
            <a:extLst>
              <a:ext uri="{FF2B5EF4-FFF2-40B4-BE49-F238E27FC236}">
                <a16:creationId xmlns:a16="http://schemas.microsoft.com/office/drawing/2014/main" id="{CFCB5F39-C1AB-4BD0-AE78-C91E7E2FA44B}"/>
              </a:ext>
            </a:extLst>
          </p:cNvPr>
          <p:cNvSpPr>
            <a:spLocks/>
          </p:cNvSpPr>
          <p:nvPr/>
        </p:nvSpPr>
        <p:spPr bwMode="auto">
          <a:xfrm>
            <a:off x="7576266" y="4166559"/>
            <a:ext cx="67621" cy="3757"/>
          </a:xfrm>
          <a:custGeom>
            <a:avLst/>
            <a:gdLst>
              <a:gd name="T0" fmla="*/ 54 w 54"/>
              <a:gd name="T1" fmla="*/ 3 h 3"/>
              <a:gd name="T2" fmla="*/ 0 w 54"/>
              <a:gd name="T3" fmla="*/ 3 h 3"/>
              <a:gd name="T4" fmla="*/ 0 w 54"/>
              <a:gd name="T5" fmla="*/ 0 h 3"/>
              <a:gd name="T6" fmla="*/ 54 w 54"/>
              <a:gd name="T7" fmla="*/ 0 h 3"/>
              <a:gd name="T8" fmla="*/ 54 w 54"/>
              <a:gd name="T9" fmla="*/ 3 h 3"/>
              <a:gd name="T10" fmla="*/ 54 w 54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3">
                <a:moveTo>
                  <a:pt x="54" y="3"/>
                </a:moveTo>
                <a:lnTo>
                  <a:pt x="0" y="3"/>
                </a:lnTo>
                <a:lnTo>
                  <a:pt x="0" y="0"/>
                </a:lnTo>
                <a:lnTo>
                  <a:pt x="54" y="0"/>
                </a:lnTo>
                <a:lnTo>
                  <a:pt x="54" y="3"/>
                </a:lnTo>
                <a:lnTo>
                  <a:pt x="54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0" name="Freeform 671">
            <a:extLst>
              <a:ext uri="{FF2B5EF4-FFF2-40B4-BE49-F238E27FC236}">
                <a16:creationId xmlns:a16="http://schemas.microsoft.com/office/drawing/2014/main" id="{48E4AC06-511C-4F00-876F-248437DEF12C}"/>
              </a:ext>
            </a:extLst>
          </p:cNvPr>
          <p:cNvSpPr>
            <a:spLocks/>
          </p:cNvSpPr>
          <p:nvPr/>
        </p:nvSpPr>
        <p:spPr bwMode="auto">
          <a:xfrm>
            <a:off x="7575014" y="4212892"/>
            <a:ext cx="67621" cy="5009"/>
          </a:xfrm>
          <a:custGeom>
            <a:avLst/>
            <a:gdLst>
              <a:gd name="T0" fmla="*/ 54 w 54"/>
              <a:gd name="T1" fmla="*/ 4 h 4"/>
              <a:gd name="T2" fmla="*/ 0 w 54"/>
              <a:gd name="T3" fmla="*/ 4 h 4"/>
              <a:gd name="T4" fmla="*/ 0 w 54"/>
              <a:gd name="T5" fmla="*/ 0 h 4"/>
              <a:gd name="T6" fmla="*/ 54 w 54"/>
              <a:gd name="T7" fmla="*/ 0 h 4"/>
              <a:gd name="T8" fmla="*/ 54 w 54"/>
              <a:gd name="T9" fmla="*/ 4 h 4"/>
              <a:gd name="T10" fmla="*/ 54 w 54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4">
                <a:moveTo>
                  <a:pt x="54" y="4"/>
                </a:moveTo>
                <a:lnTo>
                  <a:pt x="0" y="4"/>
                </a:lnTo>
                <a:lnTo>
                  <a:pt x="0" y="0"/>
                </a:lnTo>
                <a:lnTo>
                  <a:pt x="54" y="0"/>
                </a:lnTo>
                <a:lnTo>
                  <a:pt x="54" y="4"/>
                </a:lnTo>
                <a:lnTo>
                  <a:pt x="54" y="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1" name="Freeform 672">
            <a:extLst>
              <a:ext uri="{FF2B5EF4-FFF2-40B4-BE49-F238E27FC236}">
                <a16:creationId xmlns:a16="http://schemas.microsoft.com/office/drawing/2014/main" id="{EFF36A3E-8758-4C27-A7F3-704FE9856D54}"/>
              </a:ext>
            </a:extLst>
          </p:cNvPr>
          <p:cNvSpPr>
            <a:spLocks/>
          </p:cNvSpPr>
          <p:nvPr/>
        </p:nvSpPr>
        <p:spPr bwMode="auto">
          <a:xfrm>
            <a:off x="7573761" y="4260477"/>
            <a:ext cx="67621" cy="3757"/>
          </a:xfrm>
          <a:custGeom>
            <a:avLst/>
            <a:gdLst>
              <a:gd name="T0" fmla="*/ 54 w 54"/>
              <a:gd name="T1" fmla="*/ 3 h 3"/>
              <a:gd name="T2" fmla="*/ 0 w 54"/>
              <a:gd name="T3" fmla="*/ 3 h 3"/>
              <a:gd name="T4" fmla="*/ 0 w 54"/>
              <a:gd name="T5" fmla="*/ 0 h 3"/>
              <a:gd name="T6" fmla="*/ 54 w 54"/>
              <a:gd name="T7" fmla="*/ 0 h 3"/>
              <a:gd name="T8" fmla="*/ 54 w 54"/>
              <a:gd name="T9" fmla="*/ 3 h 3"/>
              <a:gd name="T10" fmla="*/ 54 w 54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3">
                <a:moveTo>
                  <a:pt x="54" y="3"/>
                </a:moveTo>
                <a:lnTo>
                  <a:pt x="0" y="3"/>
                </a:lnTo>
                <a:lnTo>
                  <a:pt x="0" y="0"/>
                </a:lnTo>
                <a:lnTo>
                  <a:pt x="54" y="0"/>
                </a:lnTo>
                <a:lnTo>
                  <a:pt x="54" y="3"/>
                </a:lnTo>
                <a:lnTo>
                  <a:pt x="54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2" name="Freeform 673">
            <a:extLst>
              <a:ext uri="{FF2B5EF4-FFF2-40B4-BE49-F238E27FC236}">
                <a16:creationId xmlns:a16="http://schemas.microsoft.com/office/drawing/2014/main" id="{E78D80BB-5863-4C19-862A-A91356A79631}"/>
              </a:ext>
            </a:extLst>
          </p:cNvPr>
          <p:cNvSpPr>
            <a:spLocks/>
          </p:cNvSpPr>
          <p:nvPr/>
        </p:nvSpPr>
        <p:spPr bwMode="auto">
          <a:xfrm>
            <a:off x="7571257" y="4308062"/>
            <a:ext cx="67621" cy="3757"/>
          </a:xfrm>
          <a:custGeom>
            <a:avLst/>
            <a:gdLst>
              <a:gd name="T0" fmla="*/ 54 w 54"/>
              <a:gd name="T1" fmla="*/ 3 h 3"/>
              <a:gd name="T2" fmla="*/ 0 w 54"/>
              <a:gd name="T3" fmla="*/ 3 h 3"/>
              <a:gd name="T4" fmla="*/ 0 w 54"/>
              <a:gd name="T5" fmla="*/ 0 h 3"/>
              <a:gd name="T6" fmla="*/ 54 w 54"/>
              <a:gd name="T7" fmla="*/ 0 h 3"/>
              <a:gd name="T8" fmla="*/ 54 w 54"/>
              <a:gd name="T9" fmla="*/ 3 h 3"/>
              <a:gd name="T10" fmla="*/ 54 w 54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3">
                <a:moveTo>
                  <a:pt x="54" y="3"/>
                </a:moveTo>
                <a:lnTo>
                  <a:pt x="0" y="3"/>
                </a:lnTo>
                <a:lnTo>
                  <a:pt x="0" y="0"/>
                </a:lnTo>
                <a:lnTo>
                  <a:pt x="54" y="0"/>
                </a:lnTo>
                <a:lnTo>
                  <a:pt x="54" y="3"/>
                </a:lnTo>
                <a:lnTo>
                  <a:pt x="54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3" name="Freeform 674">
            <a:extLst>
              <a:ext uri="{FF2B5EF4-FFF2-40B4-BE49-F238E27FC236}">
                <a16:creationId xmlns:a16="http://schemas.microsoft.com/office/drawing/2014/main" id="{264845AB-BA4F-422F-8CD2-E7245914041A}"/>
              </a:ext>
            </a:extLst>
          </p:cNvPr>
          <p:cNvSpPr>
            <a:spLocks/>
          </p:cNvSpPr>
          <p:nvPr/>
        </p:nvSpPr>
        <p:spPr bwMode="auto">
          <a:xfrm>
            <a:off x="7570005" y="4354394"/>
            <a:ext cx="67621" cy="3757"/>
          </a:xfrm>
          <a:custGeom>
            <a:avLst/>
            <a:gdLst>
              <a:gd name="T0" fmla="*/ 54 w 54"/>
              <a:gd name="T1" fmla="*/ 3 h 3"/>
              <a:gd name="T2" fmla="*/ 0 w 54"/>
              <a:gd name="T3" fmla="*/ 3 h 3"/>
              <a:gd name="T4" fmla="*/ 0 w 54"/>
              <a:gd name="T5" fmla="*/ 0 h 3"/>
              <a:gd name="T6" fmla="*/ 54 w 54"/>
              <a:gd name="T7" fmla="*/ 0 h 3"/>
              <a:gd name="T8" fmla="*/ 54 w 54"/>
              <a:gd name="T9" fmla="*/ 3 h 3"/>
              <a:gd name="T10" fmla="*/ 54 w 54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3">
                <a:moveTo>
                  <a:pt x="54" y="3"/>
                </a:moveTo>
                <a:lnTo>
                  <a:pt x="0" y="3"/>
                </a:lnTo>
                <a:lnTo>
                  <a:pt x="0" y="0"/>
                </a:lnTo>
                <a:lnTo>
                  <a:pt x="54" y="0"/>
                </a:lnTo>
                <a:lnTo>
                  <a:pt x="54" y="3"/>
                </a:lnTo>
                <a:lnTo>
                  <a:pt x="54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4" name="Freeform 675">
            <a:extLst>
              <a:ext uri="{FF2B5EF4-FFF2-40B4-BE49-F238E27FC236}">
                <a16:creationId xmlns:a16="http://schemas.microsoft.com/office/drawing/2014/main" id="{86B9ED1E-0F4B-4B4C-9002-B4A055A0056B}"/>
              </a:ext>
            </a:extLst>
          </p:cNvPr>
          <p:cNvSpPr>
            <a:spLocks/>
          </p:cNvSpPr>
          <p:nvPr/>
        </p:nvSpPr>
        <p:spPr bwMode="auto">
          <a:xfrm>
            <a:off x="7568752" y="4401979"/>
            <a:ext cx="66369" cy="3757"/>
          </a:xfrm>
          <a:custGeom>
            <a:avLst/>
            <a:gdLst>
              <a:gd name="T0" fmla="*/ 53 w 53"/>
              <a:gd name="T1" fmla="*/ 3 h 3"/>
              <a:gd name="T2" fmla="*/ 0 w 53"/>
              <a:gd name="T3" fmla="*/ 3 h 3"/>
              <a:gd name="T4" fmla="*/ 0 w 53"/>
              <a:gd name="T5" fmla="*/ 0 h 3"/>
              <a:gd name="T6" fmla="*/ 53 w 53"/>
              <a:gd name="T7" fmla="*/ 0 h 3"/>
              <a:gd name="T8" fmla="*/ 53 w 53"/>
              <a:gd name="T9" fmla="*/ 3 h 3"/>
              <a:gd name="T10" fmla="*/ 53 w 53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" h="3">
                <a:moveTo>
                  <a:pt x="53" y="3"/>
                </a:moveTo>
                <a:lnTo>
                  <a:pt x="0" y="3"/>
                </a:lnTo>
                <a:lnTo>
                  <a:pt x="0" y="0"/>
                </a:lnTo>
                <a:lnTo>
                  <a:pt x="53" y="0"/>
                </a:lnTo>
                <a:lnTo>
                  <a:pt x="53" y="3"/>
                </a:lnTo>
                <a:lnTo>
                  <a:pt x="53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" name="Freeform 676">
            <a:extLst>
              <a:ext uri="{FF2B5EF4-FFF2-40B4-BE49-F238E27FC236}">
                <a16:creationId xmlns:a16="http://schemas.microsoft.com/office/drawing/2014/main" id="{B139A8B9-3A84-46C4-8E97-DF449F14D28B}"/>
              </a:ext>
            </a:extLst>
          </p:cNvPr>
          <p:cNvSpPr>
            <a:spLocks/>
          </p:cNvSpPr>
          <p:nvPr/>
        </p:nvSpPr>
        <p:spPr bwMode="auto">
          <a:xfrm>
            <a:off x="7567501" y="4448312"/>
            <a:ext cx="66369" cy="3757"/>
          </a:xfrm>
          <a:custGeom>
            <a:avLst/>
            <a:gdLst>
              <a:gd name="T0" fmla="*/ 53 w 53"/>
              <a:gd name="T1" fmla="*/ 3 h 3"/>
              <a:gd name="T2" fmla="*/ 0 w 53"/>
              <a:gd name="T3" fmla="*/ 3 h 3"/>
              <a:gd name="T4" fmla="*/ 0 w 53"/>
              <a:gd name="T5" fmla="*/ 0 h 3"/>
              <a:gd name="T6" fmla="*/ 53 w 53"/>
              <a:gd name="T7" fmla="*/ 0 h 3"/>
              <a:gd name="T8" fmla="*/ 53 w 53"/>
              <a:gd name="T9" fmla="*/ 3 h 3"/>
              <a:gd name="T10" fmla="*/ 53 w 53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" h="3">
                <a:moveTo>
                  <a:pt x="53" y="3"/>
                </a:moveTo>
                <a:lnTo>
                  <a:pt x="0" y="3"/>
                </a:lnTo>
                <a:lnTo>
                  <a:pt x="0" y="0"/>
                </a:lnTo>
                <a:lnTo>
                  <a:pt x="53" y="0"/>
                </a:lnTo>
                <a:lnTo>
                  <a:pt x="53" y="3"/>
                </a:lnTo>
                <a:lnTo>
                  <a:pt x="53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6" name="Freeform 677">
            <a:extLst>
              <a:ext uri="{FF2B5EF4-FFF2-40B4-BE49-F238E27FC236}">
                <a16:creationId xmlns:a16="http://schemas.microsoft.com/office/drawing/2014/main" id="{1C895EF7-BDA9-4618-A0E5-1FF5B99894F5}"/>
              </a:ext>
            </a:extLst>
          </p:cNvPr>
          <p:cNvSpPr>
            <a:spLocks/>
          </p:cNvSpPr>
          <p:nvPr/>
        </p:nvSpPr>
        <p:spPr bwMode="auto">
          <a:xfrm>
            <a:off x="7564996" y="4495897"/>
            <a:ext cx="67621" cy="3757"/>
          </a:xfrm>
          <a:custGeom>
            <a:avLst/>
            <a:gdLst>
              <a:gd name="T0" fmla="*/ 54 w 54"/>
              <a:gd name="T1" fmla="*/ 3 h 3"/>
              <a:gd name="T2" fmla="*/ 0 w 54"/>
              <a:gd name="T3" fmla="*/ 3 h 3"/>
              <a:gd name="T4" fmla="*/ 0 w 54"/>
              <a:gd name="T5" fmla="*/ 0 h 3"/>
              <a:gd name="T6" fmla="*/ 54 w 54"/>
              <a:gd name="T7" fmla="*/ 0 h 3"/>
              <a:gd name="T8" fmla="*/ 54 w 54"/>
              <a:gd name="T9" fmla="*/ 3 h 3"/>
              <a:gd name="T10" fmla="*/ 54 w 54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3">
                <a:moveTo>
                  <a:pt x="54" y="3"/>
                </a:moveTo>
                <a:lnTo>
                  <a:pt x="0" y="3"/>
                </a:lnTo>
                <a:lnTo>
                  <a:pt x="0" y="0"/>
                </a:lnTo>
                <a:lnTo>
                  <a:pt x="54" y="0"/>
                </a:lnTo>
                <a:lnTo>
                  <a:pt x="54" y="3"/>
                </a:lnTo>
                <a:lnTo>
                  <a:pt x="54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7" name="Freeform 678">
            <a:extLst>
              <a:ext uri="{FF2B5EF4-FFF2-40B4-BE49-F238E27FC236}">
                <a16:creationId xmlns:a16="http://schemas.microsoft.com/office/drawing/2014/main" id="{FD2B306F-9E99-49E2-9D9B-952766B39773}"/>
              </a:ext>
            </a:extLst>
          </p:cNvPr>
          <p:cNvSpPr>
            <a:spLocks/>
          </p:cNvSpPr>
          <p:nvPr/>
        </p:nvSpPr>
        <p:spPr bwMode="auto">
          <a:xfrm>
            <a:off x="7563743" y="4543482"/>
            <a:ext cx="67621" cy="3757"/>
          </a:xfrm>
          <a:custGeom>
            <a:avLst/>
            <a:gdLst>
              <a:gd name="T0" fmla="*/ 54 w 54"/>
              <a:gd name="T1" fmla="*/ 3 h 3"/>
              <a:gd name="T2" fmla="*/ 0 w 54"/>
              <a:gd name="T3" fmla="*/ 3 h 3"/>
              <a:gd name="T4" fmla="*/ 0 w 54"/>
              <a:gd name="T5" fmla="*/ 0 h 3"/>
              <a:gd name="T6" fmla="*/ 54 w 54"/>
              <a:gd name="T7" fmla="*/ 0 h 3"/>
              <a:gd name="T8" fmla="*/ 54 w 54"/>
              <a:gd name="T9" fmla="*/ 3 h 3"/>
              <a:gd name="T10" fmla="*/ 54 w 54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3">
                <a:moveTo>
                  <a:pt x="54" y="3"/>
                </a:moveTo>
                <a:lnTo>
                  <a:pt x="0" y="3"/>
                </a:lnTo>
                <a:lnTo>
                  <a:pt x="0" y="0"/>
                </a:lnTo>
                <a:lnTo>
                  <a:pt x="54" y="0"/>
                </a:lnTo>
                <a:lnTo>
                  <a:pt x="54" y="3"/>
                </a:lnTo>
                <a:lnTo>
                  <a:pt x="54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8" name="Freeform 679">
            <a:extLst>
              <a:ext uri="{FF2B5EF4-FFF2-40B4-BE49-F238E27FC236}">
                <a16:creationId xmlns:a16="http://schemas.microsoft.com/office/drawing/2014/main" id="{CB7CD36A-4619-41DF-A526-90241798BB37}"/>
              </a:ext>
            </a:extLst>
          </p:cNvPr>
          <p:cNvSpPr>
            <a:spLocks/>
          </p:cNvSpPr>
          <p:nvPr/>
        </p:nvSpPr>
        <p:spPr bwMode="auto">
          <a:xfrm>
            <a:off x="7562492" y="4589814"/>
            <a:ext cx="66369" cy="3757"/>
          </a:xfrm>
          <a:custGeom>
            <a:avLst/>
            <a:gdLst>
              <a:gd name="T0" fmla="*/ 53 w 53"/>
              <a:gd name="T1" fmla="*/ 3 h 3"/>
              <a:gd name="T2" fmla="*/ 0 w 53"/>
              <a:gd name="T3" fmla="*/ 3 h 3"/>
              <a:gd name="T4" fmla="*/ 0 w 53"/>
              <a:gd name="T5" fmla="*/ 0 h 3"/>
              <a:gd name="T6" fmla="*/ 53 w 53"/>
              <a:gd name="T7" fmla="*/ 0 h 3"/>
              <a:gd name="T8" fmla="*/ 53 w 53"/>
              <a:gd name="T9" fmla="*/ 3 h 3"/>
              <a:gd name="T10" fmla="*/ 53 w 53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" h="3">
                <a:moveTo>
                  <a:pt x="53" y="3"/>
                </a:moveTo>
                <a:lnTo>
                  <a:pt x="0" y="3"/>
                </a:lnTo>
                <a:lnTo>
                  <a:pt x="0" y="0"/>
                </a:lnTo>
                <a:lnTo>
                  <a:pt x="53" y="0"/>
                </a:lnTo>
                <a:lnTo>
                  <a:pt x="53" y="3"/>
                </a:lnTo>
                <a:lnTo>
                  <a:pt x="53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9" name="Freeform 680">
            <a:extLst>
              <a:ext uri="{FF2B5EF4-FFF2-40B4-BE49-F238E27FC236}">
                <a16:creationId xmlns:a16="http://schemas.microsoft.com/office/drawing/2014/main" id="{57E0091E-A927-48BF-B17A-23917C4CB27E}"/>
              </a:ext>
            </a:extLst>
          </p:cNvPr>
          <p:cNvSpPr>
            <a:spLocks/>
          </p:cNvSpPr>
          <p:nvPr/>
        </p:nvSpPr>
        <p:spPr bwMode="auto">
          <a:xfrm>
            <a:off x="7561239" y="4637399"/>
            <a:ext cx="66369" cy="3757"/>
          </a:xfrm>
          <a:custGeom>
            <a:avLst/>
            <a:gdLst>
              <a:gd name="T0" fmla="*/ 53 w 53"/>
              <a:gd name="T1" fmla="*/ 3 h 3"/>
              <a:gd name="T2" fmla="*/ 0 w 53"/>
              <a:gd name="T3" fmla="*/ 3 h 3"/>
              <a:gd name="T4" fmla="*/ 0 w 53"/>
              <a:gd name="T5" fmla="*/ 0 h 3"/>
              <a:gd name="T6" fmla="*/ 53 w 53"/>
              <a:gd name="T7" fmla="*/ 0 h 3"/>
              <a:gd name="T8" fmla="*/ 53 w 53"/>
              <a:gd name="T9" fmla="*/ 3 h 3"/>
              <a:gd name="T10" fmla="*/ 53 w 53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" h="3">
                <a:moveTo>
                  <a:pt x="53" y="3"/>
                </a:moveTo>
                <a:lnTo>
                  <a:pt x="0" y="3"/>
                </a:lnTo>
                <a:lnTo>
                  <a:pt x="0" y="0"/>
                </a:lnTo>
                <a:lnTo>
                  <a:pt x="53" y="0"/>
                </a:lnTo>
                <a:lnTo>
                  <a:pt x="53" y="3"/>
                </a:lnTo>
                <a:lnTo>
                  <a:pt x="53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0" name="Freeform 681">
            <a:extLst>
              <a:ext uri="{FF2B5EF4-FFF2-40B4-BE49-F238E27FC236}">
                <a16:creationId xmlns:a16="http://schemas.microsoft.com/office/drawing/2014/main" id="{F5B4911B-6D78-4B29-A53C-5C917B5BEE6D}"/>
              </a:ext>
            </a:extLst>
          </p:cNvPr>
          <p:cNvSpPr>
            <a:spLocks/>
          </p:cNvSpPr>
          <p:nvPr/>
        </p:nvSpPr>
        <p:spPr bwMode="auto">
          <a:xfrm>
            <a:off x="7558735" y="4683732"/>
            <a:ext cx="67621" cy="5009"/>
          </a:xfrm>
          <a:custGeom>
            <a:avLst/>
            <a:gdLst>
              <a:gd name="T0" fmla="*/ 54 w 54"/>
              <a:gd name="T1" fmla="*/ 4 h 4"/>
              <a:gd name="T2" fmla="*/ 0 w 54"/>
              <a:gd name="T3" fmla="*/ 4 h 4"/>
              <a:gd name="T4" fmla="*/ 0 w 54"/>
              <a:gd name="T5" fmla="*/ 0 h 4"/>
              <a:gd name="T6" fmla="*/ 54 w 54"/>
              <a:gd name="T7" fmla="*/ 0 h 4"/>
              <a:gd name="T8" fmla="*/ 54 w 54"/>
              <a:gd name="T9" fmla="*/ 4 h 4"/>
              <a:gd name="T10" fmla="*/ 54 w 54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4">
                <a:moveTo>
                  <a:pt x="54" y="4"/>
                </a:moveTo>
                <a:lnTo>
                  <a:pt x="0" y="4"/>
                </a:lnTo>
                <a:lnTo>
                  <a:pt x="0" y="0"/>
                </a:lnTo>
                <a:lnTo>
                  <a:pt x="54" y="0"/>
                </a:lnTo>
                <a:lnTo>
                  <a:pt x="54" y="4"/>
                </a:lnTo>
                <a:lnTo>
                  <a:pt x="54" y="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1" name="Freeform 682">
            <a:extLst>
              <a:ext uri="{FF2B5EF4-FFF2-40B4-BE49-F238E27FC236}">
                <a16:creationId xmlns:a16="http://schemas.microsoft.com/office/drawing/2014/main" id="{7C155BBA-5268-4826-9A58-A58352DE69AC}"/>
              </a:ext>
            </a:extLst>
          </p:cNvPr>
          <p:cNvSpPr>
            <a:spLocks/>
          </p:cNvSpPr>
          <p:nvPr/>
        </p:nvSpPr>
        <p:spPr bwMode="auto">
          <a:xfrm>
            <a:off x="7557483" y="4731317"/>
            <a:ext cx="67621" cy="3757"/>
          </a:xfrm>
          <a:custGeom>
            <a:avLst/>
            <a:gdLst>
              <a:gd name="T0" fmla="*/ 54 w 54"/>
              <a:gd name="T1" fmla="*/ 3 h 3"/>
              <a:gd name="T2" fmla="*/ 0 w 54"/>
              <a:gd name="T3" fmla="*/ 3 h 3"/>
              <a:gd name="T4" fmla="*/ 0 w 54"/>
              <a:gd name="T5" fmla="*/ 0 h 3"/>
              <a:gd name="T6" fmla="*/ 54 w 54"/>
              <a:gd name="T7" fmla="*/ 0 h 3"/>
              <a:gd name="T8" fmla="*/ 54 w 54"/>
              <a:gd name="T9" fmla="*/ 3 h 3"/>
              <a:gd name="T10" fmla="*/ 54 w 54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3">
                <a:moveTo>
                  <a:pt x="54" y="3"/>
                </a:moveTo>
                <a:lnTo>
                  <a:pt x="0" y="3"/>
                </a:lnTo>
                <a:lnTo>
                  <a:pt x="0" y="0"/>
                </a:lnTo>
                <a:lnTo>
                  <a:pt x="54" y="0"/>
                </a:lnTo>
                <a:lnTo>
                  <a:pt x="54" y="3"/>
                </a:lnTo>
                <a:lnTo>
                  <a:pt x="54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2" name="Freeform 683">
            <a:extLst>
              <a:ext uri="{FF2B5EF4-FFF2-40B4-BE49-F238E27FC236}">
                <a16:creationId xmlns:a16="http://schemas.microsoft.com/office/drawing/2014/main" id="{1B9D126C-4CE5-4A17-99B6-A059C4207136}"/>
              </a:ext>
            </a:extLst>
          </p:cNvPr>
          <p:cNvSpPr>
            <a:spLocks/>
          </p:cNvSpPr>
          <p:nvPr/>
        </p:nvSpPr>
        <p:spPr bwMode="auto">
          <a:xfrm>
            <a:off x="7556230" y="4778902"/>
            <a:ext cx="66369" cy="3757"/>
          </a:xfrm>
          <a:custGeom>
            <a:avLst/>
            <a:gdLst>
              <a:gd name="T0" fmla="*/ 53 w 53"/>
              <a:gd name="T1" fmla="*/ 3 h 3"/>
              <a:gd name="T2" fmla="*/ 0 w 53"/>
              <a:gd name="T3" fmla="*/ 3 h 3"/>
              <a:gd name="T4" fmla="*/ 0 w 53"/>
              <a:gd name="T5" fmla="*/ 0 h 3"/>
              <a:gd name="T6" fmla="*/ 53 w 53"/>
              <a:gd name="T7" fmla="*/ 0 h 3"/>
              <a:gd name="T8" fmla="*/ 53 w 53"/>
              <a:gd name="T9" fmla="*/ 3 h 3"/>
              <a:gd name="T10" fmla="*/ 53 w 53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" h="3">
                <a:moveTo>
                  <a:pt x="53" y="3"/>
                </a:moveTo>
                <a:lnTo>
                  <a:pt x="0" y="3"/>
                </a:lnTo>
                <a:lnTo>
                  <a:pt x="0" y="0"/>
                </a:lnTo>
                <a:lnTo>
                  <a:pt x="53" y="0"/>
                </a:lnTo>
                <a:lnTo>
                  <a:pt x="53" y="3"/>
                </a:lnTo>
                <a:lnTo>
                  <a:pt x="53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3" name="Freeform 684">
            <a:extLst>
              <a:ext uri="{FF2B5EF4-FFF2-40B4-BE49-F238E27FC236}">
                <a16:creationId xmlns:a16="http://schemas.microsoft.com/office/drawing/2014/main" id="{F11F7DF3-DD33-4027-BBE1-D5DF79B706B5}"/>
              </a:ext>
            </a:extLst>
          </p:cNvPr>
          <p:cNvSpPr>
            <a:spLocks/>
          </p:cNvSpPr>
          <p:nvPr/>
        </p:nvSpPr>
        <p:spPr bwMode="auto">
          <a:xfrm>
            <a:off x="7554978" y="4825234"/>
            <a:ext cx="66369" cy="5009"/>
          </a:xfrm>
          <a:custGeom>
            <a:avLst/>
            <a:gdLst>
              <a:gd name="T0" fmla="*/ 53 w 53"/>
              <a:gd name="T1" fmla="*/ 4 h 4"/>
              <a:gd name="T2" fmla="*/ 0 w 53"/>
              <a:gd name="T3" fmla="*/ 4 h 4"/>
              <a:gd name="T4" fmla="*/ 0 w 53"/>
              <a:gd name="T5" fmla="*/ 0 h 4"/>
              <a:gd name="T6" fmla="*/ 53 w 53"/>
              <a:gd name="T7" fmla="*/ 0 h 4"/>
              <a:gd name="T8" fmla="*/ 53 w 53"/>
              <a:gd name="T9" fmla="*/ 4 h 4"/>
              <a:gd name="T10" fmla="*/ 53 w 53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" h="4">
                <a:moveTo>
                  <a:pt x="53" y="4"/>
                </a:moveTo>
                <a:lnTo>
                  <a:pt x="0" y="4"/>
                </a:lnTo>
                <a:lnTo>
                  <a:pt x="0" y="0"/>
                </a:lnTo>
                <a:lnTo>
                  <a:pt x="53" y="0"/>
                </a:lnTo>
                <a:lnTo>
                  <a:pt x="53" y="4"/>
                </a:lnTo>
                <a:lnTo>
                  <a:pt x="53" y="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4" name="Freeform 685">
            <a:extLst>
              <a:ext uri="{FF2B5EF4-FFF2-40B4-BE49-F238E27FC236}">
                <a16:creationId xmlns:a16="http://schemas.microsoft.com/office/drawing/2014/main" id="{0CAD7332-2A51-4BE4-B199-67862E93C78A}"/>
              </a:ext>
            </a:extLst>
          </p:cNvPr>
          <p:cNvSpPr>
            <a:spLocks/>
          </p:cNvSpPr>
          <p:nvPr/>
        </p:nvSpPr>
        <p:spPr bwMode="auto">
          <a:xfrm>
            <a:off x="7552474" y="4872819"/>
            <a:ext cx="67621" cy="3757"/>
          </a:xfrm>
          <a:custGeom>
            <a:avLst/>
            <a:gdLst>
              <a:gd name="T0" fmla="*/ 54 w 54"/>
              <a:gd name="T1" fmla="*/ 3 h 3"/>
              <a:gd name="T2" fmla="*/ 0 w 54"/>
              <a:gd name="T3" fmla="*/ 3 h 3"/>
              <a:gd name="T4" fmla="*/ 0 w 54"/>
              <a:gd name="T5" fmla="*/ 0 h 3"/>
              <a:gd name="T6" fmla="*/ 54 w 54"/>
              <a:gd name="T7" fmla="*/ 0 h 3"/>
              <a:gd name="T8" fmla="*/ 54 w 54"/>
              <a:gd name="T9" fmla="*/ 3 h 3"/>
              <a:gd name="T10" fmla="*/ 54 w 54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3">
                <a:moveTo>
                  <a:pt x="54" y="3"/>
                </a:moveTo>
                <a:lnTo>
                  <a:pt x="0" y="3"/>
                </a:lnTo>
                <a:lnTo>
                  <a:pt x="0" y="0"/>
                </a:lnTo>
                <a:lnTo>
                  <a:pt x="54" y="0"/>
                </a:lnTo>
                <a:lnTo>
                  <a:pt x="54" y="3"/>
                </a:lnTo>
                <a:lnTo>
                  <a:pt x="54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5" name="Freeform 686">
            <a:extLst>
              <a:ext uri="{FF2B5EF4-FFF2-40B4-BE49-F238E27FC236}">
                <a16:creationId xmlns:a16="http://schemas.microsoft.com/office/drawing/2014/main" id="{27F6BE67-D780-4C1C-91EA-D9788EE09153}"/>
              </a:ext>
            </a:extLst>
          </p:cNvPr>
          <p:cNvSpPr>
            <a:spLocks/>
          </p:cNvSpPr>
          <p:nvPr/>
        </p:nvSpPr>
        <p:spPr bwMode="auto">
          <a:xfrm>
            <a:off x="7551221" y="4919152"/>
            <a:ext cx="67621" cy="5009"/>
          </a:xfrm>
          <a:custGeom>
            <a:avLst/>
            <a:gdLst>
              <a:gd name="T0" fmla="*/ 54 w 54"/>
              <a:gd name="T1" fmla="*/ 4 h 4"/>
              <a:gd name="T2" fmla="*/ 0 w 54"/>
              <a:gd name="T3" fmla="*/ 4 h 4"/>
              <a:gd name="T4" fmla="*/ 0 w 54"/>
              <a:gd name="T5" fmla="*/ 0 h 4"/>
              <a:gd name="T6" fmla="*/ 54 w 54"/>
              <a:gd name="T7" fmla="*/ 0 h 4"/>
              <a:gd name="T8" fmla="*/ 54 w 54"/>
              <a:gd name="T9" fmla="*/ 4 h 4"/>
              <a:gd name="T10" fmla="*/ 54 w 54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4">
                <a:moveTo>
                  <a:pt x="54" y="4"/>
                </a:moveTo>
                <a:lnTo>
                  <a:pt x="0" y="4"/>
                </a:lnTo>
                <a:lnTo>
                  <a:pt x="0" y="0"/>
                </a:lnTo>
                <a:lnTo>
                  <a:pt x="54" y="0"/>
                </a:lnTo>
                <a:lnTo>
                  <a:pt x="54" y="4"/>
                </a:lnTo>
                <a:lnTo>
                  <a:pt x="54" y="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6" name="Freeform 687">
            <a:extLst>
              <a:ext uri="{FF2B5EF4-FFF2-40B4-BE49-F238E27FC236}">
                <a16:creationId xmlns:a16="http://schemas.microsoft.com/office/drawing/2014/main" id="{B9220040-3B11-46C5-B776-9D4521116549}"/>
              </a:ext>
            </a:extLst>
          </p:cNvPr>
          <p:cNvSpPr>
            <a:spLocks/>
          </p:cNvSpPr>
          <p:nvPr/>
        </p:nvSpPr>
        <p:spPr bwMode="auto">
          <a:xfrm>
            <a:off x="7549969" y="4966737"/>
            <a:ext cx="66369" cy="5009"/>
          </a:xfrm>
          <a:custGeom>
            <a:avLst/>
            <a:gdLst>
              <a:gd name="T0" fmla="*/ 53 w 53"/>
              <a:gd name="T1" fmla="*/ 4 h 4"/>
              <a:gd name="T2" fmla="*/ 0 w 53"/>
              <a:gd name="T3" fmla="*/ 4 h 4"/>
              <a:gd name="T4" fmla="*/ 0 w 53"/>
              <a:gd name="T5" fmla="*/ 0 h 4"/>
              <a:gd name="T6" fmla="*/ 53 w 53"/>
              <a:gd name="T7" fmla="*/ 0 h 4"/>
              <a:gd name="T8" fmla="*/ 53 w 53"/>
              <a:gd name="T9" fmla="*/ 4 h 4"/>
              <a:gd name="T10" fmla="*/ 53 w 53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" h="4">
                <a:moveTo>
                  <a:pt x="53" y="4"/>
                </a:moveTo>
                <a:lnTo>
                  <a:pt x="0" y="4"/>
                </a:lnTo>
                <a:lnTo>
                  <a:pt x="0" y="0"/>
                </a:lnTo>
                <a:lnTo>
                  <a:pt x="53" y="0"/>
                </a:lnTo>
                <a:lnTo>
                  <a:pt x="53" y="4"/>
                </a:lnTo>
                <a:lnTo>
                  <a:pt x="53" y="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7" name="Freeform 688">
            <a:extLst>
              <a:ext uri="{FF2B5EF4-FFF2-40B4-BE49-F238E27FC236}">
                <a16:creationId xmlns:a16="http://schemas.microsoft.com/office/drawing/2014/main" id="{284F9759-3A9E-4286-B4E5-9D25F4BE2A79}"/>
              </a:ext>
            </a:extLst>
          </p:cNvPr>
          <p:cNvSpPr>
            <a:spLocks/>
          </p:cNvSpPr>
          <p:nvPr/>
        </p:nvSpPr>
        <p:spPr bwMode="auto">
          <a:xfrm>
            <a:off x="7547465" y="5014322"/>
            <a:ext cx="67621" cy="3757"/>
          </a:xfrm>
          <a:custGeom>
            <a:avLst/>
            <a:gdLst>
              <a:gd name="T0" fmla="*/ 54 w 54"/>
              <a:gd name="T1" fmla="*/ 3 h 3"/>
              <a:gd name="T2" fmla="*/ 0 w 54"/>
              <a:gd name="T3" fmla="*/ 3 h 3"/>
              <a:gd name="T4" fmla="*/ 0 w 54"/>
              <a:gd name="T5" fmla="*/ 0 h 3"/>
              <a:gd name="T6" fmla="*/ 54 w 54"/>
              <a:gd name="T7" fmla="*/ 0 h 3"/>
              <a:gd name="T8" fmla="*/ 54 w 54"/>
              <a:gd name="T9" fmla="*/ 3 h 3"/>
              <a:gd name="T10" fmla="*/ 54 w 54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3">
                <a:moveTo>
                  <a:pt x="54" y="3"/>
                </a:moveTo>
                <a:lnTo>
                  <a:pt x="0" y="3"/>
                </a:lnTo>
                <a:lnTo>
                  <a:pt x="0" y="0"/>
                </a:lnTo>
                <a:lnTo>
                  <a:pt x="54" y="0"/>
                </a:lnTo>
                <a:lnTo>
                  <a:pt x="54" y="3"/>
                </a:lnTo>
                <a:lnTo>
                  <a:pt x="54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8" name="Freeform 689">
            <a:extLst>
              <a:ext uri="{FF2B5EF4-FFF2-40B4-BE49-F238E27FC236}">
                <a16:creationId xmlns:a16="http://schemas.microsoft.com/office/drawing/2014/main" id="{1DECC22B-8094-46DD-B730-48D827BB1B7B}"/>
              </a:ext>
            </a:extLst>
          </p:cNvPr>
          <p:cNvSpPr>
            <a:spLocks/>
          </p:cNvSpPr>
          <p:nvPr/>
        </p:nvSpPr>
        <p:spPr bwMode="auto">
          <a:xfrm>
            <a:off x="7546212" y="5060654"/>
            <a:ext cx="67621" cy="5009"/>
          </a:xfrm>
          <a:custGeom>
            <a:avLst/>
            <a:gdLst>
              <a:gd name="T0" fmla="*/ 54 w 54"/>
              <a:gd name="T1" fmla="*/ 4 h 4"/>
              <a:gd name="T2" fmla="*/ 0 w 54"/>
              <a:gd name="T3" fmla="*/ 4 h 4"/>
              <a:gd name="T4" fmla="*/ 0 w 54"/>
              <a:gd name="T5" fmla="*/ 0 h 4"/>
              <a:gd name="T6" fmla="*/ 54 w 54"/>
              <a:gd name="T7" fmla="*/ 0 h 4"/>
              <a:gd name="T8" fmla="*/ 54 w 54"/>
              <a:gd name="T9" fmla="*/ 4 h 4"/>
              <a:gd name="T10" fmla="*/ 54 w 54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4">
                <a:moveTo>
                  <a:pt x="54" y="4"/>
                </a:moveTo>
                <a:lnTo>
                  <a:pt x="0" y="4"/>
                </a:lnTo>
                <a:lnTo>
                  <a:pt x="0" y="0"/>
                </a:lnTo>
                <a:lnTo>
                  <a:pt x="54" y="0"/>
                </a:lnTo>
                <a:lnTo>
                  <a:pt x="54" y="4"/>
                </a:lnTo>
                <a:lnTo>
                  <a:pt x="54" y="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9" name="Freeform 690">
            <a:extLst>
              <a:ext uri="{FF2B5EF4-FFF2-40B4-BE49-F238E27FC236}">
                <a16:creationId xmlns:a16="http://schemas.microsoft.com/office/drawing/2014/main" id="{D303364E-87E5-4283-973B-BCAFF1D05BC4}"/>
              </a:ext>
            </a:extLst>
          </p:cNvPr>
          <p:cNvSpPr>
            <a:spLocks/>
          </p:cNvSpPr>
          <p:nvPr/>
        </p:nvSpPr>
        <p:spPr bwMode="auto">
          <a:xfrm>
            <a:off x="7544960" y="5108239"/>
            <a:ext cx="67621" cy="5009"/>
          </a:xfrm>
          <a:custGeom>
            <a:avLst/>
            <a:gdLst>
              <a:gd name="T0" fmla="*/ 54 w 54"/>
              <a:gd name="T1" fmla="*/ 4 h 4"/>
              <a:gd name="T2" fmla="*/ 0 w 54"/>
              <a:gd name="T3" fmla="*/ 4 h 4"/>
              <a:gd name="T4" fmla="*/ 0 w 54"/>
              <a:gd name="T5" fmla="*/ 0 h 4"/>
              <a:gd name="T6" fmla="*/ 54 w 54"/>
              <a:gd name="T7" fmla="*/ 0 h 4"/>
              <a:gd name="T8" fmla="*/ 54 w 54"/>
              <a:gd name="T9" fmla="*/ 4 h 4"/>
              <a:gd name="T10" fmla="*/ 54 w 54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4">
                <a:moveTo>
                  <a:pt x="54" y="4"/>
                </a:moveTo>
                <a:lnTo>
                  <a:pt x="0" y="4"/>
                </a:lnTo>
                <a:lnTo>
                  <a:pt x="0" y="0"/>
                </a:lnTo>
                <a:lnTo>
                  <a:pt x="54" y="0"/>
                </a:lnTo>
                <a:lnTo>
                  <a:pt x="54" y="4"/>
                </a:lnTo>
                <a:lnTo>
                  <a:pt x="54" y="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0" name="Freeform 691">
            <a:extLst>
              <a:ext uri="{FF2B5EF4-FFF2-40B4-BE49-F238E27FC236}">
                <a16:creationId xmlns:a16="http://schemas.microsoft.com/office/drawing/2014/main" id="{17B1CAA6-433C-4976-8E5C-BA8A7C8C57B0}"/>
              </a:ext>
            </a:extLst>
          </p:cNvPr>
          <p:cNvSpPr>
            <a:spLocks/>
          </p:cNvSpPr>
          <p:nvPr/>
        </p:nvSpPr>
        <p:spPr bwMode="auto">
          <a:xfrm>
            <a:off x="7543708" y="5155824"/>
            <a:ext cx="66369" cy="3757"/>
          </a:xfrm>
          <a:custGeom>
            <a:avLst/>
            <a:gdLst>
              <a:gd name="T0" fmla="*/ 53 w 53"/>
              <a:gd name="T1" fmla="*/ 3 h 3"/>
              <a:gd name="T2" fmla="*/ 0 w 53"/>
              <a:gd name="T3" fmla="*/ 3 h 3"/>
              <a:gd name="T4" fmla="*/ 0 w 53"/>
              <a:gd name="T5" fmla="*/ 0 h 3"/>
              <a:gd name="T6" fmla="*/ 53 w 53"/>
              <a:gd name="T7" fmla="*/ 0 h 3"/>
              <a:gd name="T8" fmla="*/ 53 w 53"/>
              <a:gd name="T9" fmla="*/ 3 h 3"/>
              <a:gd name="T10" fmla="*/ 53 w 53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" h="3">
                <a:moveTo>
                  <a:pt x="53" y="3"/>
                </a:moveTo>
                <a:lnTo>
                  <a:pt x="0" y="3"/>
                </a:lnTo>
                <a:lnTo>
                  <a:pt x="0" y="0"/>
                </a:lnTo>
                <a:lnTo>
                  <a:pt x="53" y="0"/>
                </a:lnTo>
                <a:lnTo>
                  <a:pt x="53" y="3"/>
                </a:lnTo>
                <a:lnTo>
                  <a:pt x="53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1" name="Freeform 692">
            <a:extLst>
              <a:ext uri="{FF2B5EF4-FFF2-40B4-BE49-F238E27FC236}">
                <a16:creationId xmlns:a16="http://schemas.microsoft.com/office/drawing/2014/main" id="{00F9C416-C579-4951-A831-018403621234}"/>
              </a:ext>
            </a:extLst>
          </p:cNvPr>
          <p:cNvSpPr>
            <a:spLocks/>
          </p:cNvSpPr>
          <p:nvPr/>
        </p:nvSpPr>
        <p:spPr bwMode="auto">
          <a:xfrm>
            <a:off x="7541203" y="5202157"/>
            <a:ext cx="67621" cy="5009"/>
          </a:xfrm>
          <a:custGeom>
            <a:avLst/>
            <a:gdLst>
              <a:gd name="T0" fmla="*/ 54 w 54"/>
              <a:gd name="T1" fmla="*/ 4 h 4"/>
              <a:gd name="T2" fmla="*/ 0 w 54"/>
              <a:gd name="T3" fmla="*/ 4 h 4"/>
              <a:gd name="T4" fmla="*/ 0 w 54"/>
              <a:gd name="T5" fmla="*/ 0 h 4"/>
              <a:gd name="T6" fmla="*/ 54 w 54"/>
              <a:gd name="T7" fmla="*/ 0 h 4"/>
              <a:gd name="T8" fmla="*/ 54 w 54"/>
              <a:gd name="T9" fmla="*/ 4 h 4"/>
              <a:gd name="T10" fmla="*/ 54 w 54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4">
                <a:moveTo>
                  <a:pt x="54" y="4"/>
                </a:moveTo>
                <a:lnTo>
                  <a:pt x="0" y="4"/>
                </a:lnTo>
                <a:lnTo>
                  <a:pt x="0" y="0"/>
                </a:lnTo>
                <a:lnTo>
                  <a:pt x="54" y="0"/>
                </a:lnTo>
                <a:lnTo>
                  <a:pt x="54" y="4"/>
                </a:lnTo>
                <a:lnTo>
                  <a:pt x="54" y="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2" name="Freeform 693">
            <a:extLst>
              <a:ext uri="{FF2B5EF4-FFF2-40B4-BE49-F238E27FC236}">
                <a16:creationId xmlns:a16="http://schemas.microsoft.com/office/drawing/2014/main" id="{21CD2782-C159-477E-A879-336CD7EF3AEB}"/>
              </a:ext>
            </a:extLst>
          </p:cNvPr>
          <p:cNvSpPr>
            <a:spLocks/>
          </p:cNvSpPr>
          <p:nvPr/>
        </p:nvSpPr>
        <p:spPr bwMode="auto">
          <a:xfrm>
            <a:off x="7539951" y="5249741"/>
            <a:ext cx="67621" cy="3757"/>
          </a:xfrm>
          <a:custGeom>
            <a:avLst/>
            <a:gdLst>
              <a:gd name="T0" fmla="*/ 54 w 54"/>
              <a:gd name="T1" fmla="*/ 3 h 3"/>
              <a:gd name="T2" fmla="*/ 0 w 54"/>
              <a:gd name="T3" fmla="*/ 3 h 3"/>
              <a:gd name="T4" fmla="*/ 0 w 54"/>
              <a:gd name="T5" fmla="*/ 0 h 3"/>
              <a:gd name="T6" fmla="*/ 54 w 54"/>
              <a:gd name="T7" fmla="*/ 0 h 3"/>
              <a:gd name="T8" fmla="*/ 54 w 54"/>
              <a:gd name="T9" fmla="*/ 3 h 3"/>
              <a:gd name="T10" fmla="*/ 54 w 54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3">
                <a:moveTo>
                  <a:pt x="54" y="3"/>
                </a:moveTo>
                <a:lnTo>
                  <a:pt x="0" y="3"/>
                </a:lnTo>
                <a:lnTo>
                  <a:pt x="0" y="0"/>
                </a:lnTo>
                <a:lnTo>
                  <a:pt x="54" y="0"/>
                </a:lnTo>
                <a:lnTo>
                  <a:pt x="54" y="3"/>
                </a:lnTo>
                <a:lnTo>
                  <a:pt x="54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3" name="Freeform 694">
            <a:extLst>
              <a:ext uri="{FF2B5EF4-FFF2-40B4-BE49-F238E27FC236}">
                <a16:creationId xmlns:a16="http://schemas.microsoft.com/office/drawing/2014/main" id="{4C70CEB8-1D80-42D8-A75F-05CD181F8028}"/>
              </a:ext>
            </a:extLst>
          </p:cNvPr>
          <p:cNvSpPr>
            <a:spLocks/>
          </p:cNvSpPr>
          <p:nvPr/>
        </p:nvSpPr>
        <p:spPr bwMode="auto">
          <a:xfrm>
            <a:off x="7538699" y="5297326"/>
            <a:ext cx="66369" cy="3757"/>
          </a:xfrm>
          <a:custGeom>
            <a:avLst/>
            <a:gdLst>
              <a:gd name="T0" fmla="*/ 53 w 53"/>
              <a:gd name="T1" fmla="*/ 3 h 3"/>
              <a:gd name="T2" fmla="*/ 0 w 53"/>
              <a:gd name="T3" fmla="*/ 3 h 3"/>
              <a:gd name="T4" fmla="*/ 0 w 53"/>
              <a:gd name="T5" fmla="*/ 0 h 3"/>
              <a:gd name="T6" fmla="*/ 53 w 53"/>
              <a:gd name="T7" fmla="*/ 0 h 3"/>
              <a:gd name="T8" fmla="*/ 53 w 53"/>
              <a:gd name="T9" fmla="*/ 3 h 3"/>
              <a:gd name="T10" fmla="*/ 53 w 53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" h="3">
                <a:moveTo>
                  <a:pt x="53" y="3"/>
                </a:moveTo>
                <a:lnTo>
                  <a:pt x="0" y="3"/>
                </a:lnTo>
                <a:lnTo>
                  <a:pt x="0" y="0"/>
                </a:lnTo>
                <a:lnTo>
                  <a:pt x="53" y="0"/>
                </a:lnTo>
                <a:lnTo>
                  <a:pt x="53" y="3"/>
                </a:lnTo>
                <a:lnTo>
                  <a:pt x="53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4" name="Freeform 695">
            <a:extLst>
              <a:ext uri="{FF2B5EF4-FFF2-40B4-BE49-F238E27FC236}">
                <a16:creationId xmlns:a16="http://schemas.microsoft.com/office/drawing/2014/main" id="{EB32DC4F-573F-4A64-9898-71DA15ED8281}"/>
              </a:ext>
            </a:extLst>
          </p:cNvPr>
          <p:cNvSpPr>
            <a:spLocks/>
          </p:cNvSpPr>
          <p:nvPr/>
        </p:nvSpPr>
        <p:spPr bwMode="auto">
          <a:xfrm>
            <a:off x="7537447" y="5343659"/>
            <a:ext cx="66369" cy="5009"/>
          </a:xfrm>
          <a:custGeom>
            <a:avLst/>
            <a:gdLst>
              <a:gd name="T0" fmla="*/ 53 w 53"/>
              <a:gd name="T1" fmla="*/ 4 h 4"/>
              <a:gd name="T2" fmla="*/ 0 w 53"/>
              <a:gd name="T3" fmla="*/ 4 h 4"/>
              <a:gd name="T4" fmla="*/ 0 w 53"/>
              <a:gd name="T5" fmla="*/ 0 h 4"/>
              <a:gd name="T6" fmla="*/ 53 w 53"/>
              <a:gd name="T7" fmla="*/ 0 h 4"/>
              <a:gd name="T8" fmla="*/ 53 w 53"/>
              <a:gd name="T9" fmla="*/ 4 h 4"/>
              <a:gd name="T10" fmla="*/ 53 w 53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" h="4">
                <a:moveTo>
                  <a:pt x="53" y="4"/>
                </a:moveTo>
                <a:lnTo>
                  <a:pt x="0" y="4"/>
                </a:lnTo>
                <a:lnTo>
                  <a:pt x="0" y="0"/>
                </a:lnTo>
                <a:lnTo>
                  <a:pt x="53" y="0"/>
                </a:lnTo>
                <a:lnTo>
                  <a:pt x="53" y="4"/>
                </a:lnTo>
                <a:lnTo>
                  <a:pt x="53" y="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5" name="Freeform 696">
            <a:extLst>
              <a:ext uri="{FF2B5EF4-FFF2-40B4-BE49-F238E27FC236}">
                <a16:creationId xmlns:a16="http://schemas.microsoft.com/office/drawing/2014/main" id="{895C6E22-1ABE-4419-ADC7-2134DBA90A60}"/>
              </a:ext>
            </a:extLst>
          </p:cNvPr>
          <p:cNvSpPr>
            <a:spLocks/>
          </p:cNvSpPr>
          <p:nvPr/>
        </p:nvSpPr>
        <p:spPr bwMode="auto">
          <a:xfrm>
            <a:off x="7534942" y="5391243"/>
            <a:ext cx="67621" cy="3757"/>
          </a:xfrm>
          <a:custGeom>
            <a:avLst/>
            <a:gdLst>
              <a:gd name="T0" fmla="*/ 54 w 54"/>
              <a:gd name="T1" fmla="*/ 3 h 3"/>
              <a:gd name="T2" fmla="*/ 0 w 54"/>
              <a:gd name="T3" fmla="*/ 3 h 3"/>
              <a:gd name="T4" fmla="*/ 0 w 54"/>
              <a:gd name="T5" fmla="*/ 0 h 3"/>
              <a:gd name="T6" fmla="*/ 54 w 54"/>
              <a:gd name="T7" fmla="*/ 0 h 3"/>
              <a:gd name="T8" fmla="*/ 54 w 54"/>
              <a:gd name="T9" fmla="*/ 3 h 3"/>
              <a:gd name="T10" fmla="*/ 54 w 54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3">
                <a:moveTo>
                  <a:pt x="54" y="3"/>
                </a:moveTo>
                <a:lnTo>
                  <a:pt x="0" y="3"/>
                </a:lnTo>
                <a:lnTo>
                  <a:pt x="0" y="0"/>
                </a:lnTo>
                <a:lnTo>
                  <a:pt x="54" y="0"/>
                </a:lnTo>
                <a:lnTo>
                  <a:pt x="54" y="3"/>
                </a:lnTo>
                <a:lnTo>
                  <a:pt x="54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6" name="Freeform 697">
            <a:extLst>
              <a:ext uri="{FF2B5EF4-FFF2-40B4-BE49-F238E27FC236}">
                <a16:creationId xmlns:a16="http://schemas.microsoft.com/office/drawing/2014/main" id="{35EC5846-4287-46A0-BA20-C4C15DDF15DF}"/>
              </a:ext>
            </a:extLst>
          </p:cNvPr>
          <p:cNvSpPr>
            <a:spLocks/>
          </p:cNvSpPr>
          <p:nvPr/>
        </p:nvSpPr>
        <p:spPr bwMode="auto">
          <a:xfrm>
            <a:off x="7533690" y="5438828"/>
            <a:ext cx="67621" cy="3757"/>
          </a:xfrm>
          <a:custGeom>
            <a:avLst/>
            <a:gdLst>
              <a:gd name="T0" fmla="*/ 54 w 54"/>
              <a:gd name="T1" fmla="*/ 3 h 3"/>
              <a:gd name="T2" fmla="*/ 0 w 54"/>
              <a:gd name="T3" fmla="*/ 3 h 3"/>
              <a:gd name="T4" fmla="*/ 0 w 54"/>
              <a:gd name="T5" fmla="*/ 0 h 3"/>
              <a:gd name="T6" fmla="*/ 54 w 54"/>
              <a:gd name="T7" fmla="*/ 0 h 3"/>
              <a:gd name="T8" fmla="*/ 54 w 54"/>
              <a:gd name="T9" fmla="*/ 3 h 3"/>
              <a:gd name="T10" fmla="*/ 54 w 54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3">
                <a:moveTo>
                  <a:pt x="54" y="3"/>
                </a:moveTo>
                <a:lnTo>
                  <a:pt x="0" y="3"/>
                </a:lnTo>
                <a:lnTo>
                  <a:pt x="0" y="0"/>
                </a:lnTo>
                <a:lnTo>
                  <a:pt x="54" y="0"/>
                </a:lnTo>
                <a:lnTo>
                  <a:pt x="54" y="3"/>
                </a:lnTo>
                <a:lnTo>
                  <a:pt x="54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7" name="Freeform 698">
            <a:extLst>
              <a:ext uri="{FF2B5EF4-FFF2-40B4-BE49-F238E27FC236}">
                <a16:creationId xmlns:a16="http://schemas.microsoft.com/office/drawing/2014/main" id="{61BCAB52-C863-4A94-BBA6-8DE44ABC93E6}"/>
              </a:ext>
            </a:extLst>
          </p:cNvPr>
          <p:cNvSpPr>
            <a:spLocks/>
          </p:cNvSpPr>
          <p:nvPr/>
        </p:nvSpPr>
        <p:spPr bwMode="auto">
          <a:xfrm>
            <a:off x="7532438" y="5485161"/>
            <a:ext cx="66369" cy="3757"/>
          </a:xfrm>
          <a:custGeom>
            <a:avLst/>
            <a:gdLst>
              <a:gd name="T0" fmla="*/ 53 w 53"/>
              <a:gd name="T1" fmla="*/ 3 h 3"/>
              <a:gd name="T2" fmla="*/ 0 w 53"/>
              <a:gd name="T3" fmla="*/ 3 h 3"/>
              <a:gd name="T4" fmla="*/ 0 w 53"/>
              <a:gd name="T5" fmla="*/ 0 h 3"/>
              <a:gd name="T6" fmla="*/ 53 w 53"/>
              <a:gd name="T7" fmla="*/ 0 h 3"/>
              <a:gd name="T8" fmla="*/ 53 w 53"/>
              <a:gd name="T9" fmla="*/ 3 h 3"/>
              <a:gd name="T10" fmla="*/ 53 w 53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" h="3">
                <a:moveTo>
                  <a:pt x="53" y="3"/>
                </a:moveTo>
                <a:lnTo>
                  <a:pt x="0" y="3"/>
                </a:lnTo>
                <a:lnTo>
                  <a:pt x="0" y="0"/>
                </a:lnTo>
                <a:lnTo>
                  <a:pt x="53" y="0"/>
                </a:lnTo>
                <a:lnTo>
                  <a:pt x="53" y="3"/>
                </a:lnTo>
                <a:lnTo>
                  <a:pt x="53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8" name="Freeform 699">
            <a:extLst>
              <a:ext uri="{FF2B5EF4-FFF2-40B4-BE49-F238E27FC236}">
                <a16:creationId xmlns:a16="http://schemas.microsoft.com/office/drawing/2014/main" id="{0516D4EB-6499-46C6-9772-D26B55E2B390}"/>
              </a:ext>
            </a:extLst>
          </p:cNvPr>
          <p:cNvSpPr>
            <a:spLocks/>
          </p:cNvSpPr>
          <p:nvPr/>
        </p:nvSpPr>
        <p:spPr bwMode="auto">
          <a:xfrm>
            <a:off x="7531185" y="5532746"/>
            <a:ext cx="66369" cy="3757"/>
          </a:xfrm>
          <a:custGeom>
            <a:avLst/>
            <a:gdLst>
              <a:gd name="T0" fmla="*/ 53 w 53"/>
              <a:gd name="T1" fmla="*/ 3 h 3"/>
              <a:gd name="T2" fmla="*/ 0 w 53"/>
              <a:gd name="T3" fmla="*/ 3 h 3"/>
              <a:gd name="T4" fmla="*/ 0 w 53"/>
              <a:gd name="T5" fmla="*/ 0 h 3"/>
              <a:gd name="T6" fmla="*/ 53 w 53"/>
              <a:gd name="T7" fmla="*/ 0 h 3"/>
              <a:gd name="T8" fmla="*/ 53 w 53"/>
              <a:gd name="T9" fmla="*/ 3 h 3"/>
              <a:gd name="T10" fmla="*/ 53 w 53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" h="3">
                <a:moveTo>
                  <a:pt x="53" y="3"/>
                </a:moveTo>
                <a:lnTo>
                  <a:pt x="0" y="3"/>
                </a:lnTo>
                <a:lnTo>
                  <a:pt x="0" y="0"/>
                </a:lnTo>
                <a:lnTo>
                  <a:pt x="53" y="0"/>
                </a:lnTo>
                <a:lnTo>
                  <a:pt x="53" y="3"/>
                </a:lnTo>
                <a:lnTo>
                  <a:pt x="53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9" name="Freeform 700">
            <a:extLst>
              <a:ext uri="{FF2B5EF4-FFF2-40B4-BE49-F238E27FC236}">
                <a16:creationId xmlns:a16="http://schemas.microsoft.com/office/drawing/2014/main" id="{C195ECF1-D031-464F-B49A-665E991617F9}"/>
              </a:ext>
            </a:extLst>
          </p:cNvPr>
          <p:cNvSpPr>
            <a:spLocks/>
          </p:cNvSpPr>
          <p:nvPr/>
        </p:nvSpPr>
        <p:spPr bwMode="auto">
          <a:xfrm>
            <a:off x="7528681" y="5579079"/>
            <a:ext cx="67621" cy="3757"/>
          </a:xfrm>
          <a:custGeom>
            <a:avLst/>
            <a:gdLst>
              <a:gd name="T0" fmla="*/ 54 w 54"/>
              <a:gd name="T1" fmla="*/ 3 h 3"/>
              <a:gd name="T2" fmla="*/ 0 w 54"/>
              <a:gd name="T3" fmla="*/ 3 h 3"/>
              <a:gd name="T4" fmla="*/ 0 w 54"/>
              <a:gd name="T5" fmla="*/ 0 h 3"/>
              <a:gd name="T6" fmla="*/ 54 w 54"/>
              <a:gd name="T7" fmla="*/ 0 h 3"/>
              <a:gd name="T8" fmla="*/ 54 w 54"/>
              <a:gd name="T9" fmla="*/ 3 h 3"/>
              <a:gd name="T10" fmla="*/ 54 w 54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3">
                <a:moveTo>
                  <a:pt x="54" y="3"/>
                </a:moveTo>
                <a:lnTo>
                  <a:pt x="0" y="3"/>
                </a:lnTo>
                <a:lnTo>
                  <a:pt x="0" y="0"/>
                </a:lnTo>
                <a:lnTo>
                  <a:pt x="54" y="0"/>
                </a:lnTo>
                <a:lnTo>
                  <a:pt x="54" y="3"/>
                </a:lnTo>
                <a:lnTo>
                  <a:pt x="54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0" name="Freeform 701">
            <a:extLst>
              <a:ext uri="{FF2B5EF4-FFF2-40B4-BE49-F238E27FC236}">
                <a16:creationId xmlns:a16="http://schemas.microsoft.com/office/drawing/2014/main" id="{F57629CF-F97A-4451-8B67-9664FE522911}"/>
              </a:ext>
            </a:extLst>
          </p:cNvPr>
          <p:cNvSpPr>
            <a:spLocks/>
          </p:cNvSpPr>
          <p:nvPr/>
        </p:nvSpPr>
        <p:spPr bwMode="auto">
          <a:xfrm>
            <a:off x="7527429" y="5626663"/>
            <a:ext cx="67621" cy="3757"/>
          </a:xfrm>
          <a:custGeom>
            <a:avLst/>
            <a:gdLst>
              <a:gd name="T0" fmla="*/ 54 w 54"/>
              <a:gd name="T1" fmla="*/ 3 h 3"/>
              <a:gd name="T2" fmla="*/ 0 w 54"/>
              <a:gd name="T3" fmla="*/ 3 h 3"/>
              <a:gd name="T4" fmla="*/ 0 w 54"/>
              <a:gd name="T5" fmla="*/ 0 h 3"/>
              <a:gd name="T6" fmla="*/ 54 w 54"/>
              <a:gd name="T7" fmla="*/ 0 h 3"/>
              <a:gd name="T8" fmla="*/ 54 w 54"/>
              <a:gd name="T9" fmla="*/ 3 h 3"/>
              <a:gd name="T10" fmla="*/ 54 w 54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3">
                <a:moveTo>
                  <a:pt x="54" y="3"/>
                </a:moveTo>
                <a:lnTo>
                  <a:pt x="0" y="3"/>
                </a:lnTo>
                <a:lnTo>
                  <a:pt x="0" y="0"/>
                </a:lnTo>
                <a:lnTo>
                  <a:pt x="54" y="0"/>
                </a:lnTo>
                <a:lnTo>
                  <a:pt x="54" y="3"/>
                </a:lnTo>
                <a:lnTo>
                  <a:pt x="54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1" name="Freeform 702">
            <a:extLst>
              <a:ext uri="{FF2B5EF4-FFF2-40B4-BE49-F238E27FC236}">
                <a16:creationId xmlns:a16="http://schemas.microsoft.com/office/drawing/2014/main" id="{9BF263E2-D4B7-4359-A58A-32E1A4585A0B}"/>
              </a:ext>
            </a:extLst>
          </p:cNvPr>
          <p:cNvSpPr>
            <a:spLocks/>
          </p:cNvSpPr>
          <p:nvPr/>
        </p:nvSpPr>
        <p:spPr bwMode="auto">
          <a:xfrm>
            <a:off x="7526176" y="5674248"/>
            <a:ext cx="66369" cy="3757"/>
          </a:xfrm>
          <a:custGeom>
            <a:avLst/>
            <a:gdLst>
              <a:gd name="T0" fmla="*/ 53 w 53"/>
              <a:gd name="T1" fmla="*/ 3 h 3"/>
              <a:gd name="T2" fmla="*/ 0 w 53"/>
              <a:gd name="T3" fmla="*/ 3 h 3"/>
              <a:gd name="T4" fmla="*/ 0 w 53"/>
              <a:gd name="T5" fmla="*/ 0 h 3"/>
              <a:gd name="T6" fmla="*/ 53 w 53"/>
              <a:gd name="T7" fmla="*/ 0 h 3"/>
              <a:gd name="T8" fmla="*/ 53 w 53"/>
              <a:gd name="T9" fmla="*/ 3 h 3"/>
              <a:gd name="T10" fmla="*/ 53 w 53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" h="3">
                <a:moveTo>
                  <a:pt x="53" y="3"/>
                </a:moveTo>
                <a:lnTo>
                  <a:pt x="0" y="3"/>
                </a:lnTo>
                <a:lnTo>
                  <a:pt x="0" y="0"/>
                </a:lnTo>
                <a:lnTo>
                  <a:pt x="53" y="0"/>
                </a:lnTo>
                <a:lnTo>
                  <a:pt x="53" y="3"/>
                </a:lnTo>
                <a:lnTo>
                  <a:pt x="53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2" name="Freeform 703">
            <a:extLst>
              <a:ext uri="{FF2B5EF4-FFF2-40B4-BE49-F238E27FC236}">
                <a16:creationId xmlns:a16="http://schemas.microsoft.com/office/drawing/2014/main" id="{755737BB-302A-40A6-928A-1356EE07C3D7}"/>
              </a:ext>
            </a:extLst>
          </p:cNvPr>
          <p:cNvSpPr>
            <a:spLocks/>
          </p:cNvSpPr>
          <p:nvPr/>
        </p:nvSpPr>
        <p:spPr bwMode="auto">
          <a:xfrm>
            <a:off x="7524925" y="5720581"/>
            <a:ext cx="66369" cy="3757"/>
          </a:xfrm>
          <a:custGeom>
            <a:avLst/>
            <a:gdLst>
              <a:gd name="T0" fmla="*/ 53 w 53"/>
              <a:gd name="T1" fmla="*/ 3 h 3"/>
              <a:gd name="T2" fmla="*/ 0 w 53"/>
              <a:gd name="T3" fmla="*/ 3 h 3"/>
              <a:gd name="T4" fmla="*/ 0 w 53"/>
              <a:gd name="T5" fmla="*/ 0 h 3"/>
              <a:gd name="T6" fmla="*/ 53 w 53"/>
              <a:gd name="T7" fmla="*/ 0 h 3"/>
              <a:gd name="T8" fmla="*/ 53 w 53"/>
              <a:gd name="T9" fmla="*/ 3 h 3"/>
              <a:gd name="T10" fmla="*/ 53 w 53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" h="3">
                <a:moveTo>
                  <a:pt x="53" y="3"/>
                </a:moveTo>
                <a:lnTo>
                  <a:pt x="0" y="3"/>
                </a:lnTo>
                <a:lnTo>
                  <a:pt x="0" y="0"/>
                </a:lnTo>
                <a:lnTo>
                  <a:pt x="53" y="0"/>
                </a:lnTo>
                <a:lnTo>
                  <a:pt x="53" y="3"/>
                </a:lnTo>
                <a:lnTo>
                  <a:pt x="53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3" name="Freeform 704">
            <a:extLst>
              <a:ext uri="{FF2B5EF4-FFF2-40B4-BE49-F238E27FC236}">
                <a16:creationId xmlns:a16="http://schemas.microsoft.com/office/drawing/2014/main" id="{679EBA9D-FB12-4536-B682-C9143E09136A}"/>
              </a:ext>
            </a:extLst>
          </p:cNvPr>
          <p:cNvSpPr>
            <a:spLocks/>
          </p:cNvSpPr>
          <p:nvPr/>
        </p:nvSpPr>
        <p:spPr bwMode="auto">
          <a:xfrm>
            <a:off x="7522420" y="5768166"/>
            <a:ext cx="67621" cy="3757"/>
          </a:xfrm>
          <a:custGeom>
            <a:avLst/>
            <a:gdLst>
              <a:gd name="T0" fmla="*/ 54 w 54"/>
              <a:gd name="T1" fmla="*/ 3 h 3"/>
              <a:gd name="T2" fmla="*/ 0 w 54"/>
              <a:gd name="T3" fmla="*/ 3 h 3"/>
              <a:gd name="T4" fmla="*/ 0 w 54"/>
              <a:gd name="T5" fmla="*/ 0 h 3"/>
              <a:gd name="T6" fmla="*/ 54 w 54"/>
              <a:gd name="T7" fmla="*/ 0 h 3"/>
              <a:gd name="T8" fmla="*/ 54 w 54"/>
              <a:gd name="T9" fmla="*/ 3 h 3"/>
              <a:gd name="T10" fmla="*/ 54 w 54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3">
                <a:moveTo>
                  <a:pt x="54" y="3"/>
                </a:moveTo>
                <a:lnTo>
                  <a:pt x="0" y="3"/>
                </a:lnTo>
                <a:lnTo>
                  <a:pt x="0" y="0"/>
                </a:lnTo>
                <a:lnTo>
                  <a:pt x="54" y="0"/>
                </a:lnTo>
                <a:lnTo>
                  <a:pt x="54" y="3"/>
                </a:lnTo>
                <a:lnTo>
                  <a:pt x="54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4" name="Freeform 705">
            <a:extLst>
              <a:ext uri="{FF2B5EF4-FFF2-40B4-BE49-F238E27FC236}">
                <a16:creationId xmlns:a16="http://schemas.microsoft.com/office/drawing/2014/main" id="{6103D547-F7D9-4F8E-B718-30F1C13DA887}"/>
              </a:ext>
            </a:extLst>
          </p:cNvPr>
          <p:cNvSpPr>
            <a:spLocks/>
          </p:cNvSpPr>
          <p:nvPr/>
        </p:nvSpPr>
        <p:spPr bwMode="auto">
          <a:xfrm>
            <a:off x="7521168" y="5814498"/>
            <a:ext cx="67621" cy="5009"/>
          </a:xfrm>
          <a:custGeom>
            <a:avLst/>
            <a:gdLst>
              <a:gd name="T0" fmla="*/ 54 w 54"/>
              <a:gd name="T1" fmla="*/ 4 h 4"/>
              <a:gd name="T2" fmla="*/ 0 w 54"/>
              <a:gd name="T3" fmla="*/ 4 h 4"/>
              <a:gd name="T4" fmla="*/ 0 w 54"/>
              <a:gd name="T5" fmla="*/ 0 h 4"/>
              <a:gd name="T6" fmla="*/ 54 w 54"/>
              <a:gd name="T7" fmla="*/ 0 h 4"/>
              <a:gd name="T8" fmla="*/ 54 w 54"/>
              <a:gd name="T9" fmla="*/ 4 h 4"/>
              <a:gd name="T10" fmla="*/ 54 w 54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4">
                <a:moveTo>
                  <a:pt x="54" y="4"/>
                </a:moveTo>
                <a:lnTo>
                  <a:pt x="0" y="4"/>
                </a:lnTo>
                <a:lnTo>
                  <a:pt x="0" y="0"/>
                </a:lnTo>
                <a:lnTo>
                  <a:pt x="54" y="0"/>
                </a:lnTo>
                <a:lnTo>
                  <a:pt x="54" y="4"/>
                </a:lnTo>
                <a:lnTo>
                  <a:pt x="54" y="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5" name="Freeform 706">
            <a:extLst>
              <a:ext uri="{FF2B5EF4-FFF2-40B4-BE49-F238E27FC236}">
                <a16:creationId xmlns:a16="http://schemas.microsoft.com/office/drawing/2014/main" id="{A9209C8B-8B3D-464E-8E65-09CE9E803053}"/>
              </a:ext>
            </a:extLst>
          </p:cNvPr>
          <p:cNvSpPr>
            <a:spLocks/>
          </p:cNvSpPr>
          <p:nvPr/>
        </p:nvSpPr>
        <p:spPr bwMode="auto">
          <a:xfrm>
            <a:off x="9314366" y="1454221"/>
            <a:ext cx="1482645" cy="1685506"/>
          </a:xfrm>
          <a:custGeom>
            <a:avLst/>
            <a:gdLst>
              <a:gd name="T0" fmla="*/ 40 w 2852"/>
              <a:gd name="T1" fmla="*/ 3240 h 3240"/>
              <a:gd name="T2" fmla="*/ 0 w 2852"/>
              <a:gd name="T3" fmla="*/ 3240 h 3240"/>
              <a:gd name="T4" fmla="*/ 0 w 2852"/>
              <a:gd name="T5" fmla="*/ 1945 h 3240"/>
              <a:gd name="T6" fmla="*/ 259 w 2852"/>
              <a:gd name="T7" fmla="*/ 1687 h 3240"/>
              <a:gd name="T8" fmla="*/ 1670 w 2852"/>
              <a:gd name="T9" fmla="*/ 1687 h 3240"/>
              <a:gd name="T10" fmla="*/ 1856 w 2852"/>
              <a:gd name="T11" fmla="*/ 1501 h 3240"/>
              <a:gd name="T12" fmla="*/ 1670 w 2852"/>
              <a:gd name="T13" fmla="*/ 1315 h 3240"/>
              <a:gd name="T14" fmla="*/ 1147 w 2852"/>
              <a:gd name="T15" fmla="*/ 1315 h 3240"/>
              <a:gd name="T16" fmla="*/ 905 w 2852"/>
              <a:gd name="T17" fmla="*/ 1073 h 3240"/>
              <a:gd name="T18" fmla="*/ 1147 w 2852"/>
              <a:gd name="T19" fmla="*/ 831 h 3240"/>
              <a:gd name="T20" fmla="*/ 2594 w 2852"/>
              <a:gd name="T21" fmla="*/ 831 h 3240"/>
              <a:gd name="T22" fmla="*/ 2812 w 2852"/>
              <a:gd name="T23" fmla="*/ 612 h 3240"/>
              <a:gd name="T24" fmla="*/ 2812 w 2852"/>
              <a:gd name="T25" fmla="*/ 0 h 3240"/>
              <a:gd name="T26" fmla="*/ 2852 w 2852"/>
              <a:gd name="T27" fmla="*/ 0 h 3240"/>
              <a:gd name="T28" fmla="*/ 2852 w 2852"/>
              <a:gd name="T29" fmla="*/ 612 h 3240"/>
              <a:gd name="T30" fmla="*/ 2594 w 2852"/>
              <a:gd name="T31" fmla="*/ 871 h 3240"/>
              <a:gd name="T32" fmla="*/ 1147 w 2852"/>
              <a:gd name="T33" fmla="*/ 871 h 3240"/>
              <a:gd name="T34" fmla="*/ 945 w 2852"/>
              <a:gd name="T35" fmla="*/ 1073 h 3240"/>
              <a:gd name="T36" fmla="*/ 1147 w 2852"/>
              <a:gd name="T37" fmla="*/ 1275 h 3240"/>
              <a:gd name="T38" fmla="*/ 1670 w 2852"/>
              <a:gd name="T39" fmla="*/ 1275 h 3240"/>
              <a:gd name="T40" fmla="*/ 1896 w 2852"/>
              <a:gd name="T41" fmla="*/ 1501 h 3240"/>
              <a:gd name="T42" fmla="*/ 1670 w 2852"/>
              <a:gd name="T43" fmla="*/ 1727 h 3240"/>
              <a:gd name="T44" fmla="*/ 259 w 2852"/>
              <a:gd name="T45" fmla="*/ 1727 h 3240"/>
              <a:gd name="T46" fmla="*/ 40 w 2852"/>
              <a:gd name="T47" fmla="*/ 1945 h 3240"/>
              <a:gd name="T48" fmla="*/ 40 w 2852"/>
              <a:gd name="T49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852" h="3240">
                <a:moveTo>
                  <a:pt x="40" y="3240"/>
                </a:moveTo>
                <a:cubicBezTo>
                  <a:pt x="0" y="3240"/>
                  <a:pt x="0" y="3240"/>
                  <a:pt x="0" y="3240"/>
                </a:cubicBezTo>
                <a:cubicBezTo>
                  <a:pt x="0" y="1945"/>
                  <a:pt x="0" y="1945"/>
                  <a:pt x="0" y="1945"/>
                </a:cubicBezTo>
                <a:cubicBezTo>
                  <a:pt x="0" y="1803"/>
                  <a:pt x="116" y="1687"/>
                  <a:pt x="259" y="1687"/>
                </a:cubicBezTo>
                <a:cubicBezTo>
                  <a:pt x="1670" y="1687"/>
                  <a:pt x="1670" y="1687"/>
                  <a:pt x="1670" y="1687"/>
                </a:cubicBezTo>
                <a:cubicBezTo>
                  <a:pt x="1773" y="1687"/>
                  <a:pt x="1856" y="1603"/>
                  <a:pt x="1856" y="1501"/>
                </a:cubicBezTo>
                <a:cubicBezTo>
                  <a:pt x="1856" y="1398"/>
                  <a:pt x="1773" y="1315"/>
                  <a:pt x="1670" y="1315"/>
                </a:cubicBezTo>
                <a:cubicBezTo>
                  <a:pt x="1147" y="1315"/>
                  <a:pt x="1147" y="1315"/>
                  <a:pt x="1147" y="1315"/>
                </a:cubicBezTo>
                <a:cubicBezTo>
                  <a:pt x="1014" y="1315"/>
                  <a:pt x="905" y="1206"/>
                  <a:pt x="905" y="1073"/>
                </a:cubicBezTo>
                <a:cubicBezTo>
                  <a:pt x="905" y="940"/>
                  <a:pt x="1014" y="831"/>
                  <a:pt x="1147" y="831"/>
                </a:cubicBezTo>
                <a:cubicBezTo>
                  <a:pt x="2594" y="831"/>
                  <a:pt x="2594" y="831"/>
                  <a:pt x="2594" y="831"/>
                </a:cubicBezTo>
                <a:cubicBezTo>
                  <a:pt x="2714" y="831"/>
                  <a:pt x="2812" y="733"/>
                  <a:pt x="2812" y="612"/>
                </a:cubicBezTo>
                <a:cubicBezTo>
                  <a:pt x="2812" y="0"/>
                  <a:pt x="2812" y="0"/>
                  <a:pt x="2812" y="0"/>
                </a:cubicBezTo>
                <a:cubicBezTo>
                  <a:pt x="2852" y="0"/>
                  <a:pt x="2852" y="0"/>
                  <a:pt x="2852" y="0"/>
                </a:cubicBezTo>
                <a:cubicBezTo>
                  <a:pt x="2852" y="612"/>
                  <a:pt x="2852" y="612"/>
                  <a:pt x="2852" y="612"/>
                </a:cubicBezTo>
                <a:cubicBezTo>
                  <a:pt x="2852" y="755"/>
                  <a:pt x="2736" y="871"/>
                  <a:pt x="2594" y="871"/>
                </a:cubicBezTo>
                <a:cubicBezTo>
                  <a:pt x="1147" y="871"/>
                  <a:pt x="1147" y="871"/>
                  <a:pt x="1147" y="871"/>
                </a:cubicBezTo>
                <a:cubicBezTo>
                  <a:pt x="1036" y="871"/>
                  <a:pt x="945" y="962"/>
                  <a:pt x="945" y="1073"/>
                </a:cubicBezTo>
                <a:cubicBezTo>
                  <a:pt x="945" y="1184"/>
                  <a:pt x="1036" y="1275"/>
                  <a:pt x="1147" y="1275"/>
                </a:cubicBezTo>
                <a:cubicBezTo>
                  <a:pt x="1670" y="1275"/>
                  <a:pt x="1670" y="1275"/>
                  <a:pt x="1670" y="1275"/>
                </a:cubicBezTo>
                <a:cubicBezTo>
                  <a:pt x="1795" y="1275"/>
                  <a:pt x="1896" y="1376"/>
                  <a:pt x="1896" y="1501"/>
                </a:cubicBezTo>
                <a:cubicBezTo>
                  <a:pt x="1896" y="1625"/>
                  <a:pt x="1795" y="1727"/>
                  <a:pt x="1670" y="1727"/>
                </a:cubicBezTo>
                <a:cubicBezTo>
                  <a:pt x="259" y="1727"/>
                  <a:pt x="259" y="1727"/>
                  <a:pt x="259" y="1727"/>
                </a:cubicBezTo>
                <a:cubicBezTo>
                  <a:pt x="138" y="1727"/>
                  <a:pt x="40" y="1825"/>
                  <a:pt x="40" y="1945"/>
                </a:cubicBezTo>
                <a:cubicBezTo>
                  <a:pt x="40" y="3240"/>
                  <a:pt x="40" y="3240"/>
                  <a:pt x="40" y="3240"/>
                </a:cubicBez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6" name="Freeform 707">
            <a:extLst>
              <a:ext uri="{FF2B5EF4-FFF2-40B4-BE49-F238E27FC236}">
                <a16:creationId xmlns:a16="http://schemas.microsoft.com/office/drawing/2014/main" id="{1F7CE4ED-340A-4A52-9CF4-5E461B4823AA}"/>
              </a:ext>
            </a:extLst>
          </p:cNvPr>
          <p:cNvSpPr>
            <a:spLocks/>
          </p:cNvSpPr>
          <p:nvPr/>
        </p:nvSpPr>
        <p:spPr bwMode="auto">
          <a:xfrm>
            <a:off x="8201131" y="1454221"/>
            <a:ext cx="1014309" cy="1685506"/>
          </a:xfrm>
          <a:custGeom>
            <a:avLst/>
            <a:gdLst>
              <a:gd name="T0" fmla="*/ 1951 w 1951"/>
              <a:gd name="T1" fmla="*/ 3240 h 3240"/>
              <a:gd name="T2" fmla="*/ 1911 w 1951"/>
              <a:gd name="T3" fmla="*/ 3240 h 3240"/>
              <a:gd name="T4" fmla="*/ 1911 w 1951"/>
              <a:gd name="T5" fmla="*/ 2601 h 3240"/>
              <a:gd name="T6" fmla="*/ 1692 w 1951"/>
              <a:gd name="T7" fmla="*/ 2382 h 3240"/>
              <a:gd name="T8" fmla="*/ 1536 w 1951"/>
              <a:gd name="T9" fmla="*/ 2382 h 3240"/>
              <a:gd name="T10" fmla="*/ 1317 w 1951"/>
              <a:gd name="T11" fmla="*/ 2601 h 3240"/>
              <a:gd name="T12" fmla="*/ 1317 w 1951"/>
              <a:gd name="T13" fmla="*/ 2652 h 3240"/>
              <a:gd name="T14" fmla="*/ 1059 w 1951"/>
              <a:gd name="T15" fmla="*/ 2911 h 3240"/>
              <a:gd name="T16" fmla="*/ 1031 w 1951"/>
              <a:gd name="T17" fmla="*/ 2911 h 3240"/>
              <a:gd name="T18" fmla="*/ 773 w 1951"/>
              <a:gd name="T19" fmla="*/ 2652 h 3240"/>
              <a:gd name="T20" fmla="*/ 773 w 1951"/>
              <a:gd name="T21" fmla="*/ 1724 h 3240"/>
              <a:gd name="T22" fmla="*/ 554 w 1951"/>
              <a:gd name="T23" fmla="*/ 1505 h 3240"/>
              <a:gd name="T24" fmla="*/ 259 w 1951"/>
              <a:gd name="T25" fmla="*/ 1505 h 3240"/>
              <a:gd name="T26" fmla="*/ 0 w 1951"/>
              <a:gd name="T27" fmla="*/ 1246 h 3240"/>
              <a:gd name="T28" fmla="*/ 0 w 1951"/>
              <a:gd name="T29" fmla="*/ 0 h 3240"/>
              <a:gd name="T30" fmla="*/ 40 w 1951"/>
              <a:gd name="T31" fmla="*/ 0 h 3240"/>
              <a:gd name="T32" fmla="*/ 40 w 1951"/>
              <a:gd name="T33" fmla="*/ 1246 h 3240"/>
              <a:gd name="T34" fmla="*/ 259 w 1951"/>
              <a:gd name="T35" fmla="*/ 1465 h 3240"/>
              <a:gd name="T36" fmla="*/ 554 w 1951"/>
              <a:gd name="T37" fmla="*/ 1465 h 3240"/>
              <a:gd name="T38" fmla="*/ 813 w 1951"/>
              <a:gd name="T39" fmla="*/ 1724 h 3240"/>
              <a:gd name="T40" fmla="*/ 813 w 1951"/>
              <a:gd name="T41" fmla="*/ 2652 h 3240"/>
              <a:gd name="T42" fmla="*/ 1031 w 1951"/>
              <a:gd name="T43" fmla="*/ 2871 h 3240"/>
              <a:gd name="T44" fmla="*/ 1059 w 1951"/>
              <a:gd name="T45" fmla="*/ 2871 h 3240"/>
              <a:gd name="T46" fmla="*/ 1277 w 1951"/>
              <a:gd name="T47" fmla="*/ 2652 h 3240"/>
              <a:gd name="T48" fmla="*/ 1277 w 1951"/>
              <a:gd name="T49" fmla="*/ 2601 h 3240"/>
              <a:gd name="T50" fmla="*/ 1536 w 1951"/>
              <a:gd name="T51" fmla="*/ 2342 h 3240"/>
              <a:gd name="T52" fmla="*/ 1692 w 1951"/>
              <a:gd name="T53" fmla="*/ 2342 h 3240"/>
              <a:gd name="T54" fmla="*/ 1951 w 1951"/>
              <a:gd name="T55" fmla="*/ 2601 h 3240"/>
              <a:gd name="T56" fmla="*/ 1951 w 1951"/>
              <a:gd name="T5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951" h="3240">
                <a:moveTo>
                  <a:pt x="1951" y="3240"/>
                </a:moveTo>
                <a:cubicBezTo>
                  <a:pt x="1911" y="3240"/>
                  <a:pt x="1911" y="3240"/>
                  <a:pt x="1911" y="3240"/>
                </a:cubicBezTo>
                <a:cubicBezTo>
                  <a:pt x="1911" y="2601"/>
                  <a:pt x="1911" y="2601"/>
                  <a:pt x="1911" y="2601"/>
                </a:cubicBezTo>
                <a:cubicBezTo>
                  <a:pt x="1911" y="2481"/>
                  <a:pt x="1813" y="2382"/>
                  <a:pt x="1692" y="2382"/>
                </a:cubicBezTo>
                <a:cubicBezTo>
                  <a:pt x="1536" y="2382"/>
                  <a:pt x="1536" y="2382"/>
                  <a:pt x="1536" y="2382"/>
                </a:cubicBezTo>
                <a:cubicBezTo>
                  <a:pt x="1415" y="2382"/>
                  <a:pt x="1317" y="2481"/>
                  <a:pt x="1317" y="2601"/>
                </a:cubicBezTo>
                <a:cubicBezTo>
                  <a:pt x="1317" y="2652"/>
                  <a:pt x="1317" y="2652"/>
                  <a:pt x="1317" y="2652"/>
                </a:cubicBezTo>
                <a:cubicBezTo>
                  <a:pt x="1317" y="2795"/>
                  <a:pt x="1201" y="2911"/>
                  <a:pt x="1059" y="2911"/>
                </a:cubicBezTo>
                <a:cubicBezTo>
                  <a:pt x="1031" y="2911"/>
                  <a:pt x="1031" y="2911"/>
                  <a:pt x="1031" y="2911"/>
                </a:cubicBezTo>
                <a:cubicBezTo>
                  <a:pt x="889" y="2911"/>
                  <a:pt x="773" y="2795"/>
                  <a:pt x="773" y="2652"/>
                </a:cubicBezTo>
                <a:cubicBezTo>
                  <a:pt x="773" y="1724"/>
                  <a:pt x="773" y="1724"/>
                  <a:pt x="773" y="1724"/>
                </a:cubicBezTo>
                <a:cubicBezTo>
                  <a:pt x="773" y="1603"/>
                  <a:pt x="675" y="1505"/>
                  <a:pt x="554" y="1505"/>
                </a:cubicBezTo>
                <a:cubicBezTo>
                  <a:pt x="259" y="1505"/>
                  <a:pt x="259" y="1505"/>
                  <a:pt x="259" y="1505"/>
                </a:cubicBezTo>
                <a:cubicBezTo>
                  <a:pt x="116" y="1505"/>
                  <a:pt x="0" y="1389"/>
                  <a:pt x="0" y="1246"/>
                </a:cubicBezTo>
                <a:cubicBezTo>
                  <a:pt x="0" y="0"/>
                  <a:pt x="0" y="0"/>
                  <a:pt x="0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40" y="1246"/>
                  <a:pt x="40" y="1246"/>
                  <a:pt x="40" y="1246"/>
                </a:cubicBezTo>
                <a:cubicBezTo>
                  <a:pt x="40" y="1367"/>
                  <a:pt x="138" y="1465"/>
                  <a:pt x="259" y="1465"/>
                </a:cubicBezTo>
                <a:cubicBezTo>
                  <a:pt x="554" y="1465"/>
                  <a:pt x="554" y="1465"/>
                  <a:pt x="554" y="1465"/>
                </a:cubicBezTo>
                <a:cubicBezTo>
                  <a:pt x="697" y="1465"/>
                  <a:pt x="813" y="1581"/>
                  <a:pt x="813" y="1724"/>
                </a:cubicBezTo>
                <a:cubicBezTo>
                  <a:pt x="813" y="2652"/>
                  <a:pt x="813" y="2652"/>
                  <a:pt x="813" y="2652"/>
                </a:cubicBezTo>
                <a:cubicBezTo>
                  <a:pt x="813" y="2773"/>
                  <a:pt x="911" y="2871"/>
                  <a:pt x="1031" y="2871"/>
                </a:cubicBezTo>
                <a:cubicBezTo>
                  <a:pt x="1059" y="2871"/>
                  <a:pt x="1059" y="2871"/>
                  <a:pt x="1059" y="2871"/>
                </a:cubicBezTo>
                <a:cubicBezTo>
                  <a:pt x="1179" y="2871"/>
                  <a:pt x="1277" y="2773"/>
                  <a:pt x="1277" y="2652"/>
                </a:cubicBezTo>
                <a:cubicBezTo>
                  <a:pt x="1277" y="2601"/>
                  <a:pt x="1277" y="2601"/>
                  <a:pt x="1277" y="2601"/>
                </a:cubicBezTo>
                <a:cubicBezTo>
                  <a:pt x="1277" y="2458"/>
                  <a:pt x="1393" y="2342"/>
                  <a:pt x="1536" y="2342"/>
                </a:cubicBezTo>
                <a:cubicBezTo>
                  <a:pt x="1692" y="2342"/>
                  <a:pt x="1692" y="2342"/>
                  <a:pt x="1692" y="2342"/>
                </a:cubicBezTo>
                <a:cubicBezTo>
                  <a:pt x="1835" y="2342"/>
                  <a:pt x="1951" y="2458"/>
                  <a:pt x="1951" y="2601"/>
                </a:cubicBezTo>
                <a:cubicBezTo>
                  <a:pt x="1951" y="3240"/>
                  <a:pt x="1951" y="3240"/>
                  <a:pt x="1951" y="3240"/>
                </a:cubicBez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7" name="Freeform 708">
            <a:extLst>
              <a:ext uri="{FF2B5EF4-FFF2-40B4-BE49-F238E27FC236}">
                <a16:creationId xmlns:a16="http://schemas.microsoft.com/office/drawing/2014/main" id="{C3019A91-291D-4115-9914-EE15E7ACA75F}"/>
              </a:ext>
            </a:extLst>
          </p:cNvPr>
          <p:cNvSpPr>
            <a:spLocks noEditPoints="1"/>
          </p:cNvSpPr>
          <p:nvPr/>
        </p:nvSpPr>
        <p:spPr bwMode="auto">
          <a:xfrm>
            <a:off x="9247998" y="1454221"/>
            <a:ext cx="2014844" cy="1685506"/>
          </a:xfrm>
          <a:custGeom>
            <a:avLst/>
            <a:gdLst>
              <a:gd name="T0" fmla="*/ 40 w 3876"/>
              <a:gd name="T1" fmla="*/ 3240 h 3240"/>
              <a:gd name="T2" fmla="*/ 0 w 3876"/>
              <a:gd name="T3" fmla="*/ 3240 h 3240"/>
              <a:gd name="T4" fmla="*/ 0 w 3876"/>
              <a:gd name="T5" fmla="*/ 2897 h 3240"/>
              <a:gd name="T6" fmla="*/ 258 w 3876"/>
              <a:gd name="T7" fmla="*/ 2639 h 3240"/>
              <a:gd name="T8" fmla="*/ 666 w 3876"/>
              <a:gd name="T9" fmla="*/ 2639 h 3240"/>
              <a:gd name="T10" fmla="*/ 789 w 3876"/>
              <a:gd name="T11" fmla="*/ 2516 h 3240"/>
              <a:gd name="T12" fmla="*/ 666 w 3876"/>
              <a:gd name="T13" fmla="*/ 2393 h 3240"/>
              <a:gd name="T14" fmla="*/ 258 w 3876"/>
              <a:gd name="T15" fmla="*/ 2393 h 3240"/>
              <a:gd name="T16" fmla="*/ 0 w 3876"/>
              <a:gd name="T17" fmla="*/ 2134 h 3240"/>
              <a:gd name="T18" fmla="*/ 0 w 3876"/>
              <a:gd name="T19" fmla="*/ 2120 h 3240"/>
              <a:gd name="T20" fmla="*/ 258 w 3876"/>
              <a:gd name="T21" fmla="*/ 1861 h 3240"/>
              <a:gd name="T22" fmla="*/ 860 w 3876"/>
              <a:gd name="T23" fmla="*/ 1861 h 3240"/>
              <a:gd name="T24" fmla="*/ 1119 w 3876"/>
              <a:gd name="T25" fmla="*/ 2120 h 3240"/>
              <a:gd name="T26" fmla="*/ 1119 w 3876"/>
              <a:gd name="T27" fmla="*/ 2258 h 3240"/>
              <a:gd name="T28" fmla="*/ 1214 w 3876"/>
              <a:gd name="T29" fmla="*/ 2353 h 3240"/>
              <a:gd name="T30" fmla="*/ 1308 w 3876"/>
              <a:gd name="T31" fmla="*/ 2258 h 3240"/>
              <a:gd name="T32" fmla="*/ 1308 w 3876"/>
              <a:gd name="T33" fmla="*/ 1375 h 3240"/>
              <a:gd name="T34" fmla="*/ 1567 w 3876"/>
              <a:gd name="T35" fmla="*/ 1116 h 3240"/>
              <a:gd name="T36" fmla="*/ 3473 w 3876"/>
              <a:gd name="T37" fmla="*/ 1116 h 3240"/>
              <a:gd name="T38" fmla="*/ 3473 w 3876"/>
              <a:gd name="T39" fmla="*/ 0 h 3240"/>
              <a:gd name="T40" fmla="*/ 3513 w 3876"/>
              <a:gd name="T41" fmla="*/ 0 h 3240"/>
              <a:gd name="T42" fmla="*/ 3513 w 3876"/>
              <a:gd name="T43" fmla="*/ 1116 h 3240"/>
              <a:gd name="T44" fmla="*/ 3706 w 3876"/>
              <a:gd name="T45" fmla="*/ 1116 h 3240"/>
              <a:gd name="T46" fmla="*/ 3876 w 3876"/>
              <a:gd name="T47" fmla="*/ 1286 h 3240"/>
              <a:gd name="T48" fmla="*/ 3706 w 3876"/>
              <a:gd name="T49" fmla="*/ 1456 h 3240"/>
              <a:gd name="T50" fmla="*/ 3473 w 3876"/>
              <a:gd name="T51" fmla="*/ 1223 h 3240"/>
              <a:gd name="T52" fmla="*/ 3473 w 3876"/>
              <a:gd name="T53" fmla="*/ 1156 h 3240"/>
              <a:gd name="T54" fmla="*/ 1567 w 3876"/>
              <a:gd name="T55" fmla="*/ 1156 h 3240"/>
              <a:gd name="T56" fmla="*/ 1348 w 3876"/>
              <a:gd name="T57" fmla="*/ 1375 h 3240"/>
              <a:gd name="T58" fmla="*/ 1348 w 3876"/>
              <a:gd name="T59" fmla="*/ 2258 h 3240"/>
              <a:gd name="T60" fmla="*/ 1214 w 3876"/>
              <a:gd name="T61" fmla="*/ 2393 h 3240"/>
              <a:gd name="T62" fmla="*/ 1079 w 3876"/>
              <a:gd name="T63" fmla="*/ 2258 h 3240"/>
              <a:gd name="T64" fmla="*/ 1079 w 3876"/>
              <a:gd name="T65" fmla="*/ 2120 h 3240"/>
              <a:gd name="T66" fmla="*/ 860 w 3876"/>
              <a:gd name="T67" fmla="*/ 1901 h 3240"/>
              <a:gd name="T68" fmla="*/ 258 w 3876"/>
              <a:gd name="T69" fmla="*/ 1901 h 3240"/>
              <a:gd name="T70" fmla="*/ 40 w 3876"/>
              <a:gd name="T71" fmla="*/ 2120 h 3240"/>
              <a:gd name="T72" fmla="*/ 40 w 3876"/>
              <a:gd name="T73" fmla="*/ 2134 h 3240"/>
              <a:gd name="T74" fmla="*/ 258 w 3876"/>
              <a:gd name="T75" fmla="*/ 2353 h 3240"/>
              <a:gd name="T76" fmla="*/ 666 w 3876"/>
              <a:gd name="T77" fmla="*/ 2353 h 3240"/>
              <a:gd name="T78" fmla="*/ 829 w 3876"/>
              <a:gd name="T79" fmla="*/ 2516 h 3240"/>
              <a:gd name="T80" fmla="*/ 666 w 3876"/>
              <a:gd name="T81" fmla="*/ 2679 h 3240"/>
              <a:gd name="T82" fmla="*/ 258 w 3876"/>
              <a:gd name="T83" fmla="*/ 2679 h 3240"/>
              <a:gd name="T84" fmla="*/ 40 w 3876"/>
              <a:gd name="T85" fmla="*/ 2897 h 3240"/>
              <a:gd name="T86" fmla="*/ 40 w 3876"/>
              <a:gd name="T87" fmla="*/ 3240 h 3240"/>
              <a:gd name="T88" fmla="*/ 3513 w 3876"/>
              <a:gd name="T89" fmla="*/ 1156 h 3240"/>
              <a:gd name="T90" fmla="*/ 3513 w 3876"/>
              <a:gd name="T91" fmla="*/ 1223 h 3240"/>
              <a:gd name="T92" fmla="*/ 3706 w 3876"/>
              <a:gd name="T93" fmla="*/ 1416 h 3240"/>
              <a:gd name="T94" fmla="*/ 3836 w 3876"/>
              <a:gd name="T95" fmla="*/ 1286 h 3240"/>
              <a:gd name="T96" fmla="*/ 3706 w 3876"/>
              <a:gd name="T97" fmla="*/ 1156 h 3240"/>
              <a:gd name="T98" fmla="*/ 3513 w 3876"/>
              <a:gd name="T99" fmla="*/ 1156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876" h="3240">
                <a:moveTo>
                  <a:pt x="40" y="3240"/>
                </a:moveTo>
                <a:cubicBezTo>
                  <a:pt x="0" y="3240"/>
                  <a:pt x="0" y="3240"/>
                  <a:pt x="0" y="3240"/>
                </a:cubicBezTo>
                <a:cubicBezTo>
                  <a:pt x="0" y="2897"/>
                  <a:pt x="0" y="2897"/>
                  <a:pt x="0" y="2897"/>
                </a:cubicBezTo>
                <a:cubicBezTo>
                  <a:pt x="0" y="2755"/>
                  <a:pt x="115" y="2639"/>
                  <a:pt x="258" y="2639"/>
                </a:cubicBezTo>
                <a:cubicBezTo>
                  <a:pt x="666" y="2639"/>
                  <a:pt x="666" y="2639"/>
                  <a:pt x="666" y="2639"/>
                </a:cubicBezTo>
                <a:cubicBezTo>
                  <a:pt x="734" y="2639"/>
                  <a:pt x="789" y="2584"/>
                  <a:pt x="789" y="2516"/>
                </a:cubicBezTo>
                <a:cubicBezTo>
                  <a:pt x="789" y="2448"/>
                  <a:pt x="734" y="2393"/>
                  <a:pt x="666" y="2393"/>
                </a:cubicBezTo>
                <a:cubicBezTo>
                  <a:pt x="258" y="2393"/>
                  <a:pt x="258" y="2393"/>
                  <a:pt x="258" y="2393"/>
                </a:cubicBezTo>
                <a:cubicBezTo>
                  <a:pt x="115" y="2393"/>
                  <a:pt x="0" y="2277"/>
                  <a:pt x="0" y="2134"/>
                </a:cubicBezTo>
                <a:cubicBezTo>
                  <a:pt x="0" y="2120"/>
                  <a:pt x="0" y="2120"/>
                  <a:pt x="0" y="2120"/>
                </a:cubicBezTo>
                <a:cubicBezTo>
                  <a:pt x="0" y="1977"/>
                  <a:pt x="115" y="1861"/>
                  <a:pt x="258" y="1861"/>
                </a:cubicBezTo>
                <a:cubicBezTo>
                  <a:pt x="860" y="1861"/>
                  <a:pt x="860" y="1861"/>
                  <a:pt x="860" y="1861"/>
                </a:cubicBezTo>
                <a:cubicBezTo>
                  <a:pt x="1003" y="1861"/>
                  <a:pt x="1119" y="1977"/>
                  <a:pt x="1119" y="2120"/>
                </a:cubicBezTo>
                <a:cubicBezTo>
                  <a:pt x="1119" y="2258"/>
                  <a:pt x="1119" y="2258"/>
                  <a:pt x="1119" y="2258"/>
                </a:cubicBezTo>
                <a:cubicBezTo>
                  <a:pt x="1119" y="2310"/>
                  <a:pt x="1161" y="2353"/>
                  <a:pt x="1214" y="2353"/>
                </a:cubicBezTo>
                <a:cubicBezTo>
                  <a:pt x="1266" y="2353"/>
                  <a:pt x="1308" y="2310"/>
                  <a:pt x="1308" y="2258"/>
                </a:cubicBezTo>
                <a:cubicBezTo>
                  <a:pt x="1308" y="1375"/>
                  <a:pt x="1308" y="1375"/>
                  <a:pt x="1308" y="1375"/>
                </a:cubicBezTo>
                <a:cubicBezTo>
                  <a:pt x="1308" y="1232"/>
                  <a:pt x="1424" y="1116"/>
                  <a:pt x="1567" y="1116"/>
                </a:cubicBezTo>
                <a:cubicBezTo>
                  <a:pt x="3473" y="1116"/>
                  <a:pt x="3473" y="1116"/>
                  <a:pt x="3473" y="1116"/>
                </a:cubicBezTo>
                <a:cubicBezTo>
                  <a:pt x="3473" y="0"/>
                  <a:pt x="3473" y="0"/>
                  <a:pt x="3473" y="0"/>
                </a:cubicBezTo>
                <a:cubicBezTo>
                  <a:pt x="3513" y="0"/>
                  <a:pt x="3513" y="0"/>
                  <a:pt x="3513" y="0"/>
                </a:cubicBezTo>
                <a:cubicBezTo>
                  <a:pt x="3513" y="1116"/>
                  <a:pt x="3513" y="1116"/>
                  <a:pt x="3513" y="1116"/>
                </a:cubicBezTo>
                <a:cubicBezTo>
                  <a:pt x="3706" y="1116"/>
                  <a:pt x="3706" y="1116"/>
                  <a:pt x="3706" y="1116"/>
                </a:cubicBezTo>
                <a:cubicBezTo>
                  <a:pt x="3800" y="1116"/>
                  <a:pt x="3876" y="1192"/>
                  <a:pt x="3876" y="1286"/>
                </a:cubicBezTo>
                <a:cubicBezTo>
                  <a:pt x="3876" y="1380"/>
                  <a:pt x="3800" y="1456"/>
                  <a:pt x="3706" y="1456"/>
                </a:cubicBezTo>
                <a:cubicBezTo>
                  <a:pt x="3578" y="1456"/>
                  <a:pt x="3473" y="1351"/>
                  <a:pt x="3473" y="1223"/>
                </a:cubicBezTo>
                <a:cubicBezTo>
                  <a:pt x="3473" y="1156"/>
                  <a:pt x="3473" y="1156"/>
                  <a:pt x="3473" y="1156"/>
                </a:cubicBezTo>
                <a:cubicBezTo>
                  <a:pt x="1567" y="1156"/>
                  <a:pt x="1567" y="1156"/>
                  <a:pt x="1567" y="1156"/>
                </a:cubicBezTo>
                <a:cubicBezTo>
                  <a:pt x="1446" y="1156"/>
                  <a:pt x="1348" y="1254"/>
                  <a:pt x="1348" y="1375"/>
                </a:cubicBezTo>
                <a:cubicBezTo>
                  <a:pt x="1348" y="2258"/>
                  <a:pt x="1348" y="2258"/>
                  <a:pt x="1348" y="2258"/>
                </a:cubicBezTo>
                <a:cubicBezTo>
                  <a:pt x="1348" y="2332"/>
                  <a:pt x="1288" y="2393"/>
                  <a:pt x="1214" y="2393"/>
                </a:cubicBezTo>
                <a:cubicBezTo>
                  <a:pt x="1139" y="2393"/>
                  <a:pt x="1079" y="2332"/>
                  <a:pt x="1079" y="2258"/>
                </a:cubicBezTo>
                <a:cubicBezTo>
                  <a:pt x="1079" y="2120"/>
                  <a:pt x="1079" y="2120"/>
                  <a:pt x="1079" y="2120"/>
                </a:cubicBezTo>
                <a:cubicBezTo>
                  <a:pt x="1079" y="1999"/>
                  <a:pt x="981" y="1901"/>
                  <a:pt x="860" y="1901"/>
                </a:cubicBezTo>
                <a:cubicBezTo>
                  <a:pt x="258" y="1901"/>
                  <a:pt x="258" y="1901"/>
                  <a:pt x="258" y="1901"/>
                </a:cubicBezTo>
                <a:cubicBezTo>
                  <a:pt x="138" y="1901"/>
                  <a:pt x="40" y="1999"/>
                  <a:pt x="40" y="2120"/>
                </a:cubicBezTo>
                <a:cubicBezTo>
                  <a:pt x="40" y="2134"/>
                  <a:pt x="40" y="2134"/>
                  <a:pt x="40" y="2134"/>
                </a:cubicBezTo>
                <a:cubicBezTo>
                  <a:pt x="40" y="2255"/>
                  <a:pt x="138" y="2353"/>
                  <a:pt x="258" y="2353"/>
                </a:cubicBezTo>
                <a:cubicBezTo>
                  <a:pt x="666" y="2353"/>
                  <a:pt x="666" y="2353"/>
                  <a:pt x="666" y="2353"/>
                </a:cubicBezTo>
                <a:cubicBezTo>
                  <a:pt x="756" y="2353"/>
                  <a:pt x="829" y="2426"/>
                  <a:pt x="829" y="2516"/>
                </a:cubicBezTo>
                <a:cubicBezTo>
                  <a:pt x="829" y="2606"/>
                  <a:pt x="756" y="2679"/>
                  <a:pt x="666" y="2679"/>
                </a:cubicBezTo>
                <a:cubicBezTo>
                  <a:pt x="258" y="2679"/>
                  <a:pt x="258" y="2679"/>
                  <a:pt x="258" y="2679"/>
                </a:cubicBezTo>
                <a:cubicBezTo>
                  <a:pt x="138" y="2679"/>
                  <a:pt x="40" y="2777"/>
                  <a:pt x="40" y="2897"/>
                </a:cubicBezTo>
                <a:cubicBezTo>
                  <a:pt x="40" y="3240"/>
                  <a:pt x="40" y="3240"/>
                  <a:pt x="40" y="3240"/>
                </a:cubicBezTo>
                <a:close/>
                <a:moveTo>
                  <a:pt x="3513" y="1156"/>
                </a:moveTo>
                <a:cubicBezTo>
                  <a:pt x="3513" y="1223"/>
                  <a:pt x="3513" y="1223"/>
                  <a:pt x="3513" y="1223"/>
                </a:cubicBezTo>
                <a:cubicBezTo>
                  <a:pt x="3513" y="1329"/>
                  <a:pt x="3600" y="1416"/>
                  <a:pt x="3706" y="1416"/>
                </a:cubicBezTo>
                <a:cubicBezTo>
                  <a:pt x="3778" y="1416"/>
                  <a:pt x="3836" y="1358"/>
                  <a:pt x="3836" y="1286"/>
                </a:cubicBezTo>
                <a:cubicBezTo>
                  <a:pt x="3836" y="1215"/>
                  <a:pt x="3778" y="1156"/>
                  <a:pt x="3706" y="1156"/>
                </a:cubicBezTo>
                <a:cubicBezTo>
                  <a:pt x="3513" y="1156"/>
                  <a:pt x="3513" y="1156"/>
                  <a:pt x="3513" y="115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8" name="Freeform 709">
            <a:extLst>
              <a:ext uri="{FF2B5EF4-FFF2-40B4-BE49-F238E27FC236}">
                <a16:creationId xmlns:a16="http://schemas.microsoft.com/office/drawing/2014/main" id="{A3CFA30A-9FE4-4C6A-85C6-7618A89DA3F3}"/>
              </a:ext>
            </a:extLst>
          </p:cNvPr>
          <p:cNvSpPr>
            <a:spLocks/>
          </p:cNvSpPr>
          <p:nvPr/>
        </p:nvSpPr>
        <p:spPr bwMode="auto">
          <a:xfrm>
            <a:off x="7832974" y="1454221"/>
            <a:ext cx="1713056" cy="1685506"/>
          </a:xfrm>
          <a:custGeom>
            <a:avLst/>
            <a:gdLst>
              <a:gd name="T0" fmla="*/ 3009 w 3297"/>
              <a:gd name="T1" fmla="*/ 3240 h 3240"/>
              <a:gd name="T2" fmla="*/ 2969 w 3297"/>
              <a:gd name="T3" fmla="*/ 3240 h 3240"/>
              <a:gd name="T4" fmla="*/ 2969 w 3297"/>
              <a:gd name="T5" fmla="*/ 2291 h 3240"/>
              <a:gd name="T6" fmla="*/ 3133 w 3297"/>
              <a:gd name="T7" fmla="*/ 2128 h 3240"/>
              <a:gd name="T8" fmla="*/ 3257 w 3297"/>
              <a:gd name="T9" fmla="*/ 2004 h 3240"/>
              <a:gd name="T10" fmla="*/ 3257 w 3297"/>
              <a:gd name="T11" fmla="*/ 1631 h 3240"/>
              <a:gd name="T12" fmla="*/ 3038 w 3297"/>
              <a:gd name="T13" fmla="*/ 1413 h 3240"/>
              <a:gd name="T14" fmla="*/ 2384 w 3297"/>
              <a:gd name="T15" fmla="*/ 1413 h 3240"/>
              <a:gd name="T16" fmla="*/ 2126 w 3297"/>
              <a:gd name="T17" fmla="*/ 1154 h 3240"/>
              <a:gd name="T18" fmla="*/ 2126 w 3297"/>
              <a:gd name="T19" fmla="*/ 947 h 3240"/>
              <a:gd name="T20" fmla="*/ 1907 w 3297"/>
              <a:gd name="T21" fmla="*/ 729 h 3240"/>
              <a:gd name="T22" fmla="*/ 259 w 3297"/>
              <a:gd name="T23" fmla="*/ 729 h 3240"/>
              <a:gd name="T24" fmla="*/ 0 w 3297"/>
              <a:gd name="T25" fmla="*/ 470 h 3240"/>
              <a:gd name="T26" fmla="*/ 0 w 3297"/>
              <a:gd name="T27" fmla="*/ 0 h 3240"/>
              <a:gd name="T28" fmla="*/ 40 w 3297"/>
              <a:gd name="T29" fmla="*/ 0 h 3240"/>
              <a:gd name="T30" fmla="*/ 40 w 3297"/>
              <a:gd name="T31" fmla="*/ 470 h 3240"/>
              <a:gd name="T32" fmla="*/ 259 w 3297"/>
              <a:gd name="T33" fmla="*/ 689 h 3240"/>
              <a:gd name="T34" fmla="*/ 1907 w 3297"/>
              <a:gd name="T35" fmla="*/ 689 h 3240"/>
              <a:gd name="T36" fmla="*/ 2166 w 3297"/>
              <a:gd name="T37" fmla="*/ 947 h 3240"/>
              <a:gd name="T38" fmla="*/ 2166 w 3297"/>
              <a:gd name="T39" fmla="*/ 1154 h 3240"/>
              <a:gd name="T40" fmla="*/ 2384 w 3297"/>
              <a:gd name="T41" fmla="*/ 1373 h 3240"/>
              <a:gd name="T42" fmla="*/ 3038 w 3297"/>
              <a:gd name="T43" fmla="*/ 1373 h 3240"/>
              <a:gd name="T44" fmla="*/ 3297 w 3297"/>
              <a:gd name="T45" fmla="*/ 1631 h 3240"/>
              <a:gd name="T46" fmla="*/ 3297 w 3297"/>
              <a:gd name="T47" fmla="*/ 2004 h 3240"/>
              <a:gd name="T48" fmla="*/ 3133 w 3297"/>
              <a:gd name="T49" fmla="*/ 2168 h 3240"/>
              <a:gd name="T50" fmla="*/ 3009 w 3297"/>
              <a:gd name="T51" fmla="*/ 2291 h 3240"/>
              <a:gd name="T52" fmla="*/ 3009 w 3297"/>
              <a:gd name="T53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297" h="3240">
                <a:moveTo>
                  <a:pt x="3009" y="3240"/>
                </a:moveTo>
                <a:cubicBezTo>
                  <a:pt x="2969" y="3240"/>
                  <a:pt x="2969" y="3240"/>
                  <a:pt x="2969" y="3240"/>
                </a:cubicBezTo>
                <a:cubicBezTo>
                  <a:pt x="2969" y="2291"/>
                  <a:pt x="2969" y="2291"/>
                  <a:pt x="2969" y="2291"/>
                </a:cubicBezTo>
                <a:cubicBezTo>
                  <a:pt x="2969" y="2201"/>
                  <a:pt x="3043" y="2128"/>
                  <a:pt x="3133" y="2128"/>
                </a:cubicBezTo>
                <a:cubicBezTo>
                  <a:pt x="3201" y="2128"/>
                  <a:pt x="3257" y="2072"/>
                  <a:pt x="3257" y="2004"/>
                </a:cubicBezTo>
                <a:cubicBezTo>
                  <a:pt x="3257" y="1631"/>
                  <a:pt x="3257" y="1631"/>
                  <a:pt x="3257" y="1631"/>
                </a:cubicBezTo>
                <a:cubicBezTo>
                  <a:pt x="3257" y="1511"/>
                  <a:pt x="3159" y="1413"/>
                  <a:pt x="3038" y="1413"/>
                </a:cubicBezTo>
                <a:cubicBezTo>
                  <a:pt x="2384" y="1413"/>
                  <a:pt x="2384" y="1413"/>
                  <a:pt x="2384" y="1413"/>
                </a:cubicBezTo>
                <a:cubicBezTo>
                  <a:pt x="2242" y="1413"/>
                  <a:pt x="2126" y="1297"/>
                  <a:pt x="2126" y="1154"/>
                </a:cubicBezTo>
                <a:cubicBezTo>
                  <a:pt x="2126" y="947"/>
                  <a:pt x="2126" y="947"/>
                  <a:pt x="2126" y="947"/>
                </a:cubicBezTo>
                <a:cubicBezTo>
                  <a:pt x="2126" y="827"/>
                  <a:pt x="2028" y="729"/>
                  <a:pt x="1907" y="729"/>
                </a:cubicBezTo>
                <a:cubicBezTo>
                  <a:pt x="259" y="729"/>
                  <a:pt x="259" y="729"/>
                  <a:pt x="259" y="729"/>
                </a:cubicBezTo>
                <a:cubicBezTo>
                  <a:pt x="116" y="729"/>
                  <a:pt x="0" y="613"/>
                  <a:pt x="0" y="470"/>
                </a:cubicBezTo>
                <a:cubicBezTo>
                  <a:pt x="0" y="0"/>
                  <a:pt x="0" y="0"/>
                  <a:pt x="0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40" y="470"/>
                  <a:pt x="40" y="470"/>
                  <a:pt x="40" y="470"/>
                </a:cubicBezTo>
                <a:cubicBezTo>
                  <a:pt x="40" y="591"/>
                  <a:pt x="138" y="689"/>
                  <a:pt x="259" y="689"/>
                </a:cubicBezTo>
                <a:cubicBezTo>
                  <a:pt x="1907" y="689"/>
                  <a:pt x="1907" y="689"/>
                  <a:pt x="1907" y="689"/>
                </a:cubicBezTo>
                <a:cubicBezTo>
                  <a:pt x="2050" y="689"/>
                  <a:pt x="2166" y="805"/>
                  <a:pt x="2166" y="947"/>
                </a:cubicBezTo>
                <a:cubicBezTo>
                  <a:pt x="2166" y="1154"/>
                  <a:pt x="2166" y="1154"/>
                  <a:pt x="2166" y="1154"/>
                </a:cubicBezTo>
                <a:cubicBezTo>
                  <a:pt x="2166" y="1275"/>
                  <a:pt x="2264" y="1373"/>
                  <a:pt x="2384" y="1373"/>
                </a:cubicBezTo>
                <a:cubicBezTo>
                  <a:pt x="3038" y="1373"/>
                  <a:pt x="3038" y="1373"/>
                  <a:pt x="3038" y="1373"/>
                </a:cubicBezTo>
                <a:cubicBezTo>
                  <a:pt x="3181" y="1373"/>
                  <a:pt x="3297" y="1489"/>
                  <a:pt x="3297" y="1631"/>
                </a:cubicBezTo>
                <a:cubicBezTo>
                  <a:pt x="3297" y="2004"/>
                  <a:pt x="3297" y="2004"/>
                  <a:pt x="3297" y="2004"/>
                </a:cubicBezTo>
                <a:cubicBezTo>
                  <a:pt x="3297" y="2094"/>
                  <a:pt x="3223" y="2168"/>
                  <a:pt x="3133" y="2168"/>
                </a:cubicBezTo>
                <a:cubicBezTo>
                  <a:pt x="3065" y="2168"/>
                  <a:pt x="3009" y="2223"/>
                  <a:pt x="3009" y="2291"/>
                </a:cubicBezTo>
                <a:cubicBezTo>
                  <a:pt x="3009" y="3240"/>
                  <a:pt x="3009" y="3240"/>
                  <a:pt x="3009" y="32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9" name="Freeform 710">
            <a:extLst>
              <a:ext uri="{FF2B5EF4-FFF2-40B4-BE49-F238E27FC236}">
                <a16:creationId xmlns:a16="http://schemas.microsoft.com/office/drawing/2014/main" id="{D6617652-EA41-40C3-B3D3-512FB99761EE}"/>
              </a:ext>
            </a:extLst>
          </p:cNvPr>
          <p:cNvSpPr>
            <a:spLocks/>
          </p:cNvSpPr>
          <p:nvPr/>
        </p:nvSpPr>
        <p:spPr bwMode="auto">
          <a:xfrm>
            <a:off x="10363738" y="4037579"/>
            <a:ext cx="366905" cy="758854"/>
          </a:xfrm>
          <a:custGeom>
            <a:avLst/>
            <a:gdLst>
              <a:gd name="T0" fmla="*/ 599 w 706"/>
              <a:gd name="T1" fmla="*/ 1459 h 1459"/>
              <a:gd name="T2" fmla="*/ 418 w 706"/>
              <a:gd name="T3" fmla="*/ 1459 h 1459"/>
              <a:gd name="T4" fmla="*/ 310 w 706"/>
              <a:gd name="T5" fmla="*/ 1351 h 1459"/>
              <a:gd name="T6" fmla="*/ 310 w 706"/>
              <a:gd name="T7" fmla="*/ 912 h 1459"/>
              <a:gd name="T8" fmla="*/ 0 w 706"/>
              <a:gd name="T9" fmla="*/ 912 h 1459"/>
              <a:gd name="T10" fmla="*/ 0 w 706"/>
              <a:gd name="T11" fmla="*/ 792 h 1459"/>
              <a:gd name="T12" fmla="*/ 322 w 706"/>
              <a:gd name="T13" fmla="*/ 792 h 1459"/>
              <a:gd name="T14" fmla="*/ 430 w 706"/>
              <a:gd name="T15" fmla="*/ 900 h 1459"/>
              <a:gd name="T16" fmla="*/ 430 w 706"/>
              <a:gd name="T17" fmla="*/ 1339 h 1459"/>
              <a:gd name="T18" fmla="*/ 586 w 706"/>
              <a:gd name="T19" fmla="*/ 1339 h 1459"/>
              <a:gd name="T20" fmla="*/ 586 w 706"/>
              <a:gd name="T21" fmla="*/ 0 h 1459"/>
              <a:gd name="T22" fmla="*/ 706 w 706"/>
              <a:gd name="T23" fmla="*/ 0 h 1459"/>
              <a:gd name="T24" fmla="*/ 706 w 706"/>
              <a:gd name="T25" fmla="*/ 1351 h 1459"/>
              <a:gd name="T26" fmla="*/ 599 w 706"/>
              <a:gd name="T27" fmla="*/ 1459 h 1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06" h="1459">
                <a:moveTo>
                  <a:pt x="599" y="1459"/>
                </a:moveTo>
                <a:cubicBezTo>
                  <a:pt x="418" y="1459"/>
                  <a:pt x="418" y="1459"/>
                  <a:pt x="418" y="1459"/>
                </a:cubicBezTo>
                <a:cubicBezTo>
                  <a:pt x="358" y="1459"/>
                  <a:pt x="310" y="1411"/>
                  <a:pt x="310" y="1351"/>
                </a:cubicBezTo>
                <a:cubicBezTo>
                  <a:pt x="310" y="912"/>
                  <a:pt x="310" y="912"/>
                  <a:pt x="310" y="912"/>
                </a:cubicBezTo>
                <a:cubicBezTo>
                  <a:pt x="0" y="912"/>
                  <a:pt x="0" y="912"/>
                  <a:pt x="0" y="912"/>
                </a:cubicBezTo>
                <a:cubicBezTo>
                  <a:pt x="0" y="792"/>
                  <a:pt x="0" y="792"/>
                  <a:pt x="0" y="792"/>
                </a:cubicBezTo>
                <a:cubicBezTo>
                  <a:pt x="322" y="792"/>
                  <a:pt x="322" y="792"/>
                  <a:pt x="322" y="792"/>
                </a:cubicBezTo>
                <a:cubicBezTo>
                  <a:pt x="382" y="792"/>
                  <a:pt x="430" y="840"/>
                  <a:pt x="430" y="900"/>
                </a:cubicBezTo>
                <a:cubicBezTo>
                  <a:pt x="430" y="1339"/>
                  <a:pt x="430" y="1339"/>
                  <a:pt x="430" y="1339"/>
                </a:cubicBezTo>
                <a:cubicBezTo>
                  <a:pt x="586" y="1339"/>
                  <a:pt x="586" y="1339"/>
                  <a:pt x="586" y="1339"/>
                </a:cubicBezTo>
                <a:cubicBezTo>
                  <a:pt x="586" y="0"/>
                  <a:pt x="586" y="0"/>
                  <a:pt x="586" y="0"/>
                </a:cubicBezTo>
                <a:cubicBezTo>
                  <a:pt x="706" y="0"/>
                  <a:pt x="706" y="0"/>
                  <a:pt x="706" y="0"/>
                </a:cubicBezTo>
                <a:cubicBezTo>
                  <a:pt x="706" y="1351"/>
                  <a:pt x="706" y="1351"/>
                  <a:pt x="706" y="1351"/>
                </a:cubicBezTo>
                <a:cubicBezTo>
                  <a:pt x="706" y="1411"/>
                  <a:pt x="658" y="1459"/>
                  <a:pt x="599" y="145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0" name="Oval 711">
            <a:extLst>
              <a:ext uri="{FF2B5EF4-FFF2-40B4-BE49-F238E27FC236}">
                <a16:creationId xmlns:a16="http://schemas.microsoft.com/office/drawing/2014/main" id="{DCD09AB5-32D1-4478-9A6B-1D1ED45103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85384" y="4190352"/>
            <a:ext cx="217889" cy="217889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1" name="Oval 712">
            <a:extLst>
              <a:ext uri="{FF2B5EF4-FFF2-40B4-BE49-F238E27FC236}">
                <a16:creationId xmlns:a16="http://schemas.microsoft.com/office/drawing/2014/main" id="{CDAE50ED-13C6-40AB-9CE4-2B00977BE6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00411" y="4205379"/>
            <a:ext cx="187835" cy="189088"/>
          </a:xfrm>
          <a:prstGeom prst="ellipse">
            <a:avLst/>
          </a:pr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2" name="Freeform 713">
            <a:extLst>
              <a:ext uri="{FF2B5EF4-FFF2-40B4-BE49-F238E27FC236}">
                <a16:creationId xmlns:a16="http://schemas.microsoft.com/office/drawing/2014/main" id="{FE302753-BAE1-4F80-B87D-7CBC1520E03E}"/>
              </a:ext>
            </a:extLst>
          </p:cNvPr>
          <p:cNvSpPr>
            <a:spLocks/>
          </p:cNvSpPr>
          <p:nvPr/>
        </p:nvSpPr>
        <p:spPr bwMode="auto">
          <a:xfrm>
            <a:off x="10647995" y="4252964"/>
            <a:ext cx="48838" cy="48838"/>
          </a:xfrm>
          <a:custGeom>
            <a:avLst/>
            <a:gdLst>
              <a:gd name="T0" fmla="*/ 35 w 39"/>
              <a:gd name="T1" fmla="*/ 39 h 39"/>
              <a:gd name="T2" fmla="*/ 0 w 39"/>
              <a:gd name="T3" fmla="*/ 0 h 39"/>
              <a:gd name="T4" fmla="*/ 39 w 39"/>
              <a:gd name="T5" fmla="*/ 35 h 39"/>
              <a:gd name="T6" fmla="*/ 35 w 39"/>
              <a:gd name="T7" fmla="*/ 39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9" h="39">
                <a:moveTo>
                  <a:pt x="35" y="39"/>
                </a:moveTo>
                <a:lnTo>
                  <a:pt x="0" y="0"/>
                </a:lnTo>
                <a:lnTo>
                  <a:pt x="39" y="35"/>
                </a:lnTo>
                <a:lnTo>
                  <a:pt x="35" y="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3" name="Freeform 714">
            <a:extLst>
              <a:ext uri="{FF2B5EF4-FFF2-40B4-BE49-F238E27FC236}">
                <a16:creationId xmlns:a16="http://schemas.microsoft.com/office/drawing/2014/main" id="{9A4A5920-73B8-4439-80ED-06C6F28B2B79}"/>
              </a:ext>
            </a:extLst>
          </p:cNvPr>
          <p:cNvSpPr>
            <a:spLocks/>
          </p:cNvSpPr>
          <p:nvPr/>
        </p:nvSpPr>
        <p:spPr bwMode="auto">
          <a:xfrm>
            <a:off x="10684310" y="4289278"/>
            <a:ext cx="20036" cy="21288"/>
          </a:xfrm>
          <a:custGeom>
            <a:avLst/>
            <a:gdLst>
              <a:gd name="T0" fmla="*/ 32 w 39"/>
              <a:gd name="T1" fmla="*/ 7 h 40"/>
              <a:gd name="T2" fmla="*/ 32 w 39"/>
              <a:gd name="T3" fmla="*/ 33 h 40"/>
              <a:gd name="T4" fmla="*/ 7 w 39"/>
              <a:gd name="T5" fmla="*/ 33 h 40"/>
              <a:gd name="T6" fmla="*/ 7 w 39"/>
              <a:gd name="T7" fmla="*/ 7 h 40"/>
              <a:gd name="T8" fmla="*/ 32 w 39"/>
              <a:gd name="T9" fmla="*/ 7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" h="40">
                <a:moveTo>
                  <a:pt x="32" y="7"/>
                </a:moveTo>
                <a:cubicBezTo>
                  <a:pt x="39" y="14"/>
                  <a:pt x="39" y="26"/>
                  <a:pt x="32" y="33"/>
                </a:cubicBezTo>
                <a:cubicBezTo>
                  <a:pt x="25" y="40"/>
                  <a:pt x="14" y="40"/>
                  <a:pt x="7" y="33"/>
                </a:cubicBezTo>
                <a:cubicBezTo>
                  <a:pt x="0" y="26"/>
                  <a:pt x="0" y="14"/>
                  <a:pt x="7" y="7"/>
                </a:cubicBezTo>
                <a:cubicBezTo>
                  <a:pt x="14" y="0"/>
                  <a:pt x="25" y="0"/>
                  <a:pt x="32" y="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4" name="Freeform 715">
            <a:extLst>
              <a:ext uri="{FF2B5EF4-FFF2-40B4-BE49-F238E27FC236}">
                <a16:creationId xmlns:a16="http://schemas.microsoft.com/office/drawing/2014/main" id="{A36B170E-A7A2-4FD7-808E-860C43C7F965}"/>
              </a:ext>
            </a:extLst>
          </p:cNvPr>
          <p:cNvSpPr>
            <a:spLocks/>
          </p:cNvSpPr>
          <p:nvPr/>
        </p:nvSpPr>
        <p:spPr bwMode="auto">
          <a:xfrm>
            <a:off x="10693076" y="4210388"/>
            <a:ext cx="3757" cy="10018"/>
          </a:xfrm>
          <a:custGeom>
            <a:avLst/>
            <a:gdLst>
              <a:gd name="T0" fmla="*/ 3 w 3"/>
              <a:gd name="T1" fmla="*/ 8 h 8"/>
              <a:gd name="T2" fmla="*/ 0 w 3"/>
              <a:gd name="T3" fmla="*/ 8 h 8"/>
              <a:gd name="T4" fmla="*/ 0 w 3"/>
              <a:gd name="T5" fmla="*/ 0 h 8"/>
              <a:gd name="T6" fmla="*/ 3 w 3"/>
              <a:gd name="T7" fmla="*/ 0 h 8"/>
              <a:gd name="T8" fmla="*/ 3 w 3"/>
              <a:gd name="T9" fmla="*/ 8 h 8"/>
              <a:gd name="T10" fmla="*/ 3 w 3"/>
              <a:gd name="T1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8">
                <a:moveTo>
                  <a:pt x="3" y="8"/>
                </a:moveTo>
                <a:lnTo>
                  <a:pt x="0" y="8"/>
                </a:lnTo>
                <a:lnTo>
                  <a:pt x="0" y="0"/>
                </a:lnTo>
                <a:lnTo>
                  <a:pt x="3" y="0"/>
                </a:lnTo>
                <a:lnTo>
                  <a:pt x="3" y="8"/>
                </a:lnTo>
                <a:lnTo>
                  <a:pt x="3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5" name="Freeform 716">
            <a:extLst>
              <a:ext uri="{FF2B5EF4-FFF2-40B4-BE49-F238E27FC236}">
                <a16:creationId xmlns:a16="http://schemas.microsoft.com/office/drawing/2014/main" id="{7DF90D69-72B7-48DD-A196-4D38E2EB6FED}"/>
              </a:ext>
            </a:extLst>
          </p:cNvPr>
          <p:cNvSpPr>
            <a:spLocks/>
          </p:cNvSpPr>
          <p:nvPr/>
        </p:nvSpPr>
        <p:spPr bwMode="auto">
          <a:xfrm>
            <a:off x="10678049" y="4211639"/>
            <a:ext cx="3757" cy="10018"/>
          </a:xfrm>
          <a:custGeom>
            <a:avLst/>
            <a:gdLst>
              <a:gd name="T0" fmla="*/ 1 w 3"/>
              <a:gd name="T1" fmla="*/ 8 h 8"/>
              <a:gd name="T2" fmla="*/ 0 w 3"/>
              <a:gd name="T3" fmla="*/ 0 h 8"/>
              <a:gd name="T4" fmla="*/ 2 w 3"/>
              <a:gd name="T5" fmla="*/ 0 h 8"/>
              <a:gd name="T6" fmla="*/ 3 w 3"/>
              <a:gd name="T7" fmla="*/ 8 h 8"/>
              <a:gd name="T8" fmla="*/ 1 w 3"/>
              <a:gd name="T9" fmla="*/ 8 h 8"/>
              <a:gd name="T10" fmla="*/ 1 w 3"/>
              <a:gd name="T1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8">
                <a:moveTo>
                  <a:pt x="1" y="8"/>
                </a:moveTo>
                <a:lnTo>
                  <a:pt x="0" y="0"/>
                </a:lnTo>
                <a:lnTo>
                  <a:pt x="2" y="0"/>
                </a:lnTo>
                <a:lnTo>
                  <a:pt x="3" y="8"/>
                </a:lnTo>
                <a:lnTo>
                  <a:pt x="1" y="8"/>
                </a:lnTo>
                <a:lnTo>
                  <a:pt x="1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6" name="Freeform 717">
            <a:extLst>
              <a:ext uri="{FF2B5EF4-FFF2-40B4-BE49-F238E27FC236}">
                <a16:creationId xmlns:a16="http://schemas.microsoft.com/office/drawing/2014/main" id="{3080B71F-C484-4034-840F-24B6F71A7CEC}"/>
              </a:ext>
            </a:extLst>
          </p:cNvPr>
          <p:cNvSpPr>
            <a:spLocks/>
          </p:cNvSpPr>
          <p:nvPr/>
        </p:nvSpPr>
        <p:spPr bwMode="auto">
          <a:xfrm>
            <a:off x="10663022" y="4215397"/>
            <a:ext cx="6262" cy="10018"/>
          </a:xfrm>
          <a:custGeom>
            <a:avLst/>
            <a:gdLst>
              <a:gd name="T0" fmla="*/ 2 w 5"/>
              <a:gd name="T1" fmla="*/ 8 h 8"/>
              <a:gd name="T2" fmla="*/ 0 w 5"/>
              <a:gd name="T3" fmla="*/ 1 h 8"/>
              <a:gd name="T4" fmla="*/ 2 w 5"/>
              <a:gd name="T5" fmla="*/ 0 h 8"/>
              <a:gd name="T6" fmla="*/ 5 w 5"/>
              <a:gd name="T7" fmla="*/ 7 h 8"/>
              <a:gd name="T8" fmla="*/ 2 w 5"/>
              <a:gd name="T9" fmla="*/ 8 h 8"/>
              <a:gd name="T10" fmla="*/ 2 w 5"/>
              <a:gd name="T1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" h="8">
                <a:moveTo>
                  <a:pt x="2" y="8"/>
                </a:moveTo>
                <a:lnTo>
                  <a:pt x="0" y="1"/>
                </a:lnTo>
                <a:lnTo>
                  <a:pt x="2" y="0"/>
                </a:lnTo>
                <a:lnTo>
                  <a:pt x="5" y="7"/>
                </a:lnTo>
                <a:lnTo>
                  <a:pt x="2" y="8"/>
                </a:lnTo>
                <a:lnTo>
                  <a:pt x="2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7" name="Freeform 718">
            <a:extLst>
              <a:ext uri="{FF2B5EF4-FFF2-40B4-BE49-F238E27FC236}">
                <a16:creationId xmlns:a16="http://schemas.microsoft.com/office/drawing/2014/main" id="{FFFBE98F-4F62-4E11-AE32-8AD70657B779}"/>
              </a:ext>
            </a:extLst>
          </p:cNvPr>
          <p:cNvSpPr>
            <a:spLocks/>
          </p:cNvSpPr>
          <p:nvPr/>
        </p:nvSpPr>
        <p:spPr bwMode="auto">
          <a:xfrm>
            <a:off x="10647995" y="4221657"/>
            <a:ext cx="8766" cy="10018"/>
          </a:xfrm>
          <a:custGeom>
            <a:avLst/>
            <a:gdLst>
              <a:gd name="T0" fmla="*/ 4 w 7"/>
              <a:gd name="T1" fmla="*/ 8 h 8"/>
              <a:gd name="T2" fmla="*/ 0 w 7"/>
              <a:gd name="T3" fmla="*/ 1 h 8"/>
              <a:gd name="T4" fmla="*/ 2 w 7"/>
              <a:gd name="T5" fmla="*/ 0 h 8"/>
              <a:gd name="T6" fmla="*/ 7 w 7"/>
              <a:gd name="T7" fmla="*/ 7 h 8"/>
              <a:gd name="T8" fmla="*/ 4 w 7"/>
              <a:gd name="T9" fmla="*/ 8 h 8"/>
              <a:gd name="T10" fmla="*/ 4 w 7"/>
              <a:gd name="T1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8">
                <a:moveTo>
                  <a:pt x="4" y="8"/>
                </a:moveTo>
                <a:lnTo>
                  <a:pt x="0" y="1"/>
                </a:lnTo>
                <a:lnTo>
                  <a:pt x="2" y="0"/>
                </a:lnTo>
                <a:lnTo>
                  <a:pt x="7" y="7"/>
                </a:lnTo>
                <a:lnTo>
                  <a:pt x="4" y="8"/>
                </a:lnTo>
                <a:lnTo>
                  <a:pt x="4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8" name="Freeform 719">
            <a:extLst>
              <a:ext uri="{FF2B5EF4-FFF2-40B4-BE49-F238E27FC236}">
                <a16:creationId xmlns:a16="http://schemas.microsoft.com/office/drawing/2014/main" id="{AC89C313-D722-4344-ABED-83805548A08B}"/>
              </a:ext>
            </a:extLst>
          </p:cNvPr>
          <p:cNvSpPr>
            <a:spLocks/>
          </p:cNvSpPr>
          <p:nvPr/>
        </p:nvSpPr>
        <p:spPr bwMode="auto">
          <a:xfrm>
            <a:off x="10635473" y="4230423"/>
            <a:ext cx="8766" cy="10018"/>
          </a:xfrm>
          <a:custGeom>
            <a:avLst/>
            <a:gdLst>
              <a:gd name="T0" fmla="*/ 5 w 7"/>
              <a:gd name="T1" fmla="*/ 8 h 8"/>
              <a:gd name="T2" fmla="*/ 0 w 7"/>
              <a:gd name="T3" fmla="*/ 1 h 8"/>
              <a:gd name="T4" fmla="*/ 2 w 7"/>
              <a:gd name="T5" fmla="*/ 0 h 8"/>
              <a:gd name="T6" fmla="*/ 7 w 7"/>
              <a:gd name="T7" fmla="*/ 6 h 8"/>
              <a:gd name="T8" fmla="*/ 5 w 7"/>
              <a:gd name="T9" fmla="*/ 8 h 8"/>
              <a:gd name="T10" fmla="*/ 5 w 7"/>
              <a:gd name="T1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8">
                <a:moveTo>
                  <a:pt x="5" y="8"/>
                </a:moveTo>
                <a:lnTo>
                  <a:pt x="0" y="1"/>
                </a:lnTo>
                <a:lnTo>
                  <a:pt x="2" y="0"/>
                </a:lnTo>
                <a:lnTo>
                  <a:pt x="7" y="6"/>
                </a:lnTo>
                <a:lnTo>
                  <a:pt x="5" y="8"/>
                </a:lnTo>
                <a:lnTo>
                  <a:pt x="5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9" name="Freeform 720">
            <a:extLst>
              <a:ext uri="{FF2B5EF4-FFF2-40B4-BE49-F238E27FC236}">
                <a16:creationId xmlns:a16="http://schemas.microsoft.com/office/drawing/2014/main" id="{00F85E93-9396-4AE3-BE82-8F42DC5AACFC}"/>
              </a:ext>
            </a:extLst>
          </p:cNvPr>
          <p:cNvSpPr>
            <a:spLocks/>
          </p:cNvSpPr>
          <p:nvPr/>
        </p:nvSpPr>
        <p:spPr bwMode="auto">
          <a:xfrm>
            <a:off x="10625455" y="4240441"/>
            <a:ext cx="8766" cy="10018"/>
          </a:xfrm>
          <a:custGeom>
            <a:avLst/>
            <a:gdLst>
              <a:gd name="T0" fmla="*/ 6 w 7"/>
              <a:gd name="T1" fmla="*/ 8 h 8"/>
              <a:gd name="T2" fmla="*/ 0 w 7"/>
              <a:gd name="T3" fmla="*/ 3 h 8"/>
              <a:gd name="T4" fmla="*/ 1 w 7"/>
              <a:gd name="T5" fmla="*/ 0 h 8"/>
              <a:gd name="T6" fmla="*/ 7 w 7"/>
              <a:gd name="T7" fmla="*/ 5 h 8"/>
              <a:gd name="T8" fmla="*/ 6 w 7"/>
              <a:gd name="T9" fmla="*/ 8 h 8"/>
              <a:gd name="T10" fmla="*/ 6 w 7"/>
              <a:gd name="T1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8">
                <a:moveTo>
                  <a:pt x="6" y="8"/>
                </a:moveTo>
                <a:lnTo>
                  <a:pt x="0" y="3"/>
                </a:lnTo>
                <a:lnTo>
                  <a:pt x="1" y="0"/>
                </a:lnTo>
                <a:lnTo>
                  <a:pt x="7" y="5"/>
                </a:lnTo>
                <a:lnTo>
                  <a:pt x="6" y="8"/>
                </a:lnTo>
                <a:lnTo>
                  <a:pt x="6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0" name="Freeform 721">
            <a:extLst>
              <a:ext uri="{FF2B5EF4-FFF2-40B4-BE49-F238E27FC236}">
                <a16:creationId xmlns:a16="http://schemas.microsoft.com/office/drawing/2014/main" id="{7D80C8B1-5208-403C-8317-744E2AF0D28F}"/>
              </a:ext>
            </a:extLst>
          </p:cNvPr>
          <p:cNvSpPr>
            <a:spLocks/>
          </p:cNvSpPr>
          <p:nvPr/>
        </p:nvSpPr>
        <p:spPr bwMode="auto">
          <a:xfrm>
            <a:off x="10616689" y="4252964"/>
            <a:ext cx="10018" cy="8766"/>
          </a:xfrm>
          <a:custGeom>
            <a:avLst/>
            <a:gdLst>
              <a:gd name="T0" fmla="*/ 6 w 8"/>
              <a:gd name="T1" fmla="*/ 7 h 7"/>
              <a:gd name="T2" fmla="*/ 0 w 8"/>
              <a:gd name="T3" fmla="*/ 3 h 7"/>
              <a:gd name="T4" fmla="*/ 1 w 8"/>
              <a:gd name="T5" fmla="*/ 0 h 7"/>
              <a:gd name="T6" fmla="*/ 8 w 8"/>
              <a:gd name="T7" fmla="*/ 5 h 7"/>
              <a:gd name="T8" fmla="*/ 6 w 8"/>
              <a:gd name="T9" fmla="*/ 7 h 7"/>
              <a:gd name="T10" fmla="*/ 6 w 8"/>
              <a:gd name="T11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7">
                <a:moveTo>
                  <a:pt x="6" y="7"/>
                </a:moveTo>
                <a:lnTo>
                  <a:pt x="0" y="3"/>
                </a:lnTo>
                <a:lnTo>
                  <a:pt x="1" y="0"/>
                </a:lnTo>
                <a:lnTo>
                  <a:pt x="8" y="5"/>
                </a:lnTo>
                <a:lnTo>
                  <a:pt x="6" y="7"/>
                </a:lnTo>
                <a:lnTo>
                  <a:pt x="6" y="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1" name="Freeform 722">
            <a:extLst>
              <a:ext uri="{FF2B5EF4-FFF2-40B4-BE49-F238E27FC236}">
                <a16:creationId xmlns:a16="http://schemas.microsoft.com/office/drawing/2014/main" id="{4417A00B-C896-4862-BB01-08557DC11DB5}"/>
              </a:ext>
            </a:extLst>
          </p:cNvPr>
          <p:cNvSpPr>
            <a:spLocks/>
          </p:cNvSpPr>
          <p:nvPr/>
        </p:nvSpPr>
        <p:spPr bwMode="auto">
          <a:xfrm>
            <a:off x="10610428" y="4267990"/>
            <a:ext cx="10018" cy="6262"/>
          </a:xfrm>
          <a:custGeom>
            <a:avLst/>
            <a:gdLst>
              <a:gd name="T0" fmla="*/ 7 w 8"/>
              <a:gd name="T1" fmla="*/ 5 h 5"/>
              <a:gd name="T2" fmla="*/ 0 w 8"/>
              <a:gd name="T3" fmla="*/ 2 h 5"/>
              <a:gd name="T4" fmla="*/ 0 w 8"/>
              <a:gd name="T5" fmla="*/ 0 h 5"/>
              <a:gd name="T6" fmla="*/ 8 w 8"/>
              <a:gd name="T7" fmla="*/ 3 h 5"/>
              <a:gd name="T8" fmla="*/ 7 w 8"/>
              <a:gd name="T9" fmla="*/ 5 h 5"/>
              <a:gd name="T10" fmla="*/ 7 w 8"/>
              <a:gd name="T11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5">
                <a:moveTo>
                  <a:pt x="7" y="5"/>
                </a:moveTo>
                <a:lnTo>
                  <a:pt x="0" y="2"/>
                </a:lnTo>
                <a:lnTo>
                  <a:pt x="0" y="0"/>
                </a:lnTo>
                <a:lnTo>
                  <a:pt x="8" y="3"/>
                </a:lnTo>
                <a:lnTo>
                  <a:pt x="7" y="5"/>
                </a:lnTo>
                <a:lnTo>
                  <a:pt x="7" y="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2" name="Freeform 723">
            <a:extLst>
              <a:ext uri="{FF2B5EF4-FFF2-40B4-BE49-F238E27FC236}">
                <a16:creationId xmlns:a16="http://schemas.microsoft.com/office/drawing/2014/main" id="{8ADE3273-6868-47BA-8B21-F66ADD633240}"/>
              </a:ext>
            </a:extLst>
          </p:cNvPr>
          <p:cNvSpPr>
            <a:spLocks/>
          </p:cNvSpPr>
          <p:nvPr/>
        </p:nvSpPr>
        <p:spPr bwMode="auto">
          <a:xfrm>
            <a:off x="10606671" y="4283017"/>
            <a:ext cx="10018" cy="3757"/>
          </a:xfrm>
          <a:custGeom>
            <a:avLst/>
            <a:gdLst>
              <a:gd name="T0" fmla="*/ 7 w 8"/>
              <a:gd name="T1" fmla="*/ 3 h 3"/>
              <a:gd name="T2" fmla="*/ 0 w 8"/>
              <a:gd name="T3" fmla="*/ 2 h 3"/>
              <a:gd name="T4" fmla="*/ 0 w 8"/>
              <a:gd name="T5" fmla="*/ 0 h 3"/>
              <a:gd name="T6" fmla="*/ 8 w 8"/>
              <a:gd name="T7" fmla="*/ 1 h 3"/>
              <a:gd name="T8" fmla="*/ 7 w 8"/>
              <a:gd name="T9" fmla="*/ 3 h 3"/>
              <a:gd name="T10" fmla="*/ 7 w 8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3">
                <a:moveTo>
                  <a:pt x="7" y="3"/>
                </a:moveTo>
                <a:lnTo>
                  <a:pt x="0" y="2"/>
                </a:lnTo>
                <a:lnTo>
                  <a:pt x="0" y="0"/>
                </a:lnTo>
                <a:lnTo>
                  <a:pt x="8" y="1"/>
                </a:lnTo>
                <a:lnTo>
                  <a:pt x="7" y="3"/>
                </a:lnTo>
                <a:lnTo>
                  <a:pt x="7" y="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3" name="Freeform 724">
            <a:extLst>
              <a:ext uri="{FF2B5EF4-FFF2-40B4-BE49-F238E27FC236}">
                <a16:creationId xmlns:a16="http://schemas.microsoft.com/office/drawing/2014/main" id="{32E47C74-1E0E-42B2-A6E2-921B4BF50EA9}"/>
              </a:ext>
            </a:extLst>
          </p:cNvPr>
          <p:cNvSpPr>
            <a:spLocks/>
          </p:cNvSpPr>
          <p:nvPr/>
        </p:nvSpPr>
        <p:spPr bwMode="auto">
          <a:xfrm>
            <a:off x="10605420" y="4298044"/>
            <a:ext cx="8766" cy="3757"/>
          </a:xfrm>
          <a:custGeom>
            <a:avLst/>
            <a:gdLst>
              <a:gd name="T0" fmla="*/ 7 w 7"/>
              <a:gd name="T1" fmla="*/ 3 h 3"/>
              <a:gd name="T2" fmla="*/ 0 w 7"/>
              <a:gd name="T3" fmla="*/ 3 h 3"/>
              <a:gd name="T4" fmla="*/ 0 w 7"/>
              <a:gd name="T5" fmla="*/ 0 h 3"/>
              <a:gd name="T6" fmla="*/ 7 w 7"/>
              <a:gd name="T7" fmla="*/ 0 h 3"/>
              <a:gd name="T8" fmla="*/ 7 w 7"/>
              <a:gd name="T9" fmla="*/ 3 h 3"/>
              <a:gd name="T10" fmla="*/ 7 w 7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3">
                <a:moveTo>
                  <a:pt x="7" y="3"/>
                </a:moveTo>
                <a:lnTo>
                  <a:pt x="0" y="3"/>
                </a:lnTo>
                <a:lnTo>
                  <a:pt x="0" y="0"/>
                </a:lnTo>
                <a:lnTo>
                  <a:pt x="7" y="0"/>
                </a:lnTo>
                <a:lnTo>
                  <a:pt x="7" y="3"/>
                </a:lnTo>
                <a:lnTo>
                  <a:pt x="7" y="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4" name="Freeform 725">
            <a:extLst>
              <a:ext uri="{FF2B5EF4-FFF2-40B4-BE49-F238E27FC236}">
                <a16:creationId xmlns:a16="http://schemas.microsoft.com/office/drawing/2014/main" id="{192170D2-237E-49FD-BDE9-A56EE662C40C}"/>
              </a:ext>
            </a:extLst>
          </p:cNvPr>
          <p:cNvSpPr>
            <a:spLocks/>
          </p:cNvSpPr>
          <p:nvPr/>
        </p:nvSpPr>
        <p:spPr bwMode="auto">
          <a:xfrm>
            <a:off x="10606671" y="4311818"/>
            <a:ext cx="10018" cy="5009"/>
          </a:xfrm>
          <a:custGeom>
            <a:avLst/>
            <a:gdLst>
              <a:gd name="T0" fmla="*/ 0 w 8"/>
              <a:gd name="T1" fmla="*/ 4 h 4"/>
              <a:gd name="T2" fmla="*/ 0 w 8"/>
              <a:gd name="T3" fmla="*/ 2 h 4"/>
              <a:gd name="T4" fmla="*/ 7 w 8"/>
              <a:gd name="T5" fmla="*/ 0 h 4"/>
              <a:gd name="T6" fmla="*/ 8 w 8"/>
              <a:gd name="T7" fmla="*/ 3 h 4"/>
              <a:gd name="T8" fmla="*/ 0 w 8"/>
              <a:gd name="T9" fmla="*/ 4 h 4"/>
              <a:gd name="T10" fmla="*/ 0 w 8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4">
                <a:moveTo>
                  <a:pt x="0" y="4"/>
                </a:moveTo>
                <a:lnTo>
                  <a:pt x="0" y="2"/>
                </a:lnTo>
                <a:lnTo>
                  <a:pt x="7" y="0"/>
                </a:lnTo>
                <a:lnTo>
                  <a:pt x="8" y="3"/>
                </a:lnTo>
                <a:lnTo>
                  <a:pt x="0" y="4"/>
                </a:lnTo>
                <a:lnTo>
                  <a:pt x="0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5" name="Freeform 726">
            <a:extLst>
              <a:ext uri="{FF2B5EF4-FFF2-40B4-BE49-F238E27FC236}">
                <a16:creationId xmlns:a16="http://schemas.microsoft.com/office/drawing/2014/main" id="{27818D85-77B7-447B-88A9-6DC5E494B46D}"/>
              </a:ext>
            </a:extLst>
          </p:cNvPr>
          <p:cNvSpPr>
            <a:spLocks/>
          </p:cNvSpPr>
          <p:nvPr/>
        </p:nvSpPr>
        <p:spPr bwMode="auto">
          <a:xfrm>
            <a:off x="10610428" y="4325593"/>
            <a:ext cx="10018" cy="6262"/>
          </a:xfrm>
          <a:custGeom>
            <a:avLst/>
            <a:gdLst>
              <a:gd name="T0" fmla="*/ 0 w 8"/>
              <a:gd name="T1" fmla="*/ 5 h 5"/>
              <a:gd name="T2" fmla="*/ 0 w 8"/>
              <a:gd name="T3" fmla="*/ 3 h 5"/>
              <a:gd name="T4" fmla="*/ 7 w 8"/>
              <a:gd name="T5" fmla="*/ 0 h 5"/>
              <a:gd name="T6" fmla="*/ 8 w 8"/>
              <a:gd name="T7" fmla="*/ 2 h 5"/>
              <a:gd name="T8" fmla="*/ 0 w 8"/>
              <a:gd name="T9" fmla="*/ 5 h 5"/>
              <a:gd name="T10" fmla="*/ 0 w 8"/>
              <a:gd name="T11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5">
                <a:moveTo>
                  <a:pt x="0" y="5"/>
                </a:moveTo>
                <a:lnTo>
                  <a:pt x="0" y="3"/>
                </a:lnTo>
                <a:lnTo>
                  <a:pt x="7" y="0"/>
                </a:lnTo>
                <a:lnTo>
                  <a:pt x="8" y="2"/>
                </a:lnTo>
                <a:lnTo>
                  <a:pt x="0" y="5"/>
                </a:lnTo>
                <a:lnTo>
                  <a:pt x="0" y="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6" name="Freeform 727">
            <a:extLst>
              <a:ext uri="{FF2B5EF4-FFF2-40B4-BE49-F238E27FC236}">
                <a16:creationId xmlns:a16="http://schemas.microsoft.com/office/drawing/2014/main" id="{85C4FA5D-CEBE-4D03-843B-F4512B092C04}"/>
              </a:ext>
            </a:extLst>
          </p:cNvPr>
          <p:cNvSpPr>
            <a:spLocks/>
          </p:cNvSpPr>
          <p:nvPr/>
        </p:nvSpPr>
        <p:spPr bwMode="auto">
          <a:xfrm>
            <a:off x="10616689" y="4338115"/>
            <a:ext cx="10018" cy="7513"/>
          </a:xfrm>
          <a:custGeom>
            <a:avLst/>
            <a:gdLst>
              <a:gd name="T0" fmla="*/ 1 w 8"/>
              <a:gd name="T1" fmla="*/ 6 h 6"/>
              <a:gd name="T2" fmla="*/ 0 w 8"/>
              <a:gd name="T3" fmla="*/ 4 h 6"/>
              <a:gd name="T4" fmla="*/ 6 w 8"/>
              <a:gd name="T5" fmla="*/ 0 h 6"/>
              <a:gd name="T6" fmla="*/ 8 w 8"/>
              <a:gd name="T7" fmla="*/ 2 h 6"/>
              <a:gd name="T8" fmla="*/ 1 w 8"/>
              <a:gd name="T9" fmla="*/ 6 h 6"/>
              <a:gd name="T10" fmla="*/ 1 w 8"/>
              <a:gd name="T11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6">
                <a:moveTo>
                  <a:pt x="1" y="6"/>
                </a:moveTo>
                <a:lnTo>
                  <a:pt x="0" y="4"/>
                </a:lnTo>
                <a:lnTo>
                  <a:pt x="6" y="0"/>
                </a:lnTo>
                <a:lnTo>
                  <a:pt x="8" y="2"/>
                </a:lnTo>
                <a:lnTo>
                  <a:pt x="1" y="6"/>
                </a:lnTo>
                <a:lnTo>
                  <a:pt x="1" y="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7" name="Freeform 728">
            <a:extLst>
              <a:ext uri="{FF2B5EF4-FFF2-40B4-BE49-F238E27FC236}">
                <a16:creationId xmlns:a16="http://schemas.microsoft.com/office/drawing/2014/main" id="{D6268A6C-0412-4907-8000-589212C84BFD}"/>
              </a:ext>
            </a:extLst>
          </p:cNvPr>
          <p:cNvSpPr>
            <a:spLocks/>
          </p:cNvSpPr>
          <p:nvPr/>
        </p:nvSpPr>
        <p:spPr bwMode="auto">
          <a:xfrm>
            <a:off x="10625455" y="4349385"/>
            <a:ext cx="8766" cy="8766"/>
          </a:xfrm>
          <a:custGeom>
            <a:avLst/>
            <a:gdLst>
              <a:gd name="T0" fmla="*/ 1 w 7"/>
              <a:gd name="T1" fmla="*/ 7 h 7"/>
              <a:gd name="T2" fmla="*/ 0 w 7"/>
              <a:gd name="T3" fmla="*/ 5 h 7"/>
              <a:gd name="T4" fmla="*/ 6 w 7"/>
              <a:gd name="T5" fmla="*/ 0 h 7"/>
              <a:gd name="T6" fmla="*/ 7 w 7"/>
              <a:gd name="T7" fmla="*/ 2 h 7"/>
              <a:gd name="T8" fmla="*/ 1 w 7"/>
              <a:gd name="T9" fmla="*/ 7 h 7"/>
              <a:gd name="T10" fmla="*/ 1 w 7"/>
              <a:gd name="T11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7">
                <a:moveTo>
                  <a:pt x="1" y="7"/>
                </a:moveTo>
                <a:lnTo>
                  <a:pt x="0" y="5"/>
                </a:lnTo>
                <a:lnTo>
                  <a:pt x="6" y="0"/>
                </a:lnTo>
                <a:lnTo>
                  <a:pt x="7" y="2"/>
                </a:lnTo>
                <a:lnTo>
                  <a:pt x="1" y="7"/>
                </a:lnTo>
                <a:lnTo>
                  <a:pt x="1" y="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8" name="Freeform 729">
            <a:extLst>
              <a:ext uri="{FF2B5EF4-FFF2-40B4-BE49-F238E27FC236}">
                <a16:creationId xmlns:a16="http://schemas.microsoft.com/office/drawing/2014/main" id="{0EDE99E4-9BA7-409D-8C20-35D01FFDB771}"/>
              </a:ext>
            </a:extLst>
          </p:cNvPr>
          <p:cNvSpPr>
            <a:spLocks/>
          </p:cNvSpPr>
          <p:nvPr/>
        </p:nvSpPr>
        <p:spPr bwMode="auto">
          <a:xfrm>
            <a:off x="10635473" y="4359403"/>
            <a:ext cx="8766" cy="10018"/>
          </a:xfrm>
          <a:custGeom>
            <a:avLst/>
            <a:gdLst>
              <a:gd name="T0" fmla="*/ 2 w 7"/>
              <a:gd name="T1" fmla="*/ 8 h 8"/>
              <a:gd name="T2" fmla="*/ 0 w 7"/>
              <a:gd name="T3" fmla="*/ 6 h 8"/>
              <a:gd name="T4" fmla="*/ 5 w 7"/>
              <a:gd name="T5" fmla="*/ 0 h 8"/>
              <a:gd name="T6" fmla="*/ 7 w 7"/>
              <a:gd name="T7" fmla="*/ 2 h 8"/>
              <a:gd name="T8" fmla="*/ 2 w 7"/>
              <a:gd name="T9" fmla="*/ 8 h 8"/>
              <a:gd name="T10" fmla="*/ 2 w 7"/>
              <a:gd name="T1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8">
                <a:moveTo>
                  <a:pt x="2" y="8"/>
                </a:moveTo>
                <a:lnTo>
                  <a:pt x="0" y="6"/>
                </a:lnTo>
                <a:lnTo>
                  <a:pt x="5" y="0"/>
                </a:lnTo>
                <a:lnTo>
                  <a:pt x="7" y="2"/>
                </a:lnTo>
                <a:lnTo>
                  <a:pt x="2" y="8"/>
                </a:lnTo>
                <a:lnTo>
                  <a:pt x="2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9" name="Freeform 730">
            <a:extLst>
              <a:ext uri="{FF2B5EF4-FFF2-40B4-BE49-F238E27FC236}">
                <a16:creationId xmlns:a16="http://schemas.microsoft.com/office/drawing/2014/main" id="{B16CD43E-3767-4366-BE19-B53D923C6382}"/>
              </a:ext>
            </a:extLst>
          </p:cNvPr>
          <p:cNvSpPr>
            <a:spLocks/>
          </p:cNvSpPr>
          <p:nvPr/>
        </p:nvSpPr>
        <p:spPr bwMode="auto">
          <a:xfrm>
            <a:off x="10647995" y="4368169"/>
            <a:ext cx="8766" cy="10018"/>
          </a:xfrm>
          <a:custGeom>
            <a:avLst/>
            <a:gdLst>
              <a:gd name="T0" fmla="*/ 2 w 7"/>
              <a:gd name="T1" fmla="*/ 8 h 8"/>
              <a:gd name="T2" fmla="*/ 0 w 7"/>
              <a:gd name="T3" fmla="*/ 6 h 8"/>
              <a:gd name="T4" fmla="*/ 4 w 7"/>
              <a:gd name="T5" fmla="*/ 0 h 8"/>
              <a:gd name="T6" fmla="*/ 7 w 7"/>
              <a:gd name="T7" fmla="*/ 1 h 8"/>
              <a:gd name="T8" fmla="*/ 2 w 7"/>
              <a:gd name="T9" fmla="*/ 8 h 8"/>
              <a:gd name="T10" fmla="*/ 2 w 7"/>
              <a:gd name="T1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8">
                <a:moveTo>
                  <a:pt x="2" y="8"/>
                </a:moveTo>
                <a:lnTo>
                  <a:pt x="0" y="6"/>
                </a:lnTo>
                <a:lnTo>
                  <a:pt x="4" y="0"/>
                </a:lnTo>
                <a:lnTo>
                  <a:pt x="7" y="1"/>
                </a:lnTo>
                <a:lnTo>
                  <a:pt x="2" y="8"/>
                </a:lnTo>
                <a:lnTo>
                  <a:pt x="2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0" name="Freeform 731">
            <a:extLst>
              <a:ext uri="{FF2B5EF4-FFF2-40B4-BE49-F238E27FC236}">
                <a16:creationId xmlns:a16="http://schemas.microsoft.com/office/drawing/2014/main" id="{2830A738-8568-4794-A522-30C0259AA12B}"/>
              </a:ext>
            </a:extLst>
          </p:cNvPr>
          <p:cNvSpPr>
            <a:spLocks/>
          </p:cNvSpPr>
          <p:nvPr/>
        </p:nvSpPr>
        <p:spPr bwMode="auto">
          <a:xfrm>
            <a:off x="10663022" y="4374430"/>
            <a:ext cx="6262" cy="10018"/>
          </a:xfrm>
          <a:custGeom>
            <a:avLst/>
            <a:gdLst>
              <a:gd name="T0" fmla="*/ 2 w 5"/>
              <a:gd name="T1" fmla="*/ 8 h 8"/>
              <a:gd name="T2" fmla="*/ 0 w 5"/>
              <a:gd name="T3" fmla="*/ 7 h 8"/>
              <a:gd name="T4" fmla="*/ 2 w 5"/>
              <a:gd name="T5" fmla="*/ 0 h 8"/>
              <a:gd name="T6" fmla="*/ 5 w 5"/>
              <a:gd name="T7" fmla="*/ 1 h 8"/>
              <a:gd name="T8" fmla="*/ 2 w 5"/>
              <a:gd name="T9" fmla="*/ 8 h 8"/>
              <a:gd name="T10" fmla="*/ 2 w 5"/>
              <a:gd name="T1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" h="8">
                <a:moveTo>
                  <a:pt x="2" y="8"/>
                </a:moveTo>
                <a:lnTo>
                  <a:pt x="0" y="7"/>
                </a:lnTo>
                <a:lnTo>
                  <a:pt x="2" y="0"/>
                </a:lnTo>
                <a:lnTo>
                  <a:pt x="5" y="1"/>
                </a:lnTo>
                <a:lnTo>
                  <a:pt x="2" y="8"/>
                </a:lnTo>
                <a:lnTo>
                  <a:pt x="2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1" name="Freeform 732">
            <a:extLst>
              <a:ext uri="{FF2B5EF4-FFF2-40B4-BE49-F238E27FC236}">
                <a16:creationId xmlns:a16="http://schemas.microsoft.com/office/drawing/2014/main" id="{18A1068C-5B6E-48FB-9268-8B55A84F5ABF}"/>
              </a:ext>
            </a:extLst>
          </p:cNvPr>
          <p:cNvSpPr>
            <a:spLocks/>
          </p:cNvSpPr>
          <p:nvPr/>
        </p:nvSpPr>
        <p:spPr bwMode="auto">
          <a:xfrm>
            <a:off x="10678049" y="4378187"/>
            <a:ext cx="3757" cy="10018"/>
          </a:xfrm>
          <a:custGeom>
            <a:avLst/>
            <a:gdLst>
              <a:gd name="T0" fmla="*/ 2 w 3"/>
              <a:gd name="T1" fmla="*/ 8 h 8"/>
              <a:gd name="T2" fmla="*/ 0 w 3"/>
              <a:gd name="T3" fmla="*/ 7 h 8"/>
              <a:gd name="T4" fmla="*/ 1 w 3"/>
              <a:gd name="T5" fmla="*/ 0 h 8"/>
              <a:gd name="T6" fmla="*/ 3 w 3"/>
              <a:gd name="T7" fmla="*/ 0 h 8"/>
              <a:gd name="T8" fmla="*/ 2 w 3"/>
              <a:gd name="T9" fmla="*/ 8 h 8"/>
              <a:gd name="T10" fmla="*/ 2 w 3"/>
              <a:gd name="T1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8">
                <a:moveTo>
                  <a:pt x="2" y="8"/>
                </a:moveTo>
                <a:lnTo>
                  <a:pt x="0" y="7"/>
                </a:lnTo>
                <a:lnTo>
                  <a:pt x="1" y="0"/>
                </a:lnTo>
                <a:lnTo>
                  <a:pt x="3" y="0"/>
                </a:lnTo>
                <a:lnTo>
                  <a:pt x="2" y="8"/>
                </a:lnTo>
                <a:lnTo>
                  <a:pt x="2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2" name="Freeform 733">
            <a:extLst>
              <a:ext uri="{FF2B5EF4-FFF2-40B4-BE49-F238E27FC236}">
                <a16:creationId xmlns:a16="http://schemas.microsoft.com/office/drawing/2014/main" id="{01C017B9-507E-4AD0-9BBA-1A1DE8D874B4}"/>
              </a:ext>
            </a:extLst>
          </p:cNvPr>
          <p:cNvSpPr>
            <a:spLocks/>
          </p:cNvSpPr>
          <p:nvPr/>
        </p:nvSpPr>
        <p:spPr bwMode="auto">
          <a:xfrm>
            <a:off x="10693076" y="4379439"/>
            <a:ext cx="3757" cy="10018"/>
          </a:xfrm>
          <a:custGeom>
            <a:avLst/>
            <a:gdLst>
              <a:gd name="T0" fmla="*/ 3 w 3"/>
              <a:gd name="T1" fmla="*/ 8 h 8"/>
              <a:gd name="T2" fmla="*/ 0 w 3"/>
              <a:gd name="T3" fmla="*/ 8 h 8"/>
              <a:gd name="T4" fmla="*/ 0 w 3"/>
              <a:gd name="T5" fmla="*/ 0 h 8"/>
              <a:gd name="T6" fmla="*/ 3 w 3"/>
              <a:gd name="T7" fmla="*/ 0 h 8"/>
              <a:gd name="T8" fmla="*/ 3 w 3"/>
              <a:gd name="T9" fmla="*/ 8 h 8"/>
              <a:gd name="T10" fmla="*/ 3 w 3"/>
              <a:gd name="T1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8">
                <a:moveTo>
                  <a:pt x="3" y="8"/>
                </a:moveTo>
                <a:lnTo>
                  <a:pt x="0" y="8"/>
                </a:lnTo>
                <a:lnTo>
                  <a:pt x="0" y="0"/>
                </a:lnTo>
                <a:lnTo>
                  <a:pt x="3" y="0"/>
                </a:lnTo>
                <a:lnTo>
                  <a:pt x="3" y="8"/>
                </a:lnTo>
                <a:lnTo>
                  <a:pt x="3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3" name="Freeform 734">
            <a:extLst>
              <a:ext uri="{FF2B5EF4-FFF2-40B4-BE49-F238E27FC236}">
                <a16:creationId xmlns:a16="http://schemas.microsoft.com/office/drawing/2014/main" id="{90EC4961-0EDB-493F-8F11-6A5AF0A5F450}"/>
              </a:ext>
            </a:extLst>
          </p:cNvPr>
          <p:cNvSpPr>
            <a:spLocks/>
          </p:cNvSpPr>
          <p:nvPr/>
        </p:nvSpPr>
        <p:spPr bwMode="auto">
          <a:xfrm>
            <a:off x="10706850" y="4378187"/>
            <a:ext cx="5009" cy="10018"/>
          </a:xfrm>
          <a:custGeom>
            <a:avLst/>
            <a:gdLst>
              <a:gd name="T0" fmla="*/ 1 w 4"/>
              <a:gd name="T1" fmla="*/ 8 h 8"/>
              <a:gd name="T2" fmla="*/ 0 w 4"/>
              <a:gd name="T3" fmla="*/ 0 h 8"/>
              <a:gd name="T4" fmla="*/ 2 w 4"/>
              <a:gd name="T5" fmla="*/ 0 h 8"/>
              <a:gd name="T6" fmla="*/ 4 w 4"/>
              <a:gd name="T7" fmla="*/ 7 h 8"/>
              <a:gd name="T8" fmla="*/ 1 w 4"/>
              <a:gd name="T9" fmla="*/ 8 h 8"/>
              <a:gd name="T10" fmla="*/ 1 w 4"/>
              <a:gd name="T1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8">
                <a:moveTo>
                  <a:pt x="1" y="8"/>
                </a:moveTo>
                <a:lnTo>
                  <a:pt x="0" y="0"/>
                </a:lnTo>
                <a:lnTo>
                  <a:pt x="2" y="0"/>
                </a:lnTo>
                <a:lnTo>
                  <a:pt x="4" y="7"/>
                </a:lnTo>
                <a:lnTo>
                  <a:pt x="1" y="8"/>
                </a:lnTo>
                <a:lnTo>
                  <a:pt x="1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4" name="Freeform 735">
            <a:extLst>
              <a:ext uri="{FF2B5EF4-FFF2-40B4-BE49-F238E27FC236}">
                <a16:creationId xmlns:a16="http://schemas.microsoft.com/office/drawing/2014/main" id="{C16A8ED3-9C44-4E71-A4DB-1341C91CC8A6}"/>
              </a:ext>
            </a:extLst>
          </p:cNvPr>
          <p:cNvSpPr>
            <a:spLocks/>
          </p:cNvSpPr>
          <p:nvPr/>
        </p:nvSpPr>
        <p:spPr bwMode="auto">
          <a:xfrm>
            <a:off x="10720625" y="4374430"/>
            <a:ext cx="6262" cy="10018"/>
          </a:xfrm>
          <a:custGeom>
            <a:avLst/>
            <a:gdLst>
              <a:gd name="T0" fmla="*/ 2 w 5"/>
              <a:gd name="T1" fmla="*/ 8 h 8"/>
              <a:gd name="T2" fmla="*/ 0 w 5"/>
              <a:gd name="T3" fmla="*/ 1 h 8"/>
              <a:gd name="T4" fmla="*/ 2 w 5"/>
              <a:gd name="T5" fmla="*/ 0 h 8"/>
              <a:gd name="T6" fmla="*/ 5 w 5"/>
              <a:gd name="T7" fmla="*/ 7 h 8"/>
              <a:gd name="T8" fmla="*/ 2 w 5"/>
              <a:gd name="T9" fmla="*/ 8 h 8"/>
              <a:gd name="T10" fmla="*/ 2 w 5"/>
              <a:gd name="T1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" h="8">
                <a:moveTo>
                  <a:pt x="2" y="8"/>
                </a:moveTo>
                <a:lnTo>
                  <a:pt x="0" y="1"/>
                </a:lnTo>
                <a:lnTo>
                  <a:pt x="2" y="0"/>
                </a:lnTo>
                <a:lnTo>
                  <a:pt x="5" y="7"/>
                </a:lnTo>
                <a:lnTo>
                  <a:pt x="2" y="8"/>
                </a:lnTo>
                <a:lnTo>
                  <a:pt x="2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5" name="Freeform 736">
            <a:extLst>
              <a:ext uri="{FF2B5EF4-FFF2-40B4-BE49-F238E27FC236}">
                <a16:creationId xmlns:a16="http://schemas.microsoft.com/office/drawing/2014/main" id="{7D30D40C-66DC-4E6C-A4F2-CC7DA9AFA024}"/>
              </a:ext>
            </a:extLst>
          </p:cNvPr>
          <p:cNvSpPr>
            <a:spLocks/>
          </p:cNvSpPr>
          <p:nvPr/>
        </p:nvSpPr>
        <p:spPr bwMode="auto">
          <a:xfrm>
            <a:off x="10733147" y="4368169"/>
            <a:ext cx="7513" cy="10018"/>
          </a:xfrm>
          <a:custGeom>
            <a:avLst/>
            <a:gdLst>
              <a:gd name="T0" fmla="*/ 4 w 6"/>
              <a:gd name="T1" fmla="*/ 8 h 8"/>
              <a:gd name="T2" fmla="*/ 0 w 6"/>
              <a:gd name="T3" fmla="*/ 1 h 8"/>
              <a:gd name="T4" fmla="*/ 2 w 6"/>
              <a:gd name="T5" fmla="*/ 0 h 8"/>
              <a:gd name="T6" fmla="*/ 6 w 6"/>
              <a:gd name="T7" fmla="*/ 6 h 8"/>
              <a:gd name="T8" fmla="*/ 4 w 6"/>
              <a:gd name="T9" fmla="*/ 8 h 8"/>
              <a:gd name="T10" fmla="*/ 4 w 6"/>
              <a:gd name="T1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" h="8">
                <a:moveTo>
                  <a:pt x="4" y="8"/>
                </a:moveTo>
                <a:lnTo>
                  <a:pt x="0" y="1"/>
                </a:lnTo>
                <a:lnTo>
                  <a:pt x="2" y="0"/>
                </a:lnTo>
                <a:lnTo>
                  <a:pt x="6" y="6"/>
                </a:lnTo>
                <a:lnTo>
                  <a:pt x="4" y="8"/>
                </a:lnTo>
                <a:lnTo>
                  <a:pt x="4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6" name="Freeform 737">
            <a:extLst>
              <a:ext uri="{FF2B5EF4-FFF2-40B4-BE49-F238E27FC236}">
                <a16:creationId xmlns:a16="http://schemas.microsoft.com/office/drawing/2014/main" id="{1EF4483F-74C4-4BDC-BA2D-C7080F752F9E}"/>
              </a:ext>
            </a:extLst>
          </p:cNvPr>
          <p:cNvSpPr>
            <a:spLocks/>
          </p:cNvSpPr>
          <p:nvPr/>
        </p:nvSpPr>
        <p:spPr bwMode="auto">
          <a:xfrm>
            <a:off x="10744417" y="4359403"/>
            <a:ext cx="8766" cy="10018"/>
          </a:xfrm>
          <a:custGeom>
            <a:avLst/>
            <a:gdLst>
              <a:gd name="T0" fmla="*/ 5 w 7"/>
              <a:gd name="T1" fmla="*/ 8 h 8"/>
              <a:gd name="T2" fmla="*/ 0 w 7"/>
              <a:gd name="T3" fmla="*/ 2 h 8"/>
              <a:gd name="T4" fmla="*/ 2 w 7"/>
              <a:gd name="T5" fmla="*/ 0 h 8"/>
              <a:gd name="T6" fmla="*/ 7 w 7"/>
              <a:gd name="T7" fmla="*/ 6 h 8"/>
              <a:gd name="T8" fmla="*/ 5 w 7"/>
              <a:gd name="T9" fmla="*/ 8 h 8"/>
              <a:gd name="T10" fmla="*/ 5 w 7"/>
              <a:gd name="T1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8">
                <a:moveTo>
                  <a:pt x="5" y="8"/>
                </a:moveTo>
                <a:lnTo>
                  <a:pt x="0" y="2"/>
                </a:lnTo>
                <a:lnTo>
                  <a:pt x="2" y="0"/>
                </a:lnTo>
                <a:lnTo>
                  <a:pt x="7" y="6"/>
                </a:lnTo>
                <a:lnTo>
                  <a:pt x="5" y="8"/>
                </a:lnTo>
                <a:lnTo>
                  <a:pt x="5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7" name="Freeform 738">
            <a:extLst>
              <a:ext uri="{FF2B5EF4-FFF2-40B4-BE49-F238E27FC236}">
                <a16:creationId xmlns:a16="http://schemas.microsoft.com/office/drawing/2014/main" id="{C6FB0B40-5D92-4B7E-968B-4F94DFF47E12}"/>
              </a:ext>
            </a:extLst>
          </p:cNvPr>
          <p:cNvSpPr>
            <a:spLocks/>
          </p:cNvSpPr>
          <p:nvPr/>
        </p:nvSpPr>
        <p:spPr bwMode="auto">
          <a:xfrm>
            <a:off x="10754435" y="4349385"/>
            <a:ext cx="10018" cy="8766"/>
          </a:xfrm>
          <a:custGeom>
            <a:avLst/>
            <a:gdLst>
              <a:gd name="T0" fmla="*/ 6 w 8"/>
              <a:gd name="T1" fmla="*/ 7 h 7"/>
              <a:gd name="T2" fmla="*/ 0 w 8"/>
              <a:gd name="T3" fmla="*/ 2 h 7"/>
              <a:gd name="T4" fmla="*/ 2 w 8"/>
              <a:gd name="T5" fmla="*/ 0 h 7"/>
              <a:gd name="T6" fmla="*/ 8 w 8"/>
              <a:gd name="T7" fmla="*/ 5 h 7"/>
              <a:gd name="T8" fmla="*/ 6 w 8"/>
              <a:gd name="T9" fmla="*/ 7 h 7"/>
              <a:gd name="T10" fmla="*/ 6 w 8"/>
              <a:gd name="T11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7">
                <a:moveTo>
                  <a:pt x="6" y="7"/>
                </a:moveTo>
                <a:lnTo>
                  <a:pt x="0" y="2"/>
                </a:lnTo>
                <a:lnTo>
                  <a:pt x="2" y="0"/>
                </a:lnTo>
                <a:lnTo>
                  <a:pt x="8" y="5"/>
                </a:lnTo>
                <a:lnTo>
                  <a:pt x="6" y="7"/>
                </a:lnTo>
                <a:lnTo>
                  <a:pt x="6" y="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8" name="Freeform 739">
            <a:extLst>
              <a:ext uri="{FF2B5EF4-FFF2-40B4-BE49-F238E27FC236}">
                <a16:creationId xmlns:a16="http://schemas.microsoft.com/office/drawing/2014/main" id="{7E26BF79-020F-4F2F-8ED2-4553E92579AE}"/>
              </a:ext>
            </a:extLst>
          </p:cNvPr>
          <p:cNvSpPr>
            <a:spLocks/>
          </p:cNvSpPr>
          <p:nvPr/>
        </p:nvSpPr>
        <p:spPr bwMode="auto">
          <a:xfrm>
            <a:off x="10763201" y="4338115"/>
            <a:ext cx="10018" cy="7513"/>
          </a:xfrm>
          <a:custGeom>
            <a:avLst/>
            <a:gdLst>
              <a:gd name="T0" fmla="*/ 6 w 8"/>
              <a:gd name="T1" fmla="*/ 6 h 6"/>
              <a:gd name="T2" fmla="*/ 0 w 8"/>
              <a:gd name="T3" fmla="*/ 2 h 6"/>
              <a:gd name="T4" fmla="*/ 1 w 8"/>
              <a:gd name="T5" fmla="*/ 0 h 6"/>
              <a:gd name="T6" fmla="*/ 8 w 8"/>
              <a:gd name="T7" fmla="*/ 4 h 6"/>
              <a:gd name="T8" fmla="*/ 6 w 8"/>
              <a:gd name="T9" fmla="*/ 6 h 6"/>
              <a:gd name="T10" fmla="*/ 6 w 8"/>
              <a:gd name="T11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6">
                <a:moveTo>
                  <a:pt x="6" y="6"/>
                </a:moveTo>
                <a:lnTo>
                  <a:pt x="0" y="2"/>
                </a:lnTo>
                <a:lnTo>
                  <a:pt x="1" y="0"/>
                </a:lnTo>
                <a:lnTo>
                  <a:pt x="8" y="4"/>
                </a:lnTo>
                <a:lnTo>
                  <a:pt x="6" y="6"/>
                </a:lnTo>
                <a:lnTo>
                  <a:pt x="6" y="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9" name="Freeform 740">
            <a:extLst>
              <a:ext uri="{FF2B5EF4-FFF2-40B4-BE49-F238E27FC236}">
                <a16:creationId xmlns:a16="http://schemas.microsoft.com/office/drawing/2014/main" id="{CC549B57-381A-420D-87FD-15D462D332EC}"/>
              </a:ext>
            </a:extLst>
          </p:cNvPr>
          <p:cNvSpPr>
            <a:spLocks/>
          </p:cNvSpPr>
          <p:nvPr/>
        </p:nvSpPr>
        <p:spPr bwMode="auto">
          <a:xfrm>
            <a:off x="10768210" y="4325593"/>
            <a:ext cx="11270" cy="6262"/>
          </a:xfrm>
          <a:custGeom>
            <a:avLst/>
            <a:gdLst>
              <a:gd name="T0" fmla="*/ 8 w 9"/>
              <a:gd name="T1" fmla="*/ 5 h 5"/>
              <a:gd name="T2" fmla="*/ 0 w 9"/>
              <a:gd name="T3" fmla="*/ 2 h 5"/>
              <a:gd name="T4" fmla="*/ 1 w 9"/>
              <a:gd name="T5" fmla="*/ 0 h 5"/>
              <a:gd name="T6" fmla="*/ 9 w 9"/>
              <a:gd name="T7" fmla="*/ 3 h 5"/>
              <a:gd name="T8" fmla="*/ 8 w 9"/>
              <a:gd name="T9" fmla="*/ 5 h 5"/>
              <a:gd name="T10" fmla="*/ 8 w 9"/>
              <a:gd name="T11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" h="5">
                <a:moveTo>
                  <a:pt x="8" y="5"/>
                </a:moveTo>
                <a:lnTo>
                  <a:pt x="0" y="2"/>
                </a:lnTo>
                <a:lnTo>
                  <a:pt x="1" y="0"/>
                </a:lnTo>
                <a:lnTo>
                  <a:pt x="9" y="3"/>
                </a:lnTo>
                <a:lnTo>
                  <a:pt x="8" y="5"/>
                </a:lnTo>
                <a:lnTo>
                  <a:pt x="8" y="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0" name="Freeform 741">
            <a:extLst>
              <a:ext uri="{FF2B5EF4-FFF2-40B4-BE49-F238E27FC236}">
                <a16:creationId xmlns:a16="http://schemas.microsoft.com/office/drawing/2014/main" id="{932AF2E2-8C0F-45DA-B636-5FEDE27D557F}"/>
              </a:ext>
            </a:extLst>
          </p:cNvPr>
          <p:cNvSpPr>
            <a:spLocks/>
          </p:cNvSpPr>
          <p:nvPr/>
        </p:nvSpPr>
        <p:spPr bwMode="auto">
          <a:xfrm>
            <a:off x="10773219" y="4311818"/>
            <a:ext cx="8766" cy="5009"/>
          </a:xfrm>
          <a:custGeom>
            <a:avLst/>
            <a:gdLst>
              <a:gd name="T0" fmla="*/ 7 w 7"/>
              <a:gd name="T1" fmla="*/ 4 h 4"/>
              <a:gd name="T2" fmla="*/ 0 w 7"/>
              <a:gd name="T3" fmla="*/ 3 h 4"/>
              <a:gd name="T4" fmla="*/ 0 w 7"/>
              <a:gd name="T5" fmla="*/ 0 h 4"/>
              <a:gd name="T6" fmla="*/ 7 w 7"/>
              <a:gd name="T7" fmla="*/ 2 h 4"/>
              <a:gd name="T8" fmla="*/ 7 w 7"/>
              <a:gd name="T9" fmla="*/ 4 h 4"/>
              <a:gd name="T10" fmla="*/ 7 w 7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4">
                <a:moveTo>
                  <a:pt x="7" y="4"/>
                </a:moveTo>
                <a:lnTo>
                  <a:pt x="0" y="3"/>
                </a:lnTo>
                <a:lnTo>
                  <a:pt x="0" y="0"/>
                </a:lnTo>
                <a:lnTo>
                  <a:pt x="7" y="2"/>
                </a:lnTo>
                <a:lnTo>
                  <a:pt x="7" y="4"/>
                </a:lnTo>
                <a:lnTo>
                  <a:pt x="7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1" name="Freeform 742">
            <a:extLst>
              <a:ext uri="{FF2B5EF4-FFF2-40B4-BE49-F238E27FC236}">
                <a16:creationId xmlns:a16="http://schemas.microsoft.com/office/drawing/2014/main" id="{508D25FD-A492-4A07-8504-A04132778657}"/>
              </a:ext>
            </a:extLst>
          </p:cNvPr>
          <p:cNvSpPr>
            <a:spLocks/>
          </p:cNvSpPr>
          <p:nvPr/>
        </p:nvSpPr>
        <p:spPr bwMode="auto">
          <a:xfrm>
            <a:off x="10774471" y="4298044"/>
            <a:ext cx="8766" cy="3757"/>
          </a:xfrm>
          <a:custGeom>
            <a:avLst/>
            <a:gdLst>
              <a:gd name="T0" fmla="*/ 7 w 7"/>
              <a:gd name="T1" fmla="*/ 3 h 3"/>
              <a:gd name="T2" fmla="*/ 0 w 7"/>
              <a:gd name="T3" fmla="*/ 3 h 3"/>
              <a:gd name="T4" fmla="*/ 0 w 7"/>
              <a:gd name="T5" fmla="*/ 0 h 3"/>
              <a:gd name="T6" fmla="*/ 7 w 7"/>
              <a:gd name="T7" fmla="*/ 0 h 3"/>
              <a:gd name="T8" fmla="*/ 7 w 7"/>
              <a:gd name="T9" fmla="*/ 3 h 3"/>
              <a:gd name="T10" fmla="*/ 7 w 7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3">
                <a:moveTo>
                  <a:pt x="7" y="3"/>
                </a:moveTo>
                <a:lnTo>
                  <a:pt x="0" y="3"/>
                </a:lnTo>
                <a:lnTo>
                  <a:pt x="0" y="0"/>
                </a:lnTo>
                <a:lnTo>
                  <a:pt x="7" y="0"/>
                </a:lnTo>
                <a:lnTo>
                  <a:pt x="7" y="3"/>
                </a:lnTo>
                <a:lnTo>
                  <a:pt x="7" y="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2" name="Freeform 743">
            <a:extLst>
              <a:ext uri="{FF2B5EF4-FFF2-40B4-BE49-F238E27FC236}">
                <a16:creationId xmlns:a16="http://schemas.microsoft.com/office/drawing/2014/main" id="{F83B26AF-B88A-46EB-BE29-2B1188FB147C}"/>
              </a:ext>
            </a:extLst>
          </p:cNvPr>
          <p:cNvSpPr>
            <a:spLocks/>
          </p:cNvSpPr>
          <p:nvPr/>
        </p:nvSpPr>
        <p:spPr bwMode="auto">
          <a:xfrm>
            <a:off x="10773219" y="4283017"/>
            <a:ext cx="8766" cy="3757"/>
          </a:xfrm>
          <a:custGeom>
            <a:avLst/>
            <a:gdLst>
              <a:gd name="T0" fmla="*/ 0 w 7"/>
              <a:gd name="T1" fmla="*/ 3 h 3"/>
              <a:gd name="T2" fmla="*/ 0 w 7"/>
              <a:gd name="T3" fmla="*/ 1 h 3"/>
              <a:gd name="T4" fmla="*/ 7 w 7"/>
              <a:gd name="T5" fmla="*/ 0 h 3"/>
              <a:gd name="T6" fmla="*/ 7 w 7"/>
              <a:gd name="T7" fmla="*/ 2 h 3"/>
              <a:gd name="T8" fmla="*/ 0 w 7"/>
              <a:gd name="T9" fmla="*/ 3 h 3"/>
              <a:gd name="T10" fmla="*/ 0 w 7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3">
                <a:moveTo>
                  <a:pt x="0" y="3"/>
                </a:moveTo>
                <a:lnTo>
                  <a:pt x="0" y="1"/>
                </a:lnTo>
                <a:lnTo>
                  <a:pt x="7" y="0"/>
                </a:lnTo>
                <a:lnTo>
                  <a:pt x="7" y="2"/>
                </a:lnTo>
                <a:lnTo>
                  <a:pt x="0" y="3"/>
                </a:lnTo>
                <a:lnTo>
                  <a:pt x="0" y="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3" name="Freeform 744">
            <a:extLst>
              <a:ext uri="{FF2B5EF4-FFF2-40B4-BE49-F238E27FC236}">
                <a16:creationId xmlns:a16="http://schemas.microsoft.com/office/drawing/2014/main" id="{28077627-49D0-4664-93E7-0C8AE8CEFF8E}"/>
              </a:ext>
            </a:extLst>
          </p:cNvPr>
          <p:cNvSpPr>
            <a:spLocks/>
          </p:cNvSpPr>
          <p:nvPr/>
        </p:nvSpPr>
        <p:spPr bwMode="auto">
          <a:xfrm>
            <a:off x="10768210" y="4267990"/>
            <a:ext cx="11270" cy="6262"/>
          </a:xfrm>
          <a:custGeom>
            <a:avLst/>
            <a:gdLst>
              <a:gd name="T0" fmla="*/ 1 w 9"/>
              <a:gd name="T1" fmla="*/ 5 h 5"/>
              <a:gd name="T2" fmla="*/ 0 w 9"/>
              <a:gd name="T3" fmla="*/ 3 h 5"/>
              <a:gd name="T4" fmla="*/ 8 w 9"/>
              <a:gd name="T5" fmla="*/ 0 h 5"/>
              <a:gd name="T6" fmla="*/ 9 w 9"/>
              <a:gd name="T7" fmla="*/ 2 h 5"/>
              <a:gd name="T8" fmla="*/ 1 w 9"/>
              <a:gd name="T9" fmla="*/ 5 h 5"/>
              <a:gd name="T10" fmla="*/ 1 w 9"/>
              <a:gd name="T11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" h="5">
                <a:moveTo>
                  <a:pt x="1" y="5"/>
                </a:moveTo>
                <a:lnTo>
                  <a:pt x="0" y="3"/>
                </a:lnTo>
                <a:lnTo>
                  <a:pt x="8" y="0"/>
                </a:lnTo>
                <a:lnTo>
                  <a:pt x="9" y="2"/>
                </a:lnTo>
                <a:lnTo>
                  <a:pt x="1" y="5"/>
                </a:lnTo>
                <a:lnTo>
                  <a:pt x="1" y="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4" name="Freeform 745">
            <a:extLst>
              <a:ext uri="{FF2B5EF4-FFF2-40B4-BE49-F238E27FC236}">
                <a16:creationId xmlns:a16="http://schemas.microsoft.com/office/drawing/2014/main" id="{3CA8C2FE-C6FF-470B-8490-401F6F2A7604}"/>
              </a:ext>
            </a:extLst>
          </p:cNvPr>
          <p:cNvSpPr>
            <a:spLocks/>
          </p:cNvSpPr>
          <p:nvPr/>
        </p:nvSpPr>
        <p:spPr bwMode="auto">
          <a:xfrm>
            <a:off x="10763201" y="4252964"/>
            <a:ext cx="10018" cy="8766"/>
          </a:xfrm>
          <a:custGeom>
            <a:avLst/>
            <a:gdLst>
              <a:gd name="T0" fmla="*/ 1 w 8"/>
              <a:gd name="T1" fmla="*/ 7 h 7"/>
              <a:gd name="T2" fmla="*/ 0 w 8"/>
              <a:gd name="T3" fmla="*/ 5 h 7"/>
              <a:gd name="T4" fmla="*/ 6 w 8"/>
              <a:gd name="T5" fmla="*/ 0 h 7"/>
              <a:gd name="T6" fmla="*/ 8 w 8"/>
              <a:gd name="T7" fmla="*/ 3 h 7"/>
              <a:gd name="T8" fmla="*/ 1 w 8"/>
              <a:gd name="T9" fmla="*/ 7 h 7"/>
              <a:gd name="T10" fmla="*/ 1 w 8"/>
              <a:gd name="T11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7">
                <a:moveTo>
                  <a:pt x="1" y="7"/>
                </a:moveTo>
                <a:lnTo>
                  <a:pt x="0" y="5"/>
                </a:lnTo>
                <a:lnTo>
                  <a:pt x="6" y="0"/>
                </a:lnTo>
                <a:lnTo>
                  <a:pt x="8" y="3"/>
                </a:lnTo>
                <a:lnTo>
                  <a:pt x="1" y="7"/>
                </a:lnTo>
                <a:lnTo>
                  <a:pt x="1" y="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5" name="Freeform 746">
            <a:extLst>
              <a:ext uri="{FF2B5EF4-FFF2-40B4-BE49-F238E27FC236}">
                <a16:creationId xmlns:a16="http://schemas.microsoft.com/office/drawing/2014/main" id="{FA6F1066-C758-4583-98E5-CB0C2A4B210C}"/>
              </a:ext>
            </a:extLst>
          </p:cNvPr>
          <p:cNvSpPr>
            <a:spLocks/>
          </p:cNvSpPr>
          <p:nvPr/>
        </p:nvSpPr>
        <p:spPr bwMode="auto">
          <a:xfrm>
            <a:off x="10754435" y="4240441"/>
            <a:ext cx="10018" cy="10018"/>
          </a:xfrm>
          <a:custGeom>
            <a:avLst/>
            <a:gdLst>
              <a:gd name="T0" fmla="*/ 2 w 8"/>
              <a:gd name="T1" fmla="*/ 8 h 8"/>
              <a:gd name="T2" fmla="*/ 0 w 8"/>
              <a:gd name="T3" fmla="*/ 5 h 8"/>
              <a:gd name="T4" fmla="*/ 6 w 8"/>
              <a:gd name="T5" fmla="*/ 0 h 8"/>
              <a:gd name="T6" fmla="*/ 8 w 8"/>
              <a:gd name="T7" fmla="*/ 3 h 8"/>
              <a:gd name="T8" fmla="*/ 2 w 8"/>
              <a:gd name="T9" fmla="*/ 8 h 8"/>
              <a:gd name="T10" fmla="*/ 2 w 8"/>
              <a:gd name="T1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8">
                <a:moveTo>
                  <a:pt x="2" y="8"/>
                </a:moveTo>
                <a:lnTo>
                  <a:pt x="0" y="5"/>
                </a:lnTo>
                <a:lnTo>
                  <a:pt x="6" y="0"/>
                </a:lnTo>
                <a:lnTo>
                  <a:pt x="8" y="3"/>
                </a:lnTo>
                <a:lnTo>
                  <a:pt x="2" y="8"/>
                </a:lnTo>
                <a:lnTo>
                  <a:pt x="2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6" name="Freeform 747">
            <a:extLst>
              <a:ext uri="{FF2B5EF4-FFF2-40B4-BE49-F238E27FC236}">
                <a16:creationId xmlns:a16="http://schemas.microsoft.com/office/drawing/2014/main" id="{7BCFDC82-3541-41BE-A681-42EE940FEFC1}"/>
              </a:ext>
            </a:extLst>
          </p:cNvPr>
          <p:cNvSpPr>
            <a:spLocks/>
          </p:cNvSpPr>
          <p:nvPr/>
        </p:nvSpPr>
        <p:spPr bwMode="auto">
          <a:xfrm>
            <a:off x="10744417" y="4230423"/>
            <a:ext cx="8766" cy="10018"/>
          </a:xfrm>
          <a:custGeom>
            <a:avLst/>
            <a:gdLst>
              <a:gd name="T0" fmla="*/ 2 w 7"/>
              <a:gd name="T1" fmla="*/ 8 h 8"/>
              <a:gd name="T2" fmla="*/ 0 w 7"/>
              <a:gd name="T3" fmla="*/ 6 h 8"/>
              <a:gd name="T4" fmla="*/ 5 w 7"/>
              <a:gd name="T5" fmla="*/ 0 h 8"/>
              <a:gd name="T6" fmla="*/ 7 w 7"/>
              <a:gd name="T7" fmla="*/ 1 h 8"/>
              <a:gd name="T8" fmla="*/ 2 w 7"/>
              <a:gd name="T9" fmla="*/ 8 h 8"/>
              <a:gd name="T10" fmla="*/ 2 w 7"/>
              <a:gd name="T1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8">
                <a:moveTo>
                  <a:pt x="2" y="8"/>
                </a:moveTo>
                <a:lnTo>
                  <a:pt x="0" y="6"/>
                </a:lnTo>
                <a:lnTo>
                  <a:pt x="5" y="0"/>
                </a:lnTo>
                <a:lnTo>
                  <a:pt x="7" y="1"/>
                </a:lnTo>
                <a:lnTo>
                  <a:pt x="2" y="8"/>
                </a:lnTo>
                <a:lnTo>
                  <a:pt x="2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7" name="Freeform 748">
            <a:extLst>
              <a:ext uri="{FF2B5EF4-FFF2-40B4-BE49-F238E27FC236}">
                <a16:creationId xmlns:a16="http://schemas.microsoft.com/office/drawing/2014/main" id="{B48E636E-00E6-4AEB-9922-1013580847B1}"/>
              </a:ext>
            </a:extLst>
          </p:cNvPr>
          <p:cNvSpPr>
            <a:spLocks/>
          </p:cNvSpPr>
          <p:nvPr/>
        </p:nvSpPr>
        <p:spPr bwMode="auto">
          <a:xfrm>
            <a:off x="10733147" y="4221657"/>
            <a:ext cx="7513" cy="10018"/>
          </a:xfrm>
          <a:custGeom>
            <a:avLst/>
            <a:gdLst>
              <a:gd name="T0" fmla="*/ 2 w 6"/>
              <a:gd name="T1" fmla="*/ 8 h 8"/>
              <a:gd name="T2" fmla="*/ 0 w 6"/>
              <a:gd name="T3" fmla="*/ 7 h 8"/>
              <a:gd name="T4" fmla="*/ 4 w 6"/>
              <a:gd name="T5" fmla="*/ 0 h 8"/>
              <a:gd name="T6" fmla="*/ 6 w 6"/>
              <a:gd name="T7" fmla="*/ 1 h 8"/>
              <a:gd name="T8" fmla="*/ 2 w 6"/>
              <a:gd name="T9" fmla="*/ 8 h 8"/>
              <a:gd name="T10" fmla="*/ 2 w 6"/>
              <a:gd name="T1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" h="8">
                <a:moveTo>
                  <a:pt x="2" y="8"/>
                </a:moveTo>
                <a:lnTo>
                  <a:pt x="0" y="7"/>
                </a:lnTo>
                <a:lnTo>
                  <a:pt x="4" y="0"/>
                </a:lnTo>
                <a:lnTo>
                  <a:pt x="6" y="1"/>
                </a:lnTo>
                <a:lnTo>
                  <a:pt x="2" y="8"/>
                </a:lnTo>
                <a:lnTo>
                  <a:pt x="2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8" name="Freeform 749">
            <a:extLst>
              <a:ext uri="{FF2B5EF4-FFF2-40B4-BE49-F238E27FC236}">
                <a16:creationId xmlns:a16="http://schemas.microsoft.com/office/drawing/2014/main" id="{A075F07C-6AD5-4450-B734-25EE201A878B}"/>
              </a:ext>
            </a:extLst>
          </p:cNvPr>
          <p:cNvSpPr>
            <a:spLocks/>
          </p:cNvSpPr>
          <p:nvPr/>
        </p:nvSpPr>
        <p:spPr bwMode="auto">
          <a:xfrm>
            <a:off x="10720625" y="4215397"/>
            <a:ext cx="6262" cy="10018"/>
          </a:xfrm>
          <a:custGeom>
            <a:avLst/>
            <a:gdLst>
              <a:gd name="T0" fmla="*/ 2 w 5"/>
              <a:gd name="T1" fmla="*/ 8 h 8"/>
              <a:gd name="T2" fmla="*/ 0 w 5"/>
              <a:gd name="T3" fmla="*/ 7 h 8"/>
              <a:gd name="T4" fmla="*/ 2 w 5"/>
              <a:gd name="T5" fmla="*/ 0 h 8"/>
              <a:gd name="T6" fmla="*/ 5 w 5"/>
              <a:gd name="T7" fmla="*/ 1 h 8"/>
              <a:gd name="T8" fmla="*/ 2 w 5"/>
              <a:gd name="T9" fmla="*/ 8 h 8"/>
              <a:gd name="T10" fmla="*/ 2 w 5"/>
              <a:gd name="T1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" h="8">
                <a:moveTo>
                  <a:pt x="2" y="8"/>
                </a:moveTo>
                <a:lnTo>
                  <a:pt x="0" y="7"/>
                </a:lnTo>
                <a:lnTo>
                  <a:pt x="2" y="0"/>
                </a:lnTo>
                <a:lnTo>
                  <a:pt x="5" y="1"/>
                </a:lnTo>
                <a:lnTo>
                  <a:pt x="2" y="8"/>
                </a:lnTo>
                <a:lnTo>
                  <a:pt x="2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9" name="Freeform 750">
            <a:extLst>
              <a:ext uri="{FF2B5EF4-FFF2-40B4-BE49-F238E27FC236}">
                <a16:creationId xmlns:a16="http://schemas.microsoft.com/office/drawing/2014/main" id="{47897014-713A-4B22-8663-B91D62240562}"/>
              </a:ext>
            </a:extLst>
          </p:cNvPr>
          <p:cNvSpPr>
            <a:spLocks/>
          </p:cNvSpPr>
          <p:nvPr/>
        </p:nvSpPr>
        <p:spPr bwMode="auto">
          <a:xfrm>
            <a:off x="10706850" y="4211639"/>
            <a:ext cx="5009" cy="10018"/>
          </a:xfrm>
          <a:custGeom>
            <a:avLst/>
            <a:gdLst>
              <a:gd name="T0" fmla="*/ 2 w 4"/>
              <a:gd name="T1" fmla="*/ 8 h 8"/>
              <a:gd name="T2" fmla="*/ 0 w 4"/>
              <a:gd name="T3" fmla="*/ 8 h 8"/>
              <a:gd name="T4" fmla="*/ 1 w 4"/>
              <a:gd name="T5" fmla="*/ 0 h 8"/>
              <a:gd name="T6" fmla="*/ 4 w 4"/>
              <a:gd name="T7" fmla="*/ 0 h 8"/>
              <a:gd name="T8" fmla="*/ 2 w 4"/>
              <a:gd name="T9" fmla="*/ 8 h 8"/>
              <a:gd name="T10" fmla="*/ 2 w 4"/>
              <a:gd name="T11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8">
                <a:moveTo>
                  <a:pt x="2" y="8"/>
                </a:moveTo>
                <a:lnTo>
                  <a:pt x="0" y="8"/>
                </a:lnTo>
                <a:lnTo>
                  <a:pt x="1" y="0"/>
                </a:lnTo>
                <a:lnTo>
                  <a:pt x="4" y="0"/>
                </a:lnTo>
                <a:lnTo>
                  <a:pt x="2" y="8"/>
                </a:lnTo>
                <a:lnTo>
                  <a:pt x="2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0" name="Freeform 751">
            <a:extLst>
              <a:ext uri="{FF2B5EF4-FFF2-40B4-BE49-F238E27FC236}">
                <a16:creationId xmlns:a16="http://schemas.microsoft.com/office/drawing/2014/main" id="{7CF8781C-1D2E-48C1-977C-7E2F6F3A69E1}"/>
              </a:ext>
            </a:extLst>
          </p:cNvPr>
          <p:cNvSpPr>
            <a:spLocks/>
          </p:cNvSpPr>
          <p:nvPr/>
        </p:nvSpPr>
        <p:spPr bwMode="auto">
          <a:xfrm>
            <a:off x="10363738" y="4415754"/>
            <a:ext cx="65116" cy="131485"/>
          </a:xfrm>
          <a:custGeom>
            <a:avLst/>
            <a:gdLst>
              <a:gd name="T0" fmla="*/ 0 w 127"/>
              <a:gd name="T1" fmla="*/ 0 h 251"/>
              <a:gd name="T2" fmla="*/ 2 w 127"/>
              <a:gd name="T3" fmla="*/ 0 h 251"/>
              <a:gd name="T4" fmla="*/ 126 w 127"/>
              <a:gd name="T5" fmla="*/ 126 h 251"/>
              <a:gd name="T6" fmla="*/ 0 w 127"/>
              <a:gd name="T7" fmla="*/ 251 h 251"/>
              <a:gd name="T8" fmla="*/ 0 w 127"/>
              <a:gd name="T9" fmla="*/ 125 h 251"/>
              <a:gd name="T10" fmla="*/ 0 w 127"/>
              <a:gd name="T11" fmla="*/ 0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7" h="251">
                <a:moveTo>
                  <a:pt x="0" y="0"/>
                </a:moveTo>
                <a:cubicBezTo>
                  <a:pt x="1" y="0"/>
                  <a:pt x="1" y="0"/>
                  <a:pt x="2" y="0"/>
                </a:cubicBezTo>
                <a:cubicBezTo>
                  <a:pt x="71" y="0"/>
                  <a:pt x="127" y="57"/>
                  <a:pt x="126" y="126"/>
                </a:cubicBezTo>
                <a:cubicBezTo>
                  <a:pt x="126" y="196"/>
                  <a:pt x="69" y="251"/>
                  <a:pt x="0" y="251"/>
                </a:cubicBezTo>
                <a:cubicBezTo>
                  <a:pt x="0" y="125"/>
                  <a:pt x="0" y="125"/>
                  <a:pt x="0" y="125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1" name="Freeform 752">
            <a:extLst>
              <a:ext uri="{FF2B5EF4-FFF2-40B4-BE49-F238E27FC236}">
                <a16:creationId xmlns:a16="http://schemas.microsoft.com/office/drawing/2014/main" id="{803B4977-362F-4AC8-BED2-48A4FC169B53}"/>
              </a:ext>
            </a:extLst>
          </p:cNvPr>
          <p:cNvSpPr>
            <a:spLocks/>
          </p:cNvSpPr>
          <p:nvPr/>
        </p:nvSpPr>
        <p:spPr bwMode="auto">
          <a:xfrm>
            <a:off x="10542808" y="3893572"/>
            <a:ext cx="313058" cy="206619"/>
          </a:xfrm>
          <a:custGeom>
            <a:avLst/>
            <a:gdLst>
              <a:gd name="T0" fmla="*/ 301 w 602"/>
              <a:gd name="T1" fmla="*/ 0 h 396"/>
              <a:gd name="T2" fmla="*/ 0 w 602"/>
              <a:gd name="T3" fmla="*/ 4 h 396"/>
              <a:gd name="T4" fmla="*/ 301 w 602"/>
              <a:gd name="T5" fmla="*/ 396 h 396"/>
              <a:gd name="T6" fmla="*/ 602 w 602"/>
              <a:gd name="T7" fmla="*/ 4 h 396"/>
              <a:gd name="T8" fmla="*/ 301 w 602"/>
              <a:gd name="T9" fmla="*/ 0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02" h="396">
                <a:moveTo>
                  <a:pt x="301" y="0"/>
                </a:moveTo>
                <a:cubicBezTo>
                  <a:pt x="0" y="4"/>
                  <a:pt x="0" y="4"/>
                  <a:pt x="0" y="4"/>
                </a:cubicBezTo>
                <a:cubicBezTo>
                  <a:pt x="0" y="4"/>
                  <a:pt x="22" y="396"/>
                  <a:pt x="301" y="396"/>
                </a:cubicBezTo>
                <a:cubicBezTo>
                  <a:pt x="580" y="396"/>
                  <a:pt x="602" y="4"/>
                  <a:pt x="602" y="4"/>
                </a:cubicBezTo>
                <a:lnTo>
                  <a:pt x="30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2" name="Oval 753">
            <a:extLst>
              <a:ext uri="{FF2B5EF4-FFF2-40B4-BE49-F238E27FC236}">
                <a16:creationId xmlns:a16="http://schemas.microsoft.com/office/drawing/2014/main" id="{D8F00AF0-C4B5-42B0-A9EA-0F3176B85C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41555" y="3877293"/>
            <a:ext cx="314311" cy="33811"/>
          </a:xfrm>
          <a:prstGeom prst="ellipse">
            <a:avLst/>
          </a:pr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3" name="Freeform 754">
            <a:extLst>
              <a:ext uri="{FF2B5EF4-FFF2-40B4-BE49-F238E27FC236}">
                <a16:creationId xmlns:a16="http://schemas.microsoft.com/office/drawing/2014/main" id="{6756A35A-FC42-4213-98F3-1B7D01077EE2}"/>
              </a:ext>
            </a:extLst>
          </p:cNvPr>
          <p:cNvSpPr>
            <a:spLocks/>
          </p:cNvSpPr>
          <p:nvPr/>
        </p:nvSpPr>
        <p:spPr bwMode="auto">
          <a:xfrm>
            <a:off x="10814542" y="3613072"/>
            <a:ext cx="1376205" cy="144007"/>
          </a:xfrm>
          <a:custGeom>
            <a:avLst/>
            <a:gdLst>
              <a:gd name="T0" fmla="*/ 2648 w 2648"/>
              <a:gd name="T1" fmla="*/ 276 h 276"/>
              <a:gd name="T2" fmla="*/ 139 w 2648"/>
              <a:gd name="T3" fmla="*/ 276 h 276"/>
              <a:gd name="T4" fmla="*/ 0 w 2648"/>
              <a:gd name="T5" fmla="*/ 138 h 276"/>
              <a:gd name="T6" fmla="*/ 139 w 2648"/>
              <a:gd name="T7" fmla="*/ 0 h 276"/>
              <a:gd name="T8" fmla="*/ 2648 w 2648"/>
              <a:gd name="T9" fmla="*/ 0 h 276"/>
              <a:gd name="T10" fmla="*/ 2648 w 2648"/>
              <a:gd name="T11" fmla="*/ 70 h 276"/>
              <a:gd name="T12" fmla="*/ 139 w 2648"/>
              <a:gd name="T13" fmla="*/ 70 h 276"/>
              <a:gd name="T14" fmla="*/ 70 w 2648"/>
              <a:gd name="T15" fmla="*/ 138 h 276"/>
              <a:gd name="T16" fmla="*/ 139 w 2648"/>
              <a:gd name="T17" fmla="*/ 206 h 276"/>
              <a:gd name="T18" fmla="*/ 2648 w 2648"/>
              <a:gd name="T19" fmla="*/ 206 h 276"/>
              <a:gd name="T20" fmla="*/ 2648 w 2648"/>
              <a:gd name="T21" fmla="*/ 276 h 2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48" h="276">
                <a:moveTo>
                  <a:pt x="2648" y="276"/>
                </a:moveTo>
                <a:cubicBezTo>
                  <a:pt x="139" y="276"/>
                  <a:pt x="139" y="276"/>
                  <a:pt x="139" y="276"/>
                </a:cubicBezTo>
                <a:cubicBezTo>
                  <a:pt x="62" y="276"/>
                  <a:pt x="0" y="214"/>
                  <a:pt x="0" y="138"/>
                </a:cubicBezTo>
                <a:cubicBezTo>
                  <a:pt x="0" y="62"/>
                  <a:pt x="62" y="0"/>
                  <a:pt x="139" y="0"/>
                </a:cubicBezTo>
                <a:cubicBezTo>
                  <a:pt x="2648" y="0"/>
                  <a:pt x="2648" y="0"/>
                  <a:pt x="2648" y="0"/>
                </a:cubicBezTo>
                <a:cubicBezTo>
                  <a:pt x="2648" y="70"/>
                  <a:pt x="2648" y="70"/>
                  <a:pt x="2648" y="70"/>
                </a:cubicBezTo>
                <a:cubicBezTo>
                  <a:pt x="139" y="70"/>
                  <a:pt x="139" y="70"/>
                  <a:pt x="139" y="70"/>
                </a:cubicBezTo>
                <a:cubicBezTo>
                  <a:pt x="101" y="70"/>
                  <a:pt x="70" y="100"/>
                  <a:pt x="70" y="138"/>
                </a:cubicBezTo>
                <a:cubicBezTo>
                  <a:pt x="70" y="176"/>
                  <a:pt x="101" y="206"/>
                  <a:pt x="139" y="206"/>
                </a:cubicBezTo>
                <a:cubicBezTo>
                  <a:pt x="2648" y="206"/>
                  <a:pt x="2648" y="206"/>
                  <a:pt x="2648" y="206"/>
                </a:cubicBezTo>
                <a:cubicBezTo>
                  <a:pt x="2648" y="276"/>
                  <a:pt x="2648" y="276"/>
                  <a:pt x="2648" y="276"/>
                </a:cubicBez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4" name="Oval 755">
            <a:extLst>
              <a:ext uri="{FF2B5EF4-FFF2-40B4-BE49-F238E27FC236}">
                <a16:creationId xmlns:a16="http://schemas.microsoft.com/office/drawing/2014/main" id="{E60A208F-9B2F-4243-AFC4-5F412BEB75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17225" y="3648134"/>
            <a:ext cx="71378" cy="73882"/>
          </a:xfrm>
          <a:prstGeom prst="ellipse">
            <a:avLst/>
          </a:pr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5" name="Oval 756">
            <a:extLst>
              <a:ext uri="{FF2B5EF4-FFF2-40B4-BE49-F238E27FC236}">
                <a16:creationId xmlns:a16="http://schemas.microsoft.com/office/drawing/2014/main" id="{14E43703-ACD8-489D-B82D-CAC4BAF38B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28496" y="3660657"/>
            <a:ext cx="48838" cy="4883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6" name="Oval 757">
            <a:extLst>
              <a:ext uri="{FF2B5EF4-FFF2-40B4-BE49-F238E27FC236}">
                <a16:creationId xmlns:a16="http://schemas.microsoft.com/office/drawing/2014/main" id="{E8ECE7A3-3302-4CEB-919A-466BAAFBE6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91286" y="3648134"/>
            <a:ext cx="72630" cy="73882"/>
          </a:xfrm>
          <a:prstGeom prst="ellipse">
            <a:avLst/>
          </a:pr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7" name="Oval 758">
            <a:extLst>
              <a:ext uri="{FF2B5EF4-FFF2-40B4-BE49-F238E27FC236}">
                <a16:creationId xmlns:a16="http://schemas.microsoft.com/office/drawing/2014/main" id="{A5EEBA7F-453C-4FC1-81FA-8629A0042E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03809" y="3660657"/>
            <a:ext cx="47585" cy="4883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8" name="Oval 759">
            <a:extLst>
              <a:ext uri="{FF2B5EF4-FFF2-40B4-BE49-F238E27FC236}">
                <a16:creationId xmlns:a16="http://schemas.microsoft.com/office/drawing/2014/main" id="{76284EE0-2B2E-4A80-9774-08C0824F49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65346" y="3648134"/>
            <a:ext cx="72630" cy="73882"/>
          </a:xfrm>
          <a:prstGeom prst="ellipse">
            <a:avLst/>
          </a:pr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" name="Oval 760">
            <a:extLst>
              <a:ext uri="{FF2B5EF4-FFF2-40B4-BE49-F238E27FC236}">
                <a16:creationId xmlns:a16="http://schemas.microsoft.com/office/drawing/2014/main" id="{6A670040-C94F-4413-B0AC-565C6DF88B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7869" y="3660657"/>
            <a:ext cx="47585" cy="4883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0" name="Oval 761">
            <a:extLst>
              <a:ext uri="{FF2B5EF4-FFF2-40B4-BE49-F238E27FC236}">
                <a16:creationId xmlns:a16="http://schemas.microsoft.com/office/drawing/2014/main" id="{F787BB30-CAE9-46AB-8821-E0511D445D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39407" y="3648134"/>
            <a:ext cx="72630" cy="73882"/>
          </a:xfrm>
          <a:prstGeom prst="ellipse">
            <a:avLst/>
          </a:pr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1" name="Oval 762">
            <a:extLst>
              <a:ext uri="{FF2B5EF4-FFF2-40B4-BE49-F238E27FC236}">
                <a16:creationId xmlns:a16="http://schemas.microsoft.com/office/drawing/2014/main" id="{38F5C942-11E0-40B3-8D6A-DC28D45027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51929" y="3660657"/>
            <a:ext cx="48838" cy="4883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2" name="Oval 763">
            <a:extLst>
              <a:ext uri="{FF2B5EF4-FFF2-40B4-BE49-F238E27FC236}">
                <a16:creationId xmlns:a16="http://schemas.microsoft.com/office/drawing/2014/main" id="{17D6C5CA-1143-431F-8F0B-4BF36037DD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14720" y="3648134"/>
            <a:ext cx="72630" cy="73882"/>
          </a:xfrm>
          <a:prstGeom prst="ellipse">
            <a:avLst/>
          </a:pr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3" name="Oval 764">
            <a:extLst>
              <a:ext uri="{FF2B5EF4-FFF2-40B4-BE49-F238E27FC236}">
                <a16:creationId xmlns:a16="http://schemas.microsoft.com/office/drawing/2014/main" id="{B18E1C77-627B-4D3A-939E-10C0E16753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25990" y="3660657"/>
            <a:ext cx="48838" cy="4883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4" name="Oval 765">
            <a:extLst>
              <a:ext uri="{FF2B5EF4-FFF2-40B4-BE49-F238E27FC236}">
                <a16:creationId xmlns:a16="http://schemas.microsoft.com/office/drawing/2014/main" id="{B4686CAC-3C93-48C1-ACE5-110498FEB6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788780" y="3648134"/>
            <a:ext cx="72630" cy="73882"/>
          </a:xfrm>
          <a:prstGeom prst="ellipse">
            <a:avLst/>
          </a:pr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5" name="Oval 766">
            <a:extLst>
              <a:ext uri="{FF2B5EF4-FFF2-40B4-BE49-F238E27FC236}">
                <a16:creationId xmlns:a16="http://schemas.microsoft.com/office/drawing/2014/main" id="{6035B4FF-E57B-4CDA-B57C-5438C7F4D4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01302" y="3660657"/>
            <a:ext cx="48838" cy="4883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6" name="Oval 767">
            <a:extLst>
              <a:ext uri="{FF2B5EF4-FFF2-40B4-BE49-F238E27FC236}">
                <a16:creationId xmlns:a16="http://schemas.microsoft.com/office/drawing/2014/main" id="{3EB5E898-936B-4393-8015-A27AEE7C8C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62841" y="3648134"/>
            <a:ext cx="72630" cy="73882"/>
          </a:xfrm>
          <a:prstGeom prst="ellipse">
            <a:avLst/>
          </a:pr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7" name="Oval 768">
            <a:extLst>
              <a:ext uri="{FF2B5EF4-FFF2-40B4-BE49-F238E27FC236}">
                <a16:creationId xmlns:a16="http://schemas.microsoft.com/office/drawing/2014/main" id="{17C0F43D-6F74-4BDA-901F-4A98CE0667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75363" y="3660657"/>
            <a:ext cx="48838" cy="4883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" name="Freeform 769">
            <a:extLst>
              <a:ext uri="{FF2B5EF4-FFF2-40B4-BE49-F238E27FC236}">
                <a16:creationId xmlns:a16="http://schemas.microsoft.com/office/drawing/2014/main" id="{C8FDF009-2DA7-4EDD-9CC0-AE4B70E2DACD}"/>
              </a:ext>
            </a:extLst>
          </p:cNvPr>
          <p:cNvSpPr>
            <a:spLocks/>
          </p:cNvSpPr>
          <p:nvPr/>
        </p:nvSpPr>
        <p:spPr bwMode="auto">
          <a:xfrm>
            <a:off x="10877154" y="3457795"/>
            <a:ext cx="102683" cy="113954"/>
          </a:xfrm>
          <a:custGeom>
            <a:avLst/>
            <a:gdLst>
              <a:gd name="T0" fmla="*/ 136 w 198"/>
              <a:gd name="T1" fmla="*/ 218 h 219"/>
              <a:gd name="T2" fmla="*/ 198 w 198"/>
              <a:gd name="T3" fmla="*/ 101 h 219"/>
              <a:gd name="T4" fmla="*/ 99 w 198"/>
              <a:gd name="T5" fmla="*/ 0 h 219"/>
              <a:gd name="T6" fmla="*/ 0 w 198"/>
              <a:gd name="T7" fmla="*/ 101 h 219"/>
              <a:gd name="T8" fmla="*/ 62 w 198"/>
              <a:gd name="T9" fmla="*/ 219 h 219"/>
              <a:gd name="T10" fmla="*/ 62 w 198"/>
              <a:gd name="T11" fmla="*/ 219 h 219"/>
              <a:gd name="T12" fmla="*/ 62 w 198"/>
              <a:gd name="T13" fmla="*/ 219 h 219"/>
              <a:gd name="T14" fmla="*/ 136 w 198"/>
              <a:gd name="T15" fmla="*/ 219 h 219"/>
              <a:gd name="T16" fmla="*/ 136 w 198"/>
              <a:gd name="T17" fmla="*/ 219 h 219"/>
              <a:gd name="T18" fmla="*/ 136 w 198"/>
              <a:gd name="T19" fmla="*/ 219 h 219"/>
              <a:gd name="T20" fmla="*/ 136 w 198"/>
              <a:gd name="T21" fmla="*/ 218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98" h="219">
                <a:moveTo>
                  <a:pt x="136" y="218"/>
                </a:moveTo>
                <a:cubicBezTo>
                  <a:pt x="138" y="184"/>
                  <a:pt x="198" y="163"/>
                  <a:pt x="198" y="101"/>
                </a:cubicBezTo>
                <a:cubicBezTo>
                  <a:pt x="198" y="33"/>
                  <a:pt x="151" y="0"/>
                  <a:pt x="99" y="0"/>
                </a:cubicBezTo>
                <a:cubicBezTo>
                  <a:pt x="47" y="0"/>
                  <a:pt x="0" y="33"/>
                  <a:pt x="0" y="101"/>
                </a:cubicBezTo>
                <a:cubicBezTo>
                  <a:pt x="0" y="164"/>
                  <a:pt x="62" y="185"/>
                  <a:pt x="62" y="219"/>
                </a:cubicBezTo>
                <a:cubicBezTo>
                  <a:pt x="62" y="219"/>
                  <a:pt x="62" y="219"/>
                  <a:pt x="62" y="219"/>
                </a:cubicBezTo>
                <a:cubicBezTo>
                  <a:pt x="62" y="219"/>
                  <a:pt x="62" y="219"/>
                  <a:pt x="62" y="219"/>
                </a:cubicBezTo>
                <a:cubicBezTo>
                  <a:pt x="67" y="219"/>
                  <a:pt x="131" y="219"/>
                  <a:pt x="136" y="219"/>
                </a:cubicBezTo>
                <a:cubicBezTo>
                  <a:pt x="136" y="219"/>
                  <a:pt x="136" y="219"/>
                  <a:pt x="136" y="219"/>
                </a:cubicBezTo>
                <a:cubicBezTo>
                  <a:pt x="136" y="219"/>
                  <a:pt x="136" y="219"/>
                  <a:pt x="136" y="219"/>
                </a:cubicBezTo>
                <a:cubicBezTo>
                  <a:pt x="136" y="219"/>
                  <a:pt x="136" y="218"/>
                  <a:pt x="136" y="21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9" name="Freeform 770">
            <a:extLst>
              <a:ext uri="{FF2B5EF4-FFF2-40B4-BE49-F238E27FC236}">
                <a16:creationId xmlns:a16="http://schemas.microsoft.com/office/drawing/2014/main" id="{0D0E15DB-0003-43B7-B47F-169C82A54F7A}"/>
              </a:ext>
            </a:extLst>
          </p:cNvPr>
          <p:cNvSpPr>
            <a:spLocks/>
          </p:cNvSpPr>
          <p:nvPr/>
        </p:nvSpPr>
        <p:spPr bwMode="auto">
          <a:xfrm>
            <a:off x="10934757" y="3525415"/>
            <a:ext cx="2504" cy="46333"/>
          </a:xfrm>
          <a:custGeom>
            <a:avLst/>
            <a:gdLst>
              <a:gd name="T0" fmla="*/ 6 w 6"/>
              <a:gd name="T1" fmla="*/ 88 h 88"/>
              <a:gd name="T2" fmla="*/ 1 w 6"/>
              <a:gd name="T3" fmla="*/ 88 h 88"/>
              <a:gd name="T4" fmla="*/ 1 w 6"/>
              <a:gd name="T5" fmla="*/ 6 h 88"/>
              <a:gd name="T6" fmla="*/ 0 w 6"/>
              <a:gd name="T7" fmla="*/ 5 h 88"/>
              <a:gd name="T8" fmla="*/ 0 w 6"/>
              <a:gd name="T9" fmla="*/ 0 h 88"/>
              <a:gd name="T10" fmla="*/ 6 w 6"/>
              <a:gd name="T11" fmla="*/ 6 h 88"/>
              <a:gd name="T12" fmla="*/ 6 w 6"/>
              <a:gd name="T13" fmla="*/ 8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88">
                <a:moveTo>
                  <a:pt x="6" y="88"/>
                </a:moveTo>
                <a:cubicBezTo>
                  <a:pt x="1" y="88"/>
                  <a:pt x="1" y="88"/>
                  <a:pt x="1" y="88"/>
                </a:cubicBezTo>
                <a:cubicBezTo>
                  <a:pt x="1" y="6"/>
                  <a:pt x="1" y="6"/>
                  <a:pt x="1" y="6"/>
                </a:cubicBezTo>
                <a:cubicBezTo>
                  <a:pt x="1" y="5"/>
                  <a:pt x="0" y="5"/>
                  <a:pt x="0" y="5"/>
                </a:cubicBezTo>
                <a:cubicBezTo>
                  <a:pt x="0" y="0"/>
                  <a:pt x="0" y="0"/>
                  <a:pt x="0" y="0"/>
                </a:cubicBezTo>
                <a:cubicBezTo>
                  <a:pt x="3" y="0"/>
                  <a:pt x="6" y="3"/>
                  <a:pt x="6" y="6"/>
                </a:cubicBezTo>
                <a:cubicBezTo>
                  <a:pt x="6" y="88"/>
                  <a:pt x="6" y="88"/>
                  <a:pt x="6" y="88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0" name="Freeform 771">
            <a:extLst>
              <a:ext uri="{FF2B5EF4-FFF2-40B4-BE49-F238E27FC236}">
                <a16:creationId xmlns:a16="http://schemas.microsoft.com/office/drawing/2014/main" id="{A4443702-6045-46C5-90EA-7107FD85A239}"/>
              </a:ext>
            </a:extLst>
          </p:cNvPr>
          <p:cNvSpPr>
            <a:spLocks/>
          </p:cNvSpPr>
          <p:nvPr/>
        </p:nvSpPr>
        <p:spPr bwMode="auto">
          <a:xfrm>
            <a:off x="10919730" y="3525415"/>
            <a:ext cx="3757" cy="46333"/>
          </a:xfrm>
          <a:custGeom>
            <a:avLst/>
            <a:gdLst>
              <a:gd name="T0" fmla="*/ 5 w 6"/>
              <a:gd name="T1" fmla="*/ 88 h 88"/>
              <a:gd name="T2" fmla="*/ 0 w 6"/>
              <a:gd name="T3" fmla="*/ 88 h 88"/>
              <a:gd name="T4" fmla="*/ 0 w 6"/>
              <a:gd name="T5" fmla="*/ 6 h 88"/>
              <a:gd name="T6" fmla="*/ 6 w 6"/>
              <a:gd name="T7" fmla="*/ 0 h 88"/>
              <a:gd name="T8" fmla="*/ 6 w 6"/>
              <a:gd name="T9" fmla="*/ 5 h 88"/>
              <a:gd name="T10" fmla="*/ 5 w 6"/>
              <a:gd name="T11" fmla="*/ 6 h 88"/>
              <a:gd name="T12" fmla="*/ 5 w 6"/>
              <a:gd name="T13" fmla="*/ 8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88">
                <a:moveTo>
                  <a:pt x="5" y="88"/>
                </a:moveTo>
                <a:cubicBezTo>
                  <a:pt x="0" y="88"/>
                  <a:pt x="0" y="88"/>
                  <a:pt x="0" y="88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6" y="5"/>
                  <a:pt x="6" y="5"/>
                  <a:pt x="6" y="5"/>
                </a:cubicBezTo>
                <a:cubicBezTo>
                  <a:pt x="6" y="5"/>
                  <a:pt x="5" y="5"/>
                  <a:pt x="5" y="6"/>
                </a:cubicBezTo>
                <a:cubicBezTo>
                  <a:pt x="5" y="88"/>
                  <a:pt x="5" y="88"/>
                  <a:pt x="5" y="88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1" name="Freeform 772">
            <a:extLst>
              <a:ext uri="{FF2B5EF4-FFF2-40B4-BE49-F238E27FC236}">
                <a16:creationId xmlns:a16="http://schemas.microsoft.com/office/drawing/2014/main" id="{540C0B77-2EA9-4AAD-B4BB-1B92466812BD}"/>
              </a:ext>
            </a:extLst>
          </p:cNvPr>
          <p:cNvSpPr>
            <a:spLocks noEditPoints="1"/>
          </p:cNvSpPr>
          <p:nvPr/>
        </p:nvSpPr>
        <p:spPr bwMode="auto">
          <a:xfrm>
            <a:off x="10922234" y="3522911"/>
            <a:ext cx="7513" cy="7513"/>
          </a:xfrm>
          <a:custGeom>
            <a:avLst/>
            <a:gdLst>
              <a:gd name="T0" fmla="*/ 8 w 15"/>
              <a:gd name="T1" fmla="*/ 16 h 16"/>
              <a:gd name="T2" fmla="*/ 0 w 15"/>
              <a:gd name="T3" fmla="*/ 8 h 16"/>
              <a:gd name="T4" fmla="*/ 8 w 15"/>
              <a:gd name="T5" fmla="*/ 0 h 16"/>
              <a:gd name="T6" fmla="*/ 15 w 15"/>
              <a:gd name="T7" fmla="*/ 8 h 16"/>
              <a:gd name="T8" fmla="*/ 8 w 15"/>
              <a:gd name="T9" fmla="*/ 16 h 16"/>
              <a:gd name="T10" fmla="*/ 8 w 15"/>
              <a:gd name="T11" fmla="*/ 5 h 16"/>
              <a:gd name="T12" fmla="*/ 5 w 15"/>
              <a:gd name="T13" fmla="*/ 8 h 16"/>
              <a:gd name="T14" fmla="*/ 8 w 15"/>
              <a:gd name="T15" fmla="*/ 11 h 16"/>
              <a:gd name="T16" fmla="*/ 10 w 15"/>
              <a:gd name="T17" fmla="*/ 8 h 16"/>
              <a:gd name="T18" fmla="*/ 8 w 15"/>
              <a:gd name="T19" fmla="*/ 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6">
                <a:moveTo>
                  <a:pt x="8" y="16"/>
                </a:moveTo>
                <a:cubicBezTo>
                  <a:pt x="3" y="16"/>
                  <a:pt x="0" y="13"/>
                  <a:pt x="0" y="8"/>
                </a:cubicBezTo>
                <a:cubicBezTo>
                  <a:pt x="0" y="4"/>
                  <a:pt x="3" y="0"/>
                  <a:pt x="8" y="0"/>
                </a:cubicBezTo>
                <a:cubicBezTo>
                  <a:pt x="12" y="0"/>
                  <a:pt x="15" y="4"/>
                  <a:pt x="15" y="8"/>
                </a:cubicBezTo>
                <a:cubicBezTo>
                  <a:pt x="15" y="13"/>
                  <a:pt x="12" y="16"/>
                  <a:pt x="8" y="16"/>
                </a:cubicBezTo>
                <a:close/>
                <a:moveTo>
                  <a:pt x="8" y="5"/>
                </a:moveTo>
                <a:cubicBezTo>
                  <a:pt x="6" y="5"/>
                  <a:pt x="5" y="7"/>
                  <a:pt x="5" y="8"/>
                </a:cubicBezTo>
                <a:cubicBezTo>
                  <a:pt x="5" y="10"/>
                  <a:pt x="6" y="11"/>
                  <a:pt x="8" y="11"/>
                </a:cubicBezTo>
                <a:cubicBezTo>
                  <a:pt x="9" y="11"/>
                  <a:pt x="10" y="10"/>
                  <a:pt x="10" y="8"/>
                </a:cubicBezTo>
                <a:cubicBezTo>
                  <a:pt x="10" y="7"/>
                  <a:pt x="9" y="5"/>
                  <a:pt x="8" y="5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2" name="Freeform 773">
            <a:extLst>
              <a:ext uri="{FF2B5EF4-FFF2-40B4-BE49-F238E27FC236}">
                <a16:creationId xmlns:a16="http://schemas.microsoft.com/office/drawing/2014/main" id="{8A44F4E5-7979-4E44-AE55-53F00C7E9080}"/>
              </a:ext>
            </a:extLst>
          </p:cNvPr>
          <p:cNvSpPr>
            <a:spLocks noEditPoints="1"/>
          </p:cNvSpPr>
          <p:nvPr/>
        </p:nvSpPr>
        <p:spPr bwMode="auto">
          <a:xfrm>
            <a:off x="10927243" y="3522911"/>
            <a:ext cx="7513" cy="7513"/>
          </a:xfrm>
          <a:custGeom>
            <a:avLst/>
            <a:gdLst>
              <a:gd name="T0" fmla="*/ 8 w 16"/>
              <a:gd name="T1" fmla="*/ 16 h 16"/>
              <a:gd name="T2" fmla="*/ 0 w 16"/>
              <a:gd name="T3" fmla="*/ 8 h 16"/>
              <a:gd name="T4" fmla="*/ 8 w 16"/>
              <a:gd name="T5" fmla="*/ 0 h 16"/>
              <a:gd name="T6" fmla="*/ 16 w 16"/>
              <a:gd name="T7" fmla="*/ 8 h 16"/>
              <a:gd name="T8" fmla="*/ 8 w 16"/>
              <a:gd name="T9" fmla="*/ 16 h 16"/>
              <a:gd name="T10" fmla="*/ 8 w 16"/>
              <a:gd name="T11" fmla="*/ 5 h 16"/>
              <a:gd name="T12" fmla="*/ 5 w 16"/>
              <a:gd name="T13" fmla="*/ 8 h 16"/>
              <a:gd name="T14" fmla="*/ 8 w 16"/>
              <a:gd name="T15" fmla="*/ 11 h 16"/>
              <a:gd name="T16" fmla="*/ 11 w 16"/>
              <a:gd name="T17" fmla="*/ 8 h 16"/>
              <a:gd name="T18" fmla="*/ 8 w 16"/>
              <a:gd name="T19" fmla="*/ 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" h="16">
                <a:moveTo>
                  <a:pt x="8" y="16"/>
                </a:moveTo>
                <a:cubicBezTo>
                  <a:pt x="4" y="16"/>
                  <a:pt x="0" y="13"/>
                  <a:pt x="0" y="8"/>
                </a:cubicBezTo>
                <a:cubicBezTo>
                  <a:pt x="0" y="4"/>
                  <a:pt x="4" y="0"/>
                  <a:pt x="8" y="0"/>
                </a:cubicBezTo>
                <a:cubicBezTo>
                  <a:pt x="13" y="0"/>
                  <a:pt x="16" y="4"/>
                  <a:pt x="16" y="8"/>
                </a:cubicBezTo>
                <a:cubicBezTo>
                  <a:pt x="16" y="13"/>
                  <a:pt x="13" y="16"/>
                  <a:pt x="8" y="16"/>
                </a:cubicBezTo>
                <a:close/>
                <a:moveTo>
                  <a:pt x="8" y="5"/>
                </a:moveTo>
                <a:cubicBezTo>
                  <a:pt x="7" y="5"/>
                  <a:pt x="5" y="7"/>
                  <a:pt x="5" y="8"/>
                </a:cubicBezTo>
                <a:cubicBezTo>
                  <a:pt x="5" y="10"/>
                  <a:pt x="7" y="11"/>
                  <a:pt x="8" y="11"/>
                </a:cubicBezTo>
                <a:cubicBezTo>
                  <a:pt x="10" y="11"/>
                  <a:pt x="11" y="10"/>
                  <a:pt x="11" y="8"/>
                </a:cubicBezTo>
                <a:cubicBezTo>
                  <a:pt x="11" y="7"/>
                  <a:pt x="10" y="5"/>
                  <a:pt x="8" y="5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3" name="Freeform 774">
            <a:extLst>
              <a:ext uri="{FF2B5EF4-FFF2-40B4-BE49-F238E27FC236}">
                <a16:creationId xmlns:a16="http://schemas.microsoft.com/office/drawing/2014/main" id="{D75CCCAA-58D7-44E4-8EA8-DD4588CB315B}"/>
              </a:ext>
            </a:extLst>
          </p:cNvPr>
          <p:cNvSpPr>
            <a:spLocks/>
          </p:cNvSpPr>
          <p:nvPr/>
        </p:nvSpPr>
        <p:spPr bwMode="auto">
          <a:xfrm>
            <a:off x="10918478" y="3598045"/>
            <a:ext cx="20036" cy="8766"/>
          </a:xfrm>
          <a:custGeom>
            <a:avLst/>
            <a:gdLst>
              <a:gd name="T0" fmla="*/ 0 w 40"/>
              <a:gd name="T1" fmla="*/ 0 h 16"/>
              <a:gd name="T2" fmla="*/ 20 w 40"/>
              <a:gd name="T3" fmla="*/ 16 h 16"/>
              <a:gd name="T4" fmla="*/ 40 w 40"/>
              <a:gd name="T5" fmla="*/ 0 h 16"/>
              <a:gd name="T6" fmla="*/ 0 w 40"/>
              <a:gd name="T7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0" h="16">
                <a:moveTo>
                  <a:pt x="0" y="0"/>
                </a:moveTo>
                <a:cubicBezTo>
                  <a:pt x="2" y="9"/>
                  <a:pt x="10" y="16"/>
                  <a:pt x="20" y="16"/>
                </a:cubicBezTo>
                <a:cubicBezTo>
                  <a:pt x="29" y="16"/>
                  <a:pt x="38" y="9"/>
                  <a:pt x="4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4" name="Freeform 775">
            <a:extLst>
              <a:ext uri="{FF2B5EF4-FFF2-40B4-BE49-F238E27FC236}">
                <a16:creationId xmlns:a16="http://schemas.microsoft.com/office/drawing/2014/main" id="{69540995-8E06-4AC0-BC32-BCD640093471}"/>
              </a:ext>
            </a:extLst>
          </p:cNvPr>
          <p:cNvSpPr>
            <a:spLocks/>
          </p:cNvSpPr>
          <p:nvPr/>
        </p:nvSpPr>
        <p:spPr bwMode="auto">
          <a:xfrm>
            <a:off x="10904703" y="3571748"/>
            <a:ext cx="47585" cy="8766"/>
          </a:xfrm>
          <a:custGeom>
            <a:avLst/>
            <a:gdLst>
              <a:gd name="T0" fmla="*/ 83 w 92"/>
              <a:gd name="T1" fmla="*/ 0 h 18"/>
              <a:gd name="T2" fmla="*/ 9 w 92"/>
              <a:gd name="T3" fmla="*/ 0 h 18"/>
              <a:gd name="T4" fmla="*/ 0 w 92"/>
              <a:gd name="T5" fmla="*/ 9 h 18"/>
              <a:gd name="T6" fmla="*/ 9 w 92"/>
              <a:gd name="T7" fmla="*/ 18 h 18"/>
              <a:gd name="T8" fmla="*/ 83 w 92"/>
              <a:gd name="T9" fmla="*/ 18 h 18"/>
              <a:gd name="T10" fmla="*/ 92 w 92"/>
              <a:gd name="T11" fmla="*/ 9 h 18"/>
              <a:gd name="T12" fmla="*/ 83 w 92"/>
              <a:gd name="T1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2" h="18">
                <a:moveTo>
                  <a:pt x="83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4"/>
                  <a:pt x="4" y="18"/>
                  <a:pt x="9" y="18"/>
                </a:cubicBezTo>
                <a:cubicBezTo>
                  <a:pt x="83" y="18"/>
                  <a:pt x="83" y="18"/>
                  <a:pt x="83" y="18"/>
                </a:cubicBezTo>
                <a:cubicBezTo>
                  <a:pt x="88" y="18"/>
                  <a:pt x="92" y="14"/>
                  <a:pt x="92" y="9"/>
                </a:cubicBezTo>
                <a:cubicBezTo>
                  <a:pt x="92" y="4"/>
                  <a:pt x="88" y="0"/>
                  <a:pt x="83" y="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5" name="Freeform 776">
            <a:extLst>
              <a:ext uri="{FF2B5EF4-FFF2-40B4-BE49-F238E27FC236}">
                <a16:creationId xmlns:a16="http://schemas.microsoft.com/office/drawing/2014/main" id="{2F946D30-C213-4A90-8107-873AAC030E02}"/>
              </a:ext>
            </a:extLst>
          </p:cNvPr>
          <p:cNvSpPr>
            <a:spLocks/>
          </p:cNvSpPr>
          <p:nvPr/>
        </p:nvSpPr>
        <p:spPr bwMode="auto">
          <a:xfrm>
            <a:off x="10904703" y="3580514"/>
            <a:ext cx="47585" cy="8766"/>
          </a:xfrm>
          <a:custGeom>
            <a:avLst/>
            <a:gdLst>
              <a:gd name="T0" fmla="*/ 83 w 92"/>
              <a:gd name="T1" fmla="*/ 0 h 17"/>
              <a:gd name="T2" fmla="*/ 9 w 92"/>
              <a:gd name="T3" fmla="*/ 0 h 17"/>
              <a:gd name="T4" fmla="*/ 0 w 92"/>
              <a:gd name="T5" fmla="*/ 8 h 17"/>
              <a:gd name="T6" fmla="*/ 9 w 92"/>
              <a:gd name="T7" fmla="*/ 17 h 17"/>
              <a:gd name="T8" fmla="*/ 83 w 92"/>
              <a:gd name="T9" fmla="*/ 17 h 17"/>
              <a:gd name="T10" fmla="*/ 92 w 92"/>
              <a:gd name="T11" fmla="*/ 8 h 17"/>
              <a:gd name="T12" fmla="*/ 83 w 92"/>
              <a:gd name="T13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2" h="17">
                <a:moveTo>
                  <a:pt x="83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13"/>
                  <a:pt x="4" y="17"/>
                  <a:pt x="9" y="17"/>
                </a:cubicBezTo>
                <a:cubicBezTo>
                  <a:pt x="83" y="17"/>
                  <a:pt x="83" y="17"/>
                  <a:pt x="83" y="17"/>
                </a:cubicBezTo>
                <a:cubicBezTo>
                  <a:pt x="88" y="17"/>
                  <a:pt x="92" y="13"/>
                  <a:pt x="92" y="8"/>
                </a:cubicBezTo>
                <a:cubicBezTo>
                  <a:pt x="92" y="4"/>
                  <a:pt x="88" y="0"/>
                  <a:pt x="83" y="0"/>
                </a:cubicBez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6" name="Freeform 777">
            <a:extLst>
              <a:ext uri="{FF2B5EF4-FFF2-40B4-BE49-F238E27FC236}">
                <a16:creationId xmlns:a16="http://schemas.microsoft.com/office/drawing/2014/main" id="{CEF568BD-9B11-4B14-80E1-6898DD910776}"/>
              </a:ext>
            </a:extLst>
          </p:cNvPr>
          <p:cNvSpPr>
            <a:spLocks/>
          </p:cNvSpPr>
          <p:nvPr/>
        </p:nvSpPr>
        <p:spPr bwMode="auto">
          <a:xfrm>
            <a:off x="10904703" y="3589280"/>
            <a:ext cx="47585" cy="10018"/>
          </a:xfrm>
          <a:custGeom>
            <a:avLst/>
            <a:gdLst>
              <a:gd name="T0" fmla="*/ 83 w 92"/>
              <a:gd name="T1" fmla="*/ 0 h 18"/>
              <a:gd name="T2" fmla="*/ 9 w 92"/>
              <a:gd name="T3" fmla="*/ 0 h 18"/>
              <a:gd name="T4" fmla="*/ 0 w 92"/>
              <a:gd name="T5" fmla="*/ 9 h 18"/>
              <a:gd name="T6" fmla="*/ 9 w 92"/>
              <a:gd name="T7" fmla="*/ 18 h 18"/>
              <a:gd name="T8" fmla="*/ 83 w 92"/>
              <a:gd name="T9" fmla="*/ 18 h 18"/>
              <a:gd name="T10" fmla="*/ 92 w 92"/>
              <a:gd name="T11" fmla="*/ 9 h 18"/>
              <a:gd name="T12" fmla="*/ 83 w 92"/>
              <a:gd name="T1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2" h="18">
                <a:moveTo>
                  <a:pt x="83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4"/>
                  <a:pt x="4" y="18"/>
                  <a:pt x="9" y="18"/>
                </a:cubicBezTo>
                <a:cubicBezTo>
                  <a:pt x="83" y="18"/>
                  <a:pt x="83" y="18"/>
                  <a:pt x="83" y="18"/>
                </a:cubicBezTo>
                <a:cubicBezTo>
                  <a:pt x="88" y="18"/>
                  <a:pt x="92" y="14"/>
                  <a:pt x="92" y="9"/>
                </a:cubicBezTo>
                <a:cubicBezTo>
                  <a:pt x="92" y="4"/>
                  <a:pt x="88" y="0"/>
                  <a:pt x="83" y="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7" name="Freeform 778">
            <a:extLst>
              <a:ext uri="{FF2B5EF4-FFF2-40B4-BE49-F238E27FC236}">
                <a16:creationId xmlns:a16="http://schemas.microsoft.com/office/drawing/2014/main" id="{5D2196B8-C6FF-49E9-9F3D-956975A2EBD2}"/>
              </a:ext>
            </a:extLst>
          </p:cNvPr>
          <p:cNvSpPr>
            <a:spLocks/>
          </p:cNvSpPr>
          <p:nvPr/>
        </p:nvSpPr>
        <p:spPr bwMode="auto">
          <a:xfrm>
            <a:off x="11112574" y="3457795"/>
            <a:ext cx="102683" cy="113954"/>
          </a:xfrm>
          <a:custGeom>
            <a:avLst/>
            <a:gdLst>
              <a:gd name="T0" fmla="*/ 136 w 198"/>
              <a:gd name="T1" fmla="*/ 218 h 219"/>
              <a:gd name="T2" fmla="*/ 198 w 198"/>
              <a:gd name="T3" fmla="*/ 101 h 219"/>
              <a:gd name="T4" fmla="*/ 99 w 198"/>
              <a:gd name="T5" fmla="*/ 0 h 219"/>
              <a:gd name="T6" fmla="*/ 0 w 198"/>
              <a:gd name="T7" fmla="*/ 101 h 219"/>
              <a:gd name="T8" fmla="*/ 62 w 198"/>
              <a:gd name="T9" fmla="*/ 219 h 219"/>
              <a:gd name="T10" fmla="*/ 62 w 198"/>
              <a:gd name="T11" fmla="*/ 219 h 219"/>
              <a:gd name="T12" fmla="*/ 62 w 198"/>
              <a:gd name="T13" fmla="*/ 219 h 219"/>
              <a:gd name="T14" fmla="*/ 136 w 198"/>
              <a:gd name="T15" fmla="*/ 219 h 219"/>
              <a:gd name="T16" fmla="*/ 136 w 198"/>
              <a:gd name="T17" fmla="*/ 219 h 219"/>
              <a:gd name="T18" fmla="*/ 136 w 198"/>
              <a:gd name="T19" fmla="*/ 219 h 219"/>
              <a:gd name="T20" fmla="*/ 136 w 198"/>
              <a:gd name="T21" fmla="*/ 218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98" h="219">
                <a:moveTo>
                  <a:pt x="136" y="218"/>
                </a:moveTo>
                <a:cubicBezTo>
                  <a:pt x="138" y="184"/>
                  <a:pt x="198" y="163"/>
                  <a:pt x="198" y="101"/>
                </a:cubicBezTo>
                <a:cubicBezTo>
                  <a:pt x="198" y="33"/>
                  <a:pt x="150" y="0"/>
                  <a:pt x="99" y="0"/>
                </a:cubicBezTo>
                <a:cubicBezTo>
                  <a:pt x="47" y="0"/>
                  <a:pt x="0" y="33"/>
                  <a:pt x="0" y="101"/>
                </a:cubicBezTo>
                <a:cubicBezTo>
                  <a:pt x="0" y="164"/>
                  <a:pt x="62" y="185"/>
                  <a:pt x="62" y="219"/>
                </a:cubicBezTo>
                <a:cubicBezTo>
                  <a:pt x="62" y="219"/>
                  <a:pt x="62" y="219"/>
                  <a:pt x="62" y="219"/>
                </a:cubicBezTo>
                <a:cubicBezTo>
                  <a:pt x="62" y="219"/>
                  <a:pt x="62" y="219"/>
                  <a:pt x="62" y="219"/>
                </a:cubicBezTo>
                <a:cubicBezTo>
                  <a:pt x="67" y="219"/>
                  <a:pt x="131" y="219"/>
                  <a:pt x="136" y="219"/>
                </a:cubicBezTo>
                <a:cubicBezTo>
                  <a:pt x="136" y="219"/>
                  <a:pt x="136" y="219"/>
                  <a:pt x="136" y="219"/>
                </a:cubicBezTo>
                <a:cubicBezTo>
                  <a:pt x="136" y="219"/>
                  <a:pt x="136" y="219"/>
                  <a:pt x="136" y="219"/>
                </a:cubicBezTo>
                <a:cubicBezTo>
                  <a:pt x="136" y="219"/>
                  <a:pt x="136" y="218"/>
                  <a:pt x="136" y="21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8" name="Freeform 779">
            <a:extLst>
              <a:ext uri="{FF2B5EF4-FFF2-40B4-BE49-F238E27FC236}">
                <a16:creationId xmlns:a16="http://schemas.microsoft.com/office/drawing/2014/main" id="{7CDCEB02-FCCE-4328-A146-9950253BF0F2}"/>
              </a:ext>
            </a:extLst>
          </p:cNvPr>
          <p:cNvSpPr>
            <a:spLocks/>
          </p:cNvSpPr>
          <p:nvPr/>
        </p:nvSpPr>
        <p:spPr bwMode="auto">
          <a:xfrm>
            <a:off x="11168925" y="3525415"/>
            <a:ext cx="3757" cy="46333"/>
          </a:xfrm>
          <a:custGeom>
            <a:avLst/>
            <a:gdLst>
              <a:gd name="T0" fmla="*/ 7 w 7"/>
              <a:gd name="T1" fmla="*/ 88 h 88"/>
              <a:gd name="T2" fmla="*/ 2 w 7"/>
              <a:gd name="T3" fmla="*/ 88 h 88"/>
              <a:gd name="T4" fmla="*/ 2 w 7"/>
              <a:gd name="T5" fmla="*/ 6 h 88"/>
              <a:gd name="T6" fmla="*/ 0 w 7"/>
              <a:gd name="T7" fmla="*/ 5 h 88"/>
              <a:gd name="T8" fmla="*/ 0 w 7"/>
              <a:gd name="T9" fmla="*/ 0 h 88"/>
              <a:gd name="T10" fmla="*/ 7 w 7"/>
              <a:gd name="T11" fmla="*/ 6 h 88"/>
              <a:gd name="T12" fmla="*/ 7 w 7"/>
              <a:gd name="T13" fmla="*/ 8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" h="88">
                <a:moveTo>
                  <a:pt x="7" y="88"/>
                </a:moveTo>
                <a:cubicBezTo>
                  <a:pt x="2" y="88"/>
                  <a:pt x="2" y="88"/>
                  <a:pt x="2" y="88"/>
                </a:cubicBezTo>
                <a:cubicBezTo>
                  <a:pt x="2" y="6"/>
                  <a:pt x="2" y="6"/>
                  <a:pt x="2" y="6"/>
                </a:cubicBezTo>
                <a:cubicBezTo>
                  <a:pt x="2" y="5"/>
                  <a:pt x="1" y="5"/>
                  <a:pt x="0" y="5"/>
                </a:cubicBezTo>
                <a:cubicBezTo>
                  <a:pt x="0" y="0"/>
                  <a:pt x="0" y="0"/>
                  <a:pt x="0" y="0"/>
                </a:cubicBezTo>
                <a:cubicBezTo>
                  <a:pt x="4" y="0"/>
                  <a:pt x="7" y="3"/>
                  <a:pt x="7" y="6"/>
                </a:cubicBezTo>
                <a:cubicBezTo>
                  <a:pt x="7" y="88"/>
                  <a:pt x="7" y="88"/>
                  <a:pt x="7" y="88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9" name="Freeform 780">
            <a:extLst>
              <a:ext uri="{FF2B5EF4-FFF2-40B4-BE49-F238E27FC236}">
                <a16:creationId xmlns:a16="http://schemas.microsoft.com/office/drawing/2014/main" id="{F72319F4-2D77-4CAA-8496-C15A7061BBC1}"/>
              </a:ext>
            </a:extLst>
          </p:cNvPr>
          <p:cNvSpPr>
            <a:spLocks/>
          </p:cNvSpPr>
          <p:nvPr/>
        </p:nvSpPr>
        <p:spPr bwMode="auto">
          <a:xfrm>
            <a:off x="11155150" y="3525415"/>
            <a:ext cx="2504" cy="46333"/>
          </a:xfrm>
          <a:custGeom>
            <a:avLst/>
            <a:gdLst>
              <a:gd name="T0" fmla="*/ 5 w 6"/>
              <a:gd name="T1" fmla="*/ 88 h 88"/>
              <a:gd name="T2" fmla="*/ 0 w 6"/>
              <a:gd name="T3" fmla="*/ 88 h 88"/>
              <a:gd name="T4" fmla="*/ 0 w 6"/>
              <a:gd name="T5" fmla="*/ 6 h 88"/>
              <a:gd name="T6" fmla="*/ 6 w 6"/>
              <a:gd name="T7" fmla="*/ 0 h 88"/>
              <a:gd name="T8" fmla="*/ 6 w 6"/>
              <a:gd name="T9" fmla="*/ 5 h 88"/>
              <a:gd name="T10" fmla="*/ 5 w 6"/>
              <a:gd name="T11" fmla="*/ 6 h 88"/>
              <a:gd name="T12" fmla="*/ 5 w 6"/>
              <a:gd name="T13" fmla="*/ 8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88">
                <a:moveTo>
                  <a:pt x="5" y="88"/>
                </a:moveTo>
                <a:cubicBezTo>
                  <a:pt x="0" y="88"/>
                  <a:pt x="0" y="88"/>
                  <a:pt x="0" y="88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6" y="5"/>
                  <a:pt x="6" y="5"/>
                  <a:pt x="6" y="5"/>
                </a:cubicBezTo>
                <a:cubicBezTo>
                  <a:pt x="5" y="5"/>
                  <a:pt x="5" y="5"/>
                  <a:pt x="5" y="6"/>
                </a:cubicBezTo>
                <a:cubicBezTo>
                  <a:pt x="5" y="88"/>
                  <a:pt x="5" y="88"/>
                  <a:pt x="5" y="88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0" name="Freeform 781">
            <a:extLst>
              <a:ext uri="{FF2B5EF4-FFF2-40B4-BE49-F238E27FC236}">
                <a16:creationId xmlns:a16="http://schemas.microsoft.com/office/drawing/2014/main" id="{A2AF9AE0-D9A8-47C4-A9CF-CEF37839C68E}"/>
              </a:ext>
            </a:extLst>
          </p:cNvPr>
          <p:cNvSpPr>
            <a:spLocks noEditPoints="1"/>
          </p:cNvSpPr>
          <p:nvPr/>
        </p:nvSpPr>
        <p:spPr bwMode="auto">
          <a:xfrm>
            <a:off x="11156402" y="3522911"/>
            <a:ext cx="8766" cy="7513"/>
          </a:xfrm>
          <a:custGeom>
            <a:avLst/>
            <a:gdLst>
              <a:gd name="T0" fmla="*/ 7 w 15"/>
              <a:gd name="T1" fmla="*/ 16 h 16"/>
              <a:gd name="T2" fmla="*/ 0 w 15"/>
              <a:gd name="T3" fmla="*/ 8 h 16"/>
              <a:gd name="T4" fmla="*/ 7 w 15"/>
              <a:gd name="T5" fmla="*/ 0 h 16"/>
              <a:gd name="T6" fmla="*/ 15 w 15"/>
              <a:gd name="T7" fmla="*/ 8 h 16"/>
              <a:gd name="T8" fmla="*/ 7 w 15"/>
              <a:gd name="T9" fmla="*/ 16 h 16"/>
              <a:gd name="T10" fmla="*/ 7 w 15"/>
              <a:gd name="T11" fmla="*/ 5 h 16"/>
              <a:gd name="T12" fmla="*/ 5 w 15"/>
              <a:gd name="T13" fmla="*/ 8 h 16"/>
              <a:gd name="T14" fmla="*/ 7 w 15"/>
              <a:gd name="T15" fmla="*/ 11 h 16"/>
              <a:gd name="T16" fmla="*/ 10 w 15"/>
              <a:gd name="T17" fmla="*/ 8 h 16"/>
              <a:gd name="T18" fmla="*/ 7 w 15"/>
              <a:gd name="T19" fmla="*/ 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6">
                <a:moveTo>
                  <a:pt x="7" y="16"/>
                </a:moveTo>
                <a:cubicBezTo>
                  <a:pt x="3" y="16"/>
                  <a:pt x="0" y="13"/>
                  <a:pt x="0" y="8"/>
                </a:cubicBezTo>
                <a:cubicBezTo>
                  <a:pt x="0" y="4"/>
                  <a:pt x="3" y="0"/>
                  <a:pt x="7" y="0"/>
                </a:cubicBezTo>
                <a:cubicBezTo>
                  <a:pt x="12" y="0"/>
                  <a:pt x="15" y="4"/>
                  <a:pt x="15" y="8"/>
                </a:cubicBezTo>
                <a:cubicBezTo>
                  <a:pt x="15" y="13"/>
                  <a:pt x="12" y="16"/>
                  <a:pt x="7" y="16"/>
                </a:cubicBezTo>
                <a:close/>
                <a:moveTo>
                  <a:pt x="7" y="5"/>
                </a:moveTo>
                <a:cubicBezTo>
                  <a:pt x="6" y="5"/>
                  <a:pt x="5" y="7"/>
                  <a:pt x="5" y="8"/>
                </a:cubicBezTo>
                <a:cubicBezTo>
                  <a:pt x="5" y="10"/>
                  <a:pt x="6" y="11"/>
                  <a:pt x="7" y="11"/>
                </a:cubicBezTo>
                <a:cubicBezTo>
                  <a:pt x="9" y="11"/>
                  <a:pt x="10" y="10"/>
                  <a:pt x="10" y="8"/>
                </a:cubicBezTo>
                <a:cubicBezTo>
                  <a:pt x="10" y="7"/>
                  <a:pt x="9" y="5"/>
                  <a:pt x="7" y="5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1" name="Freeform 782">
            <a:extLst>
              <a:ext uri="{FF2B5EF4-FFF2-40B4-BE49-F238E27FC236}">
                <a16:creationId xmlns:a16="http://schemas.microsoft.com/office/drawing/2014/main" id="{FD998B92-54E3-4BC4-B904-DB7E425446B3}"/>
              </a:ext>
            </a:extLst>
          </p:cNvPr>
          <p:cNvSpPr>
            <a:spLocks noEditPoints="1"/>
          </p:cNvSpPr>
          <p:nvPr/>
        </p:nvSpPr>
        <p:spPr bwMode="auto">
          <a:xfrm>
            <a:off x="11161411" y="3522911"/>
            <a:ext cx="8766" cy="7513"/>
          </a:xfrm>
          <a:custGeom>
            <a:avLst/>
            <a:gdLst>
              <a:gd name="T0" fmla="*/ 8 w 16"/>
              <a:gd name="T1" fmla="*/ 16 h 16"/>
              <a:gd name="T2" fmla="*/ 0 w 16"/>
              <a:gd name="T3" fmla="*/ 8 h 16"/>
              <a:gd name="T4" fmla="*/ 8 w 16"/>
              <a:gd name="T5" fmla="*/ 0 h 16"/>
              <a:gd name="T6" fmla="*/ 16 w 16"/>
              <a:gd name="T7" fmla="*/ 8 h 16"/>
              <a:gd name="T8" fmla="*/ 8 w 16"/>
              <a:gd name="T9" fmla="*/ 16 h 16"/>
              <a:gd name="T10" fmla="*/ 8 w 16"/>
              <a:gd name="T11" fmla="*/ 5 h 16"/>
              <a:gd name="T12" fmla="*/ 5 w 16"/>
              <a:gd name="T13" fmla="*/ 8 h 16"/>
              <a:gd name="T14" fmla="*/ 8 w 16"/>
              <a:gd name="T15" fmla="*/ 11 h 16"/>
              <a:gd name="T16" fmla="*/ 11 w 16"/>
              <a:gd name="T17" fmla="*/ 8 h 16"/>
              <a:gd name="T18" fmla="*/ 8 w 16"/>
              <a:gd name="T19" fmla="*/ 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" h="16">
                <a:moveTo>
                  <a:pt x="8" y="16"/>
                </a:moveTo>
                <a:cubicBezTo>
                  <a:pt x="4" y="16"/>
                  <a:pt x="0" y="13"/>
                  <a:pt x="0" y="8"/>
                </a:cubicBezTo>
                <a:cubicBezTo>
                  <a:pt x="0" y="4"/>
                  <a:pt x="4" y="0"/>
                  <a:pt x="8" y="0"/>
                </a:cubicBezTo>
                <a:cubicBezTo>
                  <a:pt x="12" y="0"/>
                  <a:pt x="16" y="4"/>
                  <a:pt x="16" y="8"/>
                </a:cubicBezTo>
                <a:cubicBezTo>
                  <a:pt x="16" y="13"/>
                  <a:pt x="12" y="16"/>
                  <a:pt x="8" y="16"/>
                </a:cubicBezTo>
                <a:close/>
                <a:moveTo>
                  <a:pt x="8" y="5"/>
                </a:moveTo>
                <a:cubicBezTo>
                  <a:pt x="7" y="5"/>
                  <a:pt x="5" y="7"/>
                  <a:pt x="5" y="8"/>
                </a:cubicBezTo>
                <a:cubicBezTo>
                  <a:pt x="5" y="10"/>
                  <a:pt x="7" y="11"/>
                  <a:pt x="8" y="11"/>
                </a:cubicBezTo>
                <a:cubicBezTo>
                  <a:pt x="10" y="11"/>
                  <a:pt x="11" y="10"/>
                  <a:pt x="11" y="8"/>
                </a:cubicBezTo>
                <a:cubicBezTo>
                  <a:pt x="11" y="7"/>
                  <a:pt x="10" y="5"/>
                  <a:pt x="8" y="5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2" name="Freeform 783">
            <a:extLst>
              <a:ext uri="{FF2B5EF4-FFF2-40B4-BE49-F238E27FC236}">
                <a16:creationId xmlns:a16="http://schemas.microsoft.com/office/drawing/2014/main" id="{E747C8DE-9F2F-42F2-A2E8-8B234EAE4D2D}"/>
              </a:ext>
            </a:extLst>
          </p:cNvPr>
          <p:cNvSpPr>
            <a:spLocks/>
          </p:cNvSpPr>
          <p:nvPr/>
        </p:nvSpPr>
        <p:spPr bwMode="auto">
          <a:xfrm>
            <a:off x="11152645" y="3598045"/>
            <a:ext cx="21288" cy="8766"/>
          </a:xfrm>
          <a:custGeom>
            <a:avLst/>
            <a:gdLst>
              <a:gd name="T0" fmla="*/ 0 w 40"/>
              <a:gd name="T1" fmla="*/ 0 h 16"/>
              <a:gd name="T2" fmla="*/ 20 w 40"/>
              <a:gd name="T3" fmla="*/ 16 h 16"/>
              <a:gd name="T4" fmla="*/ 40 w 40"/>
              <a:gd name="T5" fmla="*/ 0 h 16"/>
              <a:gd name="T6" fmla="*/ 0 w 40"/>
              <a:gd name="T7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0" h="16">
                <a:moveTo>
                  <a:pt x="0" y="0"/>
                </a:moveTo>
                <a:cubicBezTo>
                  <a:pt x="2" y="9"/>
                  <a:pt x="10" y="16"/>
                  <a:pt x="20" y="16"/>
                </a:cubicBezTo>
                <a:cubicBezTo>
                  <a:pt x="29" y="16"/>
                  <a:pt x="37" y="9"/>
                  <a:pt x="4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3" name="Freeform 784">
            <a:extLst>
              <a:ext uri="{FF2B5EF4-FFF2-40B4-BE49-F238E27FC236}">
                <a16:creationId xmlns:a16="http://schemas.microsoft.com/office/drawing/2014/main" id="{4F3F6B14-423B-4B51-9DCF-4095AD56F154}"/>
              </a:ext>
            </a:extLst>
          </p:cNvPr>
          <p:cNvSpPr>
            <a:spLocks/>
          </p:cNvSpPr>
          <p:nvPr/>
        </p:nvSpPr>
        <p:spPr bwMode="auto">
          <a:xfrm>
            <a:off x="11140123" y="3571748"/>
            <a:ext cx="46333" cy="8766"/>
          </a:xfrm>
          <a:custGeom>
            <a:avLst/>
            <a:gdLst>
              <a:gd name="T0" fmla="*/ 83 w 91"/>
              <a:gd name="T1" fmla="*/ 0 h 18"/>
              <a:gd name="T2" fmla="*/ 9 w 91"/>
              <a:gd name="T3" fmla="*/ 0 h 18"/>
              <a:gd name="T4" fmla="*/ 0 w 91"/>
              <a:gd name="T5" fmla="*/ 9 h 18"/>
              <a:gd name="T6" fmla="*/ 9 w 91"/>
              <a:gd name="T7" fmla="*/ 18 h 18"/>
              <a:gd name="T8" fmla="*/ 83 w 91"/>
              <a:gd name="T9" fmla="*/ 18 h 18"/>
              <a:gd name="T10" fmla="*/ 91 w 91"/>
              <a:gd name="T11" fmla="*/ 9 h 18"/>
              <a:gd name="T12" fmla="*/ 83 w 91"/>
              <a:gd name="T1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1" h="18">
                <a:moveTo>
                  <a:pt x="83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4"/>
                  <a:pt x="4" y="18"/>
                  <a:pt x="9" y="18"/>
                </a:cubicBezTo>
                <a:cubicBezTo>
                  <a:pt x="83" y="18"/>
                  <a:pt x="83" y="18"/>
                  <a:pt x="83" y="18"/>
                </a:cubicBezTo>
                <a:cubicBezTo>
                  <a:pt x="87" y="18"/>
                  <a:pt x="91" y="14"/>
                  <a:pt x="91" y="9"/>
                </a:cubicBezTo>
                <a:cubicBezTo>
                  <a:pt x="91" y="4"/>
                  <a:pt x="87" y="0"/>
                  <a:pt x="83" y="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4" name="Freeform 785">
            <a:extLst>
              <a:ext uri="{FF2B5EF4-FFF2-40B4-BE49-F238E27FC236}">
                <a16:creationId xmlns:a16="http://schemas.microsoft.com/office/drawing/2014/main" id="{36BFB19C-39F2-4A63-AABC-AB1F03CE9B61}"/>
              </a:ext>
            </a:extLst>
          </p:cNvPr>
          <p:cNvSpPr>
            <a:spLocks/>
          </p:cNvSpPr>
          <p:nvPr/>
        </p:nvSpPr>
        <p:spPr bwMode="auto">
          <a:xfrm>
            <a:off x="11140123" y="3580514"/>
            <a:ext cx="46333" cy="8766"/>
          </a:xfrm>
          <a:custGeom>
            <a:avLst/>
            <a:gdLst>
              <a:gd name="T0" fmla="*/ 83 w 91"/>
              <a:gd name="T1" fmla="*/ 0 h 17"/>
              <a:gd name="T2" fmla="*/ 9 w 91"/>
              <a:gd name="T3" fmla="*/ 0 h 17"/>
              <a:gd name="T4" fmla="*/ 0 w 91"/>
              <a:gd name="T5" fmla="*/ 8 h 17"/>
              <a:gd name="T6" fmla="*/ 9 w 91"/>
              <a:gd name="T7" fmla="*/ 17 h 17"/>
              <a:gd name="T8" fmla="*/ 83 w 91"/>
              <a:gd name="T9" fmla="*/ 17 h 17"/>
              <a:gd name="T10" fmla="*/ 91 w 91"/>
              <a:gd name="T11" fmla="*/ 8 h 17"/>
              <a:gd name="T12" fmla="*/ 83 w 91"/>
              <a:gd name="T13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1" h="17">
                <a:moveTo>
                  <a:pt x="83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13"/>
                  <a:pt x="4" y="17"/>
                  <a:pt x="9" y="17"/>
                </a:cubicBezTo>
                <a:cubicBezTo>
                  <a:pt x="83" y="17"/>
                  <a:pt x="83" y="17"/>
                  <a:pt x="83" y="17"/>
                </a:cubicBezTo>
                <a:cubicBezTo>
                  <a:pt x="87" y="17"/>
                  <a:pt x="91" y="13"/>
                  <a:pt x="91" y="8"/>
                </a:cubicBezTo>
                <a:cubicBezTo>
                  <a:pt x="91" y="4"/>
                  <a:pt x="87" y="0"/>
                  <a:pt x="83" y="0"/>
                </a:cubicBez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5" name="Freeform 786">
            <a:extLst>
              <a:ext uri="{FF2B5EF4-FFF2-40B4-BE49-F238E27FC236}">
                <a16:creationId xmlns:a16="http://schemas.microsoft.com/office/drawing/2014/main" id="{E03893B0-0307-4872-B2EC-147AF06E9823}"/>
              </a:ext>
            </a:extLst>
          </p:cNvPr>
          <p:cNvSpPr>
            <a:spLocks/>
          </p:cNvSpPr>
          <p:nvPr/>
        </p:nvSpPr>
        <p:spPr bwMode="auto">
          <a:xfrm>
            <a:off x="11140123" y="3589280"/>
            <a:ext cx="46333" cy="10018"/>
          </a:xfrm>
          <a:custGeom>
            <a:avLst/>
            <a:gdLst>
              <a:gd name="T0" fmla="*/ 83 w 91"/>
              <a:gd name="T1" fmla="*/ 0 h 18"/>
              <a:gd name="T2" fmla="*/ 9 w 91"/>
              <a:gd name="T3" fmla="*/ 0 h 18"/>
              <a:gd name="T4" fmla="*/ 0 w 91"/>
              <a:gd name="T5" fmla="*/ 9 h 18"/>
              <a:gd name="T6" fmla="*/ 9 w 91"/>
              <a:gd name="T7" fmla="*/ 18 h 18"/>
              <a:gd name="T8" fmla="*/ 83 w 91"/>
              <a:gd name="T9" fmla="*/ 18 h 18"/>
              <a:gd name="T10" fmla="*/ 91 w 91"/>
              <a:gd name="T11" fmla="*/ 9 h 18"/>
              <a:gd name="T12" fmla="*/ 83 w 91"/>
              <a:gd name="T1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1" h="18">
                <a:moveTo>
                  <a:pt x="83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4"/>
                  <a:pt x="4" y="18"/>
                  <a:pt x="9" y="18"/>
                </a:cubicBezTo>
                <a:cubicBezTo>
                  <a:pt x="83" y="18"/>
                  <a:pt x="83" y="18"/>
                  <a:pt x="83" y="18"/>
                </a:cubicBezTo>
                <a:cubicBezTo>
                  <a:pt x="87" y="18"/>
                  <a:pt x="91" y="14"/>
                  <a:pt x="91" y="9"/>
                </a:cubicBezTo>
                <a:cubicBezTo>
                  <a:pt x="91" y="4"/>
                  <a:pt x="87" y="0"/>
                  <a:pt x="83" y="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6" name="Freeform 787">
            <a:extLst>
              <a:ext uri="{FF2B5EF4-FFF2-40B4-BE49-F238E27FC236}">
                <a16:creationId xmlns:a16="http://schemas.microsoft.com/office/drawing/2014/main" id="{C325361E-374C-4D38-8106-45BE39E8D2FA}"/>
              </a:ext>
            </a:extLst>
          </p:cNvPr>
          <p:cNvSpPr>
            <a:spLocks/>
          </p:cNvSpPr>
          <p:nvPr/>
        </p:nvSpPr>
        <p:spPr bwMode="auto">
          <a:xfrm>
            <a:off x="11346742" y="3457795"/>
            <a:ext cx="102683" cy="113954"/>
          </a:xfrm>
          <a:custGeom>
            <a:avLst/>
            <a:gdLst>
              <a:gd name="T0" fmla="*/ 136 w 199"/>
              <a:gd name="T1" fmla="*/ 218 h 219"/>
              <a:gd name="T2" fmla="*/ 199 w 199"/>
              <a:gd name="T3" fmla="*/ 101 h 219"/>
              <a:gd name="T4" fmla="*/ 99 w 199"/>
              <a:gd name="T5" fmla="*/ 0 h 219"/>
              <a:gd name="T6" fmla="*/ 0 w 199"/>
              <a:gd name="T7" fmla="*/ 101 h 219"/>
              <a:gd name="T8" fmla="*/ 63 w 199"/>
              <a:gd name="T9" fmla="*/ 219 h 219"/>
              <a:gd name="T10" fmla="*/ 63 w 199"/>
              <a:gd name="T11" fmla="*/ 219 h 219"/>
              <a:gd name="T12" fmla="*/ 63 w 199"/>
              <a:gd name="T13" fmla="*/ 219 h 219"/>
              <a:gd name="T14" fmla="*/ 136 w 199"/>
              <a:gd name="T15" fmla="*/ 219 h 219"/>
              <a:gd name="T16" fmla="*/ 136 w 199"/>
              <a:gd name="T17" fmla="*/ 219 h 219"/>
              <a:gd name="T18" fmla="*/ 136 w 199"/>
              <a:gd name="T19" fmla="*/ 219 h 219"/>
              <a:gd name="T20" fmla="*/ 136 w 199"/>
              <a:gd name="T21" fmla="*/ 218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99" h="219">
                <a:moveTo>
                  <a:pt x="136" y="218"/>
                </a:moveTo>
                <a:cubicBezTo>
                  <a:pt x="138" y="184"/>
                  <a:pt x="199" y="163"/>
                  <a:pt x="199" y="101"/>
                </a:cubicBezTo>
                <a:cubicBezTo>
                  <a:pt x="199" y="33"/>
                  <a:pt x="151" y="0"/>
                  <a:pt x="99" y="0"/>
                </a:cubicBezTo>
                <a:cubicBezTo>
                  <a:pt x="48" y="0"/>
                  <a:pt x="0" y="33"/>
                  <a:pt x="0" y="101"/>
                </a:cubicBezTo>
                <a:cubicBezTo>
                  <a:pt x="0" y="164"/>
                  <a:pt x="63" y="185"/>
                  <a:pt x="63" y="219"/>
                </a:cubicBezTo>
                <a:cubicBezTo>
                  <a:pt x="63" y="219"/>
                  <a:pt x="63" y="219"/>
                  <a:pt x="63" y="219"/>
                </a:cubicBezTo>
                <a:cubicBezTo>
                  <a:pt x="63" y="219"/>
                  <a:pt x="63" y="219"/>
                  <a:pt x="63" y="219"/>
                </a:cubicBezTo>
                <a:cubicBezTo>
                  <a:pt x="67" y="219"/>
                  <a:pt x="132" y="219"/>
                  <a:pt x="136" y="219"/>
                </a:cubicBezTo>
                <a:cubicBezTo>
                  <a:pt x="136" y="219"/>
                  <a:pt x="136" y="219"/>
                  <a:pt x="136" y="219"/>
                </a:cubicBezTo>
                <a:cubicBezTo>
                  <a:pt x="136" y="219"/>
                  <a:pt x="136" y="219"/>
                  <a:pt x="136" y="219"/>
                </a:cubicBezTo>
                <a:cubicBezTo>
                  <a:pt x="136" y="219"/>
                  <a:pt x="136" y="218"/>
                  <a:pt x="136" y="21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7" name="Freeform 788">
            <a:extLst>
              <a:ext uri="{FF2B5EF4-FFF2-40B4-BE49-F238E27FC236}">
                <a16:creationId xmlns:a16="http://schemas.microsoft.com/office/drawing/2014/main" id="{B35C63F6-7247-48FE-9C99-ACDB104AFF1B}"/>
              </a:ext>
            </a:extLst>
          </p:cNvPr>
          <p:cNvSpPr>
            <a:spLocks/>
          </p:cNvSpPr>
          <p:nvPr/>
        </p:nvSpPr>
        <p:spPr bwMode="auto">
          <a:xfrm>
            <a:off x="11403092" y="3525415"/>
            <a:ext cx="3757" cy="46333"/>
          </a:xfrm>
          <a:custGeom>
            <a:avLst/>
            <a:gdLst>
              <a:gd name="T0" fmla="*/ 7 w 7"/>
              <a:gd name="T1" fmla="*/ 88 h 88"/>
              <a:gd name="T2" fmla="*/ 2 w 7"/>
              <a:gd name="T3" fmla="*/ 88 h 88"/>
              <a:gd name="T4" fmla="*/ 2 w 7"/>
              <a:gd name="T5" fmla="*/ 6 h 88"/>
              <a:gd name="T6" fmla="*/ 0 w 7"/>
              <a:gd name="T7" fmla="*/ 5 h 88"/>
              <a:gd name="T8" fmla="*/ 0 w 7"/>
              <a:gd name="T9" fmla="*/ 0 h 88"/>
              <a:gd name="T10" fmla="*/ 7 w 7"/>
              <a:gd name="T11" fmla="*/ 6 h 88"/>
              <a:gd name="T12" fmla="*/ 7 w 7"/>
              <a:gd name="T13" fmla="*/ 8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" h="88">
                <a:moveTo>
                  <a:pt x="7" y="88"/>
                </a:moveTo>
                <a:cubicBezTo>
                  <a:pt x="2" y="88"/>
                  <a:pt x="2" y="88"/>
                  <a:pt x="2" y="88"/>
                </a:cubicBezTo>
                <a:cubicBezTo>
                  <a:pt x="2" y="6"/>
                  <a:pt x="2" y="6"/>
                  <a:pt x="2" y="6"/>
                </a:cubicBezTo>
                <a:cubicBezTo>
                  <a:pt x="2" y="5"/>
                  <a:pt x="1" y="5"/>
                  <a:pt x="0" y="5"/>
                </a:cubicBezTo>
                <a:cubicBezTo>
                  <a:pt x="0" y="0"/>
                  <a:pt x="0" y="0"/>
                  <a:pt x="0" y="0"/>
                </a:cubicBezTo>
                <a:cubicBezTo>
                  <a:pt x="4" y="0"/>
                  <a:pt x="7" y="3"/>
                  <a:pt x="7" y="6"/>
                </a:cubicBezTo>
                <a:cubicBezTo>
                  <a:pt x="7" y="88"/>
                  <a:pt x="7" y="88"/>
                  <a:pt x="7" y="88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8" name="Freeform 789">
            <a:extLst>
              <a:ext uri="{FF2B5EF4-FFF2-40B4-BE49-F238E27FC236}">
                <a16:creationId xmlns:a16="http://schemas.microsoft.com/office/drawing/2014/main" id="{5FCC851D-0747-4810-9FED-8ACC05FDCA45}"/>
              </a:ext>
            </a:extLst>
          </p:cNvPr>
          <p:cNvSpPr>
            <a:spLocks/>
          </p:cNvSpPr>
          <p:nvPr/>
        </p:nvSpPr>
        <p:spPr bwMode="auto">
          <a:xfrm>
            <a:off x="11389318" y="3525415"/>
            <a:ext cx="3757" cy="46333"/>
          </a:xfrm>
          <a:custGeom>
            <a:avLst/>
            <a:gdLst>
              <a:gd name="T0" fmla="*/ 5 w 6"/>
              <a:gd name="T1" fmla="*/ 88 h 88"/>
              <a:gd name="T2" fmla="*/ 0 w 6"/>
              <a:gd name="T3" fmla="*/ 88 h 88"/>
              <a:gd name="T4" fmla="*/ 0 w 6"/>
              <a:gd name="T5" fmla="*/ 6 h 88"/>
              <a:gd name="T6" fmla="*/ 6 w 6"/>
              <a:gd name="T7" fmla="*/ 0 h 88"/>
              <a:gd name="T8" fmla="*/ 6 w 6"/>
              <a:gd name="T9" fmla="*/ 5 h 88"/>
              <a:gd name="T10" fmla="*/ 5 w 6"/>
              <a:gd name="T11" fmla="*/ 6 h 88"/>
              <a:gd name="T12" fmla="*/ 5 w 6"/>
              <a:gd name="T13" fmla="*/ 8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88">
                <a:moveTo>
                  <a:pt x="5" y="88"/>
                </a:moveTo>
                <a:cubicBezTo>
                  <a:pt x="0" y="88"/>
                  <a:pt x="0" y="88"/>
                  <a:pt x="0" y="88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6" y="5"/>
                  <a:pt x="6" y="5"/>
                  <a:pt x="6" y="5"/>
                </a:cubicBezTo>
                <a:cubicBezTo>
                  <a:pt x="5" y="5"/>
                  <a:pt x="5" y="5"/>
                  <a:pt x="5" y="6"/>
                </a:cubicBezTo>
                <a:cubicBezTo>
                  <a:pt x="5" y="88"/>
                  <a:pt x="5" y="88"/>
                  <a:pt x="5" y="88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9" name="Freeform 790">
            <a:extLst>
              <a:ext uri="{FF2B5EF4-FFF2-40B4-BE49-F238E27FC236}">
                <a16:creationId xmlns:a16="http://schemas.microsoft.com/office/drawing/2014/main" id="{1FA9C6C5-08E1-49EE-BDD6-F26428A4336F}"/>
              </a:ext>
            </a:extLst>
          </p:cNvPr>
          <p:cNvSpPr>
            <a:spLocks noEditPoints="1"/>
          </p:cNvSpPr>
          <p:nvPr/>
        </p:nvSpPr>
        <p:spPr bwMode="auto">
          <a:xfrm>
            <a:off x="11390570" y="3522911"/>
            <a:ext cx="8766" cy="7513"/>
          </a:xfrm>
          <a:custGeom>
            <a:avLst/>
            <a:gdLst>
              <a:gd name="T0" fmla="*/ 8 w 16"/>
              <a:gd name="T1" fmla="*/ 16 h 16"/>
              <a:gd name="T2" fmla="*/ 0 w 16"/>
              <a:gd name="T3" fmla="*/ 8 h 16"/>
              <a:gd name="T4" fmla="*/ 8 w 16"/>
              <a:gd name="T5" fmla="*/ 0 h 16"/>
              <a:gd name="T6" fmla="*/ 16 w 16"/>
              <a:gd name="T7" fmla="*/ 8 h 16"/>
              <a:gd name="T8" fmla="*/ 8 w 16"/>
              <a:gd name="T9" fmla="*/ 16 h 16"/>
              <a:gd name="T10" fmla="*/ 8 w 16"/>
              <a:gd name="T11" fmla="*/ 5 h 16"/>
              <a:gd name="T12" fmla="*/ 5 w 16"/>
              <a:gd name="T13" fmla="*/ 8 h 16"/>
              <a:gd name="T14" fmla="*/ 8 w 16"/>
              <a:gd name="T15" fmla="*/ 11 h 16"/>
              <a:gd name="T16" fmla="*/ 11 w 16"/>
              <a:gd name="T17" fmla="*/ 8 h 16"/>
              <a:gd name="T18" fmla="*/ 8 w 16"/>
              <a:gd name="T19" fmla="*/ 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" h="16">
                <a:moveTo>
                  <a:pt x="8" y="16"/>
                </a:moveTo>
                <a:cubicBezTo>
                  <a:pt x="4" y="16"/>
                  <a:pt x="0" y="13"/>
                  <a:pt x="0" y="8"/>
                </a:cubicBezTo>
                <a:cubicBezTo>
                  <a:pt x="0" y="4"/>
                  <a:pt x="4" y="0"/>
                  <a:pt x="8" y="0"/>
                </a:cubicBezTo>
                <a:cubicBezTo>
                  <a:pt x="13" y="0"/>
                  <a:pt x="16" y="4"/>
                  <a:pt x="16" y="8"/>
                </a:cubicBezTo>
                <a:cubicBezTo>
                  <a:pt x="16" y="13"/>
                  <a:pt x="13" y="16"/>
                  <a:pt x="8" y="16"/>
                </a:cubicBezTo>
                <a:close/>
                <a:moveTo>
                  <a:pt x="8" y="5"/>
                </a:moveTo>
                <a:cubicBezTo>
                  <a:pt x="7" y="5"/>
                  <a:pt x="5" y="7"/>
                  <a:pt x="5" y="8"/>
                </a:cubicBezTo>
                <a:cubicBezTo>
                  <a:pt x="5" y="10"/>
                  <a:pt x="7" y="11"/>
                  <a:pt x="8" y="11"/>
                </a:cubicBezTo>
                <a:cubicBezTo>
                  <a:pt x="10" y="11"/>
                  <a:pt x="11" y="10"/>
                  <a:pt x="11" y="8"/>
                </a:cubicBezTo>
                <a:cubicBezTo>
                  <a:pt x="11" y="7"/>
                  <a:pt x="10" y="5"/>
                  <a:pt x="8" y="5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0" name="Freeform 791">
            <a:extLst>
              <a:ext uri="{FF2B5EF4-FFF2-40B4-BE49-F238E27FC236}">
                <a16:creationId xmlns:a16="http://schemas.microsoft.com/office/drawing/2014/main" id="{037CC111-332D-4D8B-8F90-E739E2420104}"/>
              </a:ext>
            </a:extLst>
          </p:cNvPr>
          <p:cNvSpPr>
            <a:spLocks noEditPoints="1"/>
          </p:cNvSpPr>
          <p:nvPr/>
        </p:nvSpPr>
        <p:spPr bwMode="auto">
          <a:xfrm>
            <a:off x="11396831" y="3522911"/>
            <a:ext cx="8766" cy="7513"/>
          </a:xfrm>
          <a:custGeom>
            <a:avLst/>
            <a:gdLst>
              <a:gd name="T0" fmla="*/ 8 w 16"/>
              <a:gd name="T1" fmla="*/ 16 h 16"/>
              <a:gd name="T2" fmla="*/ 0 w 16"/>
              <a:gd name="T3" fmla="*/ 8 h 16"/>
              <a:gd name="T4" fmla="*/ 8 w 16"/>
              <a:gd name="T5" fmla="*/ 0 h 16"/>
              <a:gd name="T6" fmla="*/ 16 w 16"/>
              <a:gd name="T7" fmla="*/ 8 h 16"/>
              <a:gd name="T8" fmla="*/ 8 w 16"/>
              <a:gd name="T9" fmla="*/ 16 h 16"/>
              <a:gd name="T10" fmla="*/ 8 w 16"/>
              <a:gd name="T11" fmla="*/ 5 h 16"/>
              <a:gd name="T12" fmla="*/ 5 w 16"/>
              <a:gd name="T13" fmla="*/ 8 h 16"/>
              <a:gd name="T14" fmla="*/ 8 w 16"/>
              <a:gd name="T15" fmla="*/ 11 h 16"/>
              <a:gd name="T16" fmla="*/ 11 w 16"/>
              <a:gd name="T17" fmla="*/ 8 h 16"/>
              <a:gd name="T18" fmla="*/ 8 w 16"/>
              <a:gd name="T19" fmla="*/ 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" h="16">
                <a:moveTo>
                  <a:pt x="8" y="16"/>
                </a:moveTo>
                <a:cubicBezTo>
                  <a:pt x="4" y="16"/>
                  <a:pt x="0" y="13"/>
                  <a:pt x="0" y="8"/>
                </a:cubicBezTo>
                <a:cubicBezTo>
                  <a:pt x="0" y="4"/>
                  <a:pt x="4" y="0"/>
                  <a:pt x="8" y="0"/>
                </a:cubicBezTo>
                <a:cubicBezTo>
                  <a:pt x="12" y="0"/>
                  <a:pt x="16" y="4"/>
                  <a:pt x="16" y="8"/>
                </a:cubicBezTo>
                <a:cubicBezTo>
                  <a:pt x="16" y="13"/>
                  <a:pt x="12" y="16"/>
                  <a:pt x="8" y="16"/>
                </a:cubicBezTo>
                <a:close/>
                <a:moveTo>
                  <a:pt x="8" y="5"/>
                </a:moveTo>
                <a:cubicBezTo>
                  <a:pt x="6" y="5"/>
                  <a:pt x="5" y="7"/>
                  <a:pt x="5" y="8"/>
                </a:cubicBezTo>
                <a:cubicBezTo>
                  <a:pt x="5" y="10"/>
                  <a:pt x="6" y="11"/>
                  <a:pt x="8" y="11"/>
                </a:cubicBezTo>
                <a:cubicBezTo>
                  <a:pt x="9" y="11"/>
                  <a:pt x="11" y="10"/>
                  <a:pt x="11" y="8"/>
                </a:cubicBezTo>
                <a:cubicBezTo>
                  <a:pt x="11" y="7"/>
                  <a:pt x="9" y="5"/>
                  <a:pt x="8" y="5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1" name="Freeform 792">
            <a:extLst>
              <a:ext uri="{FF2B5EF4-FFF2-40B4-BE49-F238E27FC236}">
                <a16:creationId xmlns:a16="http://schemas.microsoft.com/office/drawing/2014/main" id="{98D15921-B7FF-46F2-9281-C4E788F97A18}"/>
              </a:ext>
            </a:extLst>
          </p:cNvPr>
          <p:cNvSpPr>
            <a:spLocks/>
          </p:cNvSpPr>
          <p:nvPr/>
        </p:nvSpPr>
        <p:spPr bwMode="auto">
          <a:xfrm>
            <a:off x="11388065" y="3598045"/>
            <a:ext cx="21288" cy="8766"/>
          </a:xfrm>
          <a:custGeom>
            <a:avLst/>
            <a:gdLst>
              <a:gd name="T0" fmla="*/ 0 w 41"/>
              <a:gd name="T1" fmla="*/ 0 h 16"/>
              <a:gd name="T2" fmla="*/ 21 w 41"/>
              <a:gd name="T3" fmla="*/ 16 h 16"/>
              <a:gd name="T4" fmla="*/ 41 w 41"/>
              <a:gd name="T5" fmla="*/ 0 h 16"/>
              <a:gd name="T6" fmla="*/ 0 w 41"/>
              <a:gd name="T7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1" h="16">
                <a:moveTo>
                  <a:pt x="0" y="0"/>
                </a:moveTo>
                <a:cubicBezTo>
                  <a:pt x="3" y="9"/>
                  <a:pt x="11" y="16"/>
                  <a:pt x="21" y="16"/>
                </a:cubicBezTo>
                <a:cubicBezTo>
                  <a:pt x="30" y="16"/>
                  <a:pt x="38" y="9"/>
                  <a:pt x="41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2" name="Freeform 793">
            <a:extLst>
              <a:ext uri="{FF2B5EF4-FFF2-40B4-BE49-F238E27FC236}">
                <a16:creationId xmlns:a16="http://schemas.microsoft.com/office/drawing/2014/main" id="{6114E6B4-A740-43CF-92E1-83CFA07712BB}"/>
              </a:ext>
            </a:extLst>
          </p:cNvPr>
          <p:cNvSpPr>
            <a:spLocks/>
          </p:cNvSpPr>
          <p:nvPr/>
        </p:nvSpPr>
        <p:spPr bwMode="auto">
          <a:xfrm>
            <a:off x="11374291" y="3571748"/>
            <a:ext cx="47585" cy="8766"/>
          </a:xfrm>
          <a:custGeom>
            <a:avLst/>
            <a:gdLst>
              <a:gd name="T0" fmla="*/ 82 w 91"/>
              <a:gd name="T1" fmla="*/ 0 h 18"/>
              <a:gd name="T2" fmla="*/ 9 w 91"/>
              <a:gd name="T3" fmla="*/ 0 h 18"/>
              <a:gd name="T4" fmla="*/ 0 w 91"/>
              <a:gd name="T5" fmla="*/ 9 h 18"/>
              <a:gd name="T6" fmla="*/ 9 w 91"/>
              <a:gd name="T7" fmla="*/ 18 h 18"/>
              <a:gd name="T8" fmla="*/ 82 w 91"/>
              <a:gd name="T9" fmla="*/ 18 h 18"/>
              <a:gd name="T10" fmla="*/ 91 w 91"/>
              <a:gd name="T11" fmla="*/ 9 h 18"/>
              <a:gd name="T12" fmla="*/ 82 w 91"/>
              <a:gd name="T1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1" h="18">
                <a:moveTo>
                  <a:pt x="82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4"/>
                  <a:pt x="4" y="18"/>
                  <a:pt x="9" y="18"/>
                </a:cubicBezTo>
                <a:cubicBezTo>
                  <a:pt x="82" y="18"/>
                  <a:pt x="82" y="18"/>
                  <a:pt x="82" y="18"/>
                </a:cubicBezTo>
                <a:cubicBezTo>
                  <a:pt x="87" y="18"/>
                  <a:pt x="91" y="14"/>
                  <a:pt x="91" y="9"/>
                </a:cubicBezTo>
                <a:cubicBezTo>
                  <a:pt x="91" y="4"/>
                  <a:pt x="87" y="0"/>
                  <a:pt x="82" y="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3" name="Freeform 794">
            <a:extLst>
              <a:ext uri="{FF2B5EF4-FFF2-40B4-BE49-F238E27FC236}">
                <a16:creationId xmlns:a16="http://schemas.microsoft.com/office/drawing/2014/main" id="{EB5A9B18-41AA-4D44-A39B-00AD1BFE2449}"/>
              </a:ext>
            </a:extLst>
          </p:cNvPr>
          <p:cNvSpPr>
            <a:spLocks/>
          </p:cNvSpPr>
          <p:nvPr/>
        </p:nvSpPr>
        <p:spPr bwMode="auto">
          <a:xfrm>
            <a:off x="11374291" y="3580514"/>
            <a:ext cx="47585" cy="8766"/>
          </a:xfrm>
          <a:custGeom>
            <a:avLst/>
            <a:gdLst>
              <a:gd name="T0" fmla="*/ 82 w 91"/>
              <a:gd name="T1" fmla="*/ 0 h 17"/>
              <a:gd name="T2" fmla="*/ 9 w 91"/>
              <a:gd name="T3" fmla="*/ 0 h 17"/>
              <a:gd name="T4" fmla="*/ 0 w 91"/>
              <a:gd name="T5" fmla="*/ 8 h 17"/>
              <a:gd name="T6" fmla="*/ 9 w 91"/>
              <a:gd name="T7" fmla="*/ 17 h 17"/>
              <a:gd name="T8" fmla="*/ 82 w 91"/>
              <a:gd name="T9" fmla="*/ 17 h 17"/>
              <a:gd name="T10" fmla="*/ 91 w 91"/>
              <a:gd name="T11" fmla="*/ 8 h 17"/>
              <a:gd name="T12" fmla="*/ 82 w 91"/>
              <a:gd name="T13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1" h="17">
                <a:moveTo>
                  <a:pt x="82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13"/>
                  <a:pt x="4" y="17"/>
                  <a:pt x="9" y="17"/>
                </a:cubicBezTo>
                <a:cubicBezTo>
                  <a:pt x="82" y="17"/>
                  <a:pt x="82" y="17"/>
                  <a:pt x="82" y="17"/>
                </a:cubicBezTo>
                <a:cubicBezTo>
                  <a:pt x="87" y="17"/>
                  <a:pt x="91" y="13"/>
                  <a:pt x="91" y="8"/>
                </a:cubicBezTo>
                <a:cubicBezTo>
                  <a:pt x="91" y="4"/>
                  <a:pt x="87" y="0"/>
                  <a:pt x="82" y="0"/>
                </a:cubicBez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4" name="Freeform 795">
            <a:extLst>
              <a:ext uri="{FF2B5EF4-FFF2-40B4-BE49-F238E27FC236}">
                <a16:creationId xmlns:a16="http://schemas.microsoft.com/office/drawing/2014/main" id="{90326B29-28B7-4BBD-B9A0-6F17CA5F77A3}"/>
              </a:ext>
            </a:extLst>
          </p:cNvPr>
          <p:cNvSpPr>
            <a:spLocks/>
          </p:cNvSpPr>
          <p:nvPr/>
        </p:nvSpPr>
        <p:spPr bwMode="auto">
          <a:xfrm>
            <a:off x="11374291" y="3589280"/>
            <a:ext cx="47585" cy="10018"/>
          </a:xfrm>
          <a:custGeom>
            <a:avLst/>
            <a:gdLst>
              <a:gd name="T0" fmla="*/ 82 w 91"/>
              <a:gd name="T1" fmla="*/ 0 h 18"/>
              <a:gd name="T2" fmla="*/ 9 w 91"/>
              <a:gd name="T3" fmla="*/ 0 h 18"/>
              <a:gd name="T4" fmla="*/ 0 w 91"/>
              <a:gd name="T5" fmla="*/ 9 h 18"/>
              <a:gd name="T6" fmla="*/ 9 w 91"/>
              <a:gd name="T7" fmla="*/ 18 h 18"/>
              <a:gd name="T8" fmla="*/ 82 w 91"/>
              <a:gd name="T9" fmla="*/ 18 h 18"/>
              <a:gd name="T10" fmla="*/ 91 w 91"/>
              <a:gd name="T11" fmla="*/ 9 h 18"/>
              <a:gd name="T12" fmla="*/ 82 w 91"/>
              <a:gd name="T1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1" h="18">
                <a:moveTo>
                  <a:pt x="82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4"/>
                  <a:pt x="4" y="18"/>
                  <a:pt x="9" y="18"/>
                </a:cubicBezTo>
                <a:cubicBezTo>
                  <a:pt x="82" y="18"/>
                  <a:pt x="82" y="18"/>
                  <a:pt x="82" y="18"/>
                </a:cubicBezTo>
                <a:cubicBezTo>
                  <a:pt x="87" y="18"/>
                  <a:pt x="91" y="14"/>
                  <a:pt x="91" y="9"/>
                </a:cubicBezTo>
                <a:cubicBezTo>
                  <a:pt x="91" y="4"/>
                  <a:pt x="87" y="0"/>
                  <a:pt x="82" y="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5" name="Freeform 796">
            <a:extLst>
              <a:ext uri="{FF2B5EF4-FFF2-40B4-BE49-F238E27FC236}">
                <a16:creationId xmlns:a16="http://schemas.microsoft.com/office/drawing/2014/main" id="{8721C0C0-9BEF-41AF-90C4-8DB3F3A306AB}"/>
              </a:ext>
            </a:extLst>
          </p:cNvPr>
          <p:cNvSpPr>
            <a:spLocks/>
          </p:cNvSpPr>
          <p:nvPr/>
        </p:nvSpPr>
        <p:spPr bwMode="auto">
          <a:xfrm>
            <a:off x="11580909" y="3457795"/>
            <a:ext cx="103936" cy="113954"/>
          </a:xfrm>
          <a:custGeom>
            <a:avLst/>
            <a:gdLst>
              <a:gd name="T0" fmla="*/ 136 w 198"/>
              <a:gd name="T1" fmla="*/ 218 h 219"/>
              <a:gd name="T2" fmla="*/ 198 w 198"/>
              <a:gd name="T3" fmla="*/ 101 h 219"/>
              <a:gd name="T4" fmla="*/ 99 w 198"/>
              <a:gd name="T5" fmla="*/ 0 h 219"/>
              <a:gd name="T6" fmla="*/ 0 w 198"/>
              <a:gd name="T7" fmla="*/ 101 h 219"/>
              <a:gd name="T8" fmla="*/ 62 w 198"/>
              <a:gd name="T9" fmla="*/ 219 h 219"/>
              <a:gd name="T10" fmla="*/ 62 w 198"/>
              <a:gd name="T11" fmla="*/ 219 h 219"/>
              <a:gd name="T12" fmla="*/ 62 w 198"/>
              <a:gd name="T13" fmla="*/ 219 h 219"/>
              <a:gd name="T14" fmla="*/ 136 w 198"/>
              <a:gd name="T15" fmla="*/ 219 h 219"/>
              <a:gd name="T16" fmla="*/ 136 w 198"/>
              <a:gd name="T17" fmla="*/ 219 h 219"/>
              <a:gd name="T18" fmla="*/ 136 w 198"/>
              <a:gd name="T19" fmla="*/ 219 h 219"/>
              <a:gd name="T20" fmla="*/ 136 w 198"/>
              <a:gd name="T21" fmla="*/ 218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98" h="219">
                <a:moveTo>
                  <a:pt x="136" y="218"/>
                </a:moveTo>
                <a:cubicBezTo>
                  <a:pt x="138" y="184"/>
                  <a:pt x="198" y="163"/>
                  <a:pt x="198" y="101"/>
                </a:cubicBezTo>
                <a:cubicBezTo>
                  <a:pt x="198" y="33"/>
                  <a:pt x="151" y="0"/>
                  <a:pt x="99" y="0"/>
                </a:cubicBezTo>
                <a:cubicBezTo>
                  <a:pt x="48" y="0"/>
                  <a:pt x="0" y="33"/>
                  <a:pt x="0" y="101"/>
                </a:cubicBezTo>
                <a:cubicBezTo>
                  <a:pt x="0" y="164"/>
                  <a:pt x="62" y="185"/>
                  <a:pt x="62" y="219"/>
                </a:cubicBezTo>
                <a:cubicBezTo>
                  <a:pt x="62" y="219"/>
                  <a:pt x="62" y="219"/>
                  <a:pt x="62" y="219"/>
                </a:cubicBezTo>
                <a:cubicBezTo>
                  <a:pt x="62" y="219"/>
                  <a:pt x="62" y="219"/>
                  <a:pt x="62" y="219"/>
                </a:cubicBezTo>
                <a:cubicBezTo>
                  <a:pt x="67" y="219"/>
                  <a:pt x="131" y="219"/>
                  <a:pt x="136" y="219"/>
                </a:cubicBezTo>
                <a:cubicBezTo>
                  <a:pt x="136" y="219"/>
                  <a:pt x="136" y="219"/>
                  <a:pt x="136" y="219"/>
                </a:cubicBezTo>
                <a:cubicBezTo>
                  <a:pt x="136" y="219"/>
                  <a:pt x="136" y="219"/>
                  <a:pt x="136" y="219"/>
                </a:cubicBezTo>
                <a:cubicBezTo>
                  <a:pt x="136" y="219"/>
                  <a:pt x="136" y="218"/>
                  <a:pt x="136" y="21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6" name="Freeform 797">
            <a:extLst>
              <a:ext uri="{FF2B5EF4-FFF2-40B4-BE49-F238E27FC236}">
                <a16:creationId xmlns:a16="http://schemas.microsoft.com/office/drawing/2014/main" id="{13078420-D5C8-4005-82D9-DE68009E9D2E}"/>
              </a:ext>
            </a:extLst>
          </p:cNvPr>
          <p:cNvSpPr>
            <a:spLocks/>
          </p:cNvSpPr>
          <p:nvPr/>
        </p:nvSpPr>
        <p:spPr bwMode="auto">
          <a:xfrm>
            <a:off x="11638512" y="3525415"/>
            <a:ext cx="3757" cy="46333"/>
          </a:xfrm>
          <a:custGeom>
            <a:avLst/>
            <a:gdLst>
              <a:gd name="T0" fmla="*/ 6 w 6"/>
              <a:gd name="T1" fmla="*/ 88 h 88"/>
              <a:gd name="T2" fmla="*/ 1 w 6"/>
              <a:gd name="T3" fmla="*/ 88 h 88"/>
              <a:gd name="T4" fmla="*/ 1 w 6"/>
              <a:gd name="T5" fmla="*/ 6 h 88"/>
              <a:gd name="T6" fmla="*/ 0 w 6"/>
              <a:gd name="T7" fmla="*/ 5 h 88"/>
              <a:gd name="T8" fmla="*/ 0 w 6"/>
              <a:gd name="T9" fmla="*/ 0 h 88"/>
              <a:gd name="T10" fmla="*/ 6 w 6"/>
              <a:gd name="T11" fmla="*/ 6 h 88"/>
              <a:gd name="T12" fmla="*/ 6 w 6"/>
              <a:gd name="T13" fmla="*/ 8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88">
                <a:moveTo>
                  <a:pt x="6" y="88"/>
                </a:moveTo>
                <a:cubicBezTo>
                  <a:pt x="1" y="88"/>
                  <a:pt x="1" y="88"/>
                  <a:pt x="1" y="88"/>
                </a:cubicBezTo>
                <a:cubicBezTo>
                  <a:pt x="1" y="6"/>
                  <a:pt x="1" y="6"/>
                  <a:pt x="1" y="6"/>
                </a:cubicBezTo>
                <a:cubicBezTo>
                  <a:pt x="1" y="5"/>
                  <a:pt x="1" y="5"/>
                  <a:pt x="0" y="5"/>
                </a:cubicBezTo>
                <a:cubicBezTo>
                  <a:pt x="0" y="0"/>
                  <a:pt x="0" y="0"/>
                  <a:pt x="0" y="0"/>
                </a:cubicBezTo>
                <a:cubicBezTo>
                  <a:pt x="3" y="0"/>
                  <a:pt x="6" y="3"/>
                  <a:pt x="6" y="6"/>
                </a:cubicBezTo>
                <a:cubicBezTo>
                  <a:pt x="6" y="88"/>
                  <a:pt x="6" y="88"/>
                  <a:pt x="6" y="88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7" name="Freeform 798">
            <a:extLst>
              <a:ext uri="{FF2B5EF4-FFF2-40B4-BE49-F238E27FC236}">
                <a16:creationId xmlns:a16="http://schemas.microsoft.com/office/drawing/2014/main" id="{E86C4B1A-4CEE-4BA1-A12C-54900EFC2806}"/>
              </a:ext>
            </a:extLst>
          </p:cNvPr>
          <p:cNvSpPr>
            <a:spLocks/>
          </p:cNvSpPr>
          <p:nvPr/>
        </p:nvSpPr>
        <p:spPr bwMode="auto">
          <a:xfrm>
            <a:off x="11623485" y="3525415"/>
            <a:ext cx="3757" cy="46333"/>
          </a:xfrm>
          <a:custGeom>
            <a:avLst/>
            <a:gdLst>
              <a:gd name="T0" fmla="*/ 5 w 7"/>
              <a:gd name="T1" fmla="*/ 88 h 88"/>
              <a:gd name="T2" fmla="*/ 0 w 7"/>
              <a:gd name="T3" fmla="*/ 88 h 88"/>
              <a:gd name="T4" fmla="*/ 0 w 7"/>
              <a:gd name="T5" fmla="*/ 6 h 88"/>
              <a:gd name="T6" fmla="*/ 7 w 7"/>
              <a:gd name="T7" fmla="*/ 0 h 88"/>
              <a:gd name="T8" fmla="*/ 7 w 7"/>
              <a:gd name="T9" fmla="*/ 5 h 88"/>
              <a:gd name="T10" fmla="*/ 5 w 7"/>
              <a:gd name="T11" fmla="*/ 6 h 88"/>
              <a:gd name="T12" fmla="*/ 5 w 7"/>
              <a:gd name="T13" fmla="*/ 8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" h="88">
                <a:moveTo>
                  <a:pt x="5" y="88"/>
                </a:moveTo>
                <a:cubicBezTo>
                  <a:pt x="0" y="88"/>
                  <a:pt x="0" y="88"/>
                  <a:pt x="0" y="88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7" y="0"/>
                </a:cubicBezTo>
                <a:cubicBezTo>
                  <a:pt x="7" y="5"/>
                  <a:pt x="7" y="5"/>
                  <a:pt x="7" y="5"/>
                </a:cubicBezTo>
                <a:cubicBezTo>
                  <a:pt x="6" y="5"/>
                  <a:pt x="5" y="5"/>
                  <a:pt x="5" y="6"/>
                </a:cubicBezTo>
                <a:cubicBezTo>
                  <a:pt x="5" y="88"/>
                  <a:pt x="5" y="88"/>
                  <a:pt x="5" y="88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8" name="Freeform 799">
            <a:extLst>
              <a:ext uri="{FF2B5EF4-FFF2-40B4-BE49-F238E27FC236}">
                <a16:creationId xmlns:a16="http://schemas.microsoft.com/office/drawing/2014/main" id="{8F228C68-3721-41B6-A97B-C8D894642622}"/>
              </a:ext>
            </a:extLst>
          </p:cNvPr>
          <p:cNvSpPr>
            <a:spLocks noEditPoints="1"/>
          </p:cNvSpPr>
          <p:nvPr/>
        </p:nvSpPr>
        <p:spPr bwMode="auto">
          <a:xfrm>
            <a:off x="11625990" y="3522911"/>
            <a:ext cx="8766" cy="7513"/>
          </a:xfrm>
          <a:custGeom>
            <a:avLst/>
            <a:gdLst>
              <a:gd name="T0" fmla="*/ 8 w 16"/>
              <a:gd name="T1" fmla="*/ 16 h 16"/>
              <a:gd name="T2" fmla="*/ 0 w 16"/>
              <a:gd name="T3" fmla="*/ 8 h 16"/>
              <a:gd name="T4" fmla="*/ 8 w 16"/>
              <a:gd name="T5" fmla="*/ 0 h 16"/>
              <a:gd name="T6" fmla="*/ 16 w 16"/>
              <a:gd name="T7" fmla="*/ 8 h 16"/>
              <a:gd name="T8" fmla="*/ 8 w 16"/>
              <a:gd name="T9" fmla="*/ 16 h 16"/>
              <a:gd name="T10" fmla="*/ 8 w 16"/>
              <a:gd name="T11" fmla="*/ 5 h 16"/>
              <a:gd name="T12" fmla="*/ 5 w 16"/>
              <a:gd name="T13" fmla="*/ 8 h 16"/>
              <a:gd name="T14" fmla="*/ 8 w 16"/>
              <a:gd name="T15" fmla="*/ 11 h 16"/>
              <a:gd name="T16" fmla="*/ 11 w 16"/>
              <a:gd name="T17" fmla="*/ 8 h 16"/>
              <a:gd name="T18" fmla="*/ 8 w 16"/>
              <a:gd name="T19" fmla="*/ 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" h="16">
                <a:moveTo>
                  <a:pt x="8" y="16"/>
                </a:moveTo>
                <a:cubicBezTo>
                  <a:pt x="4" y="16"/>
                  <a:pt x="0" y="13"/>
                  <a:pt x="0" y="8"/>
                </a:cubicBezTo>
                <a:cubicBezTo>
                  <a:pt x="0" y="4"/>
                  <a:pt x="4" y="0"/>
                  <a:pt x="8" y="0"/>
                </a:cubicBezTo>
                <a:cubicBezTo>
                  <a:pt x="12" y="0"/>
                  <a:pt x="16" y="4"/>
                  <a:pt x="16" y="8"/>
                </a:cubicBezTo>
                <a:cubicBezTo>
                  <a:pt x="16" y="13"/>
                  <a:pt x="12" y="16"/>
                  <a:pt x="8" y="16"/>
                </a:cubicBezTo>
                <a:close/>
                <a:moveTo>
                  <a:pt x="8" y="5"/>
                </a:moveTo>
                <a:cubicBezTo>
                  <a:pt x="6" y="5"/>
                  <a:pt x="5" y="7"/>
                  <a:pt x="5" y="8"/>
                </a:cubicBezTo>
                <a:cubicBezTo>
                  <a:pt x="5" y="10"/>
                  <a:pt x="6" y="11"/>
                  <a:pt x="8" y="11"/>
                </a:cubicBezTo>
                <a:cubicBezTo>
                  <a:pt x="10" y="11"/>
                  <a:pt x="11" y="10"/>
                  <a:pt x="11" y="8"/>
                </a:cubicBezTo>
                <a:cubicBezTo>
                  <a:pt x="11" y="7"/>
                  <a:pt x="10" y="5"/>
                  <a:pt x="8" y="5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9" name="Freeform 800">
            <a:extLst>
              <a:ext uri="{FF2B5EF4-FFF2-40B4-BE49-F238E27FC236}">
                <a16:creationId xmlns:a16="http://schemas.microsoft.com/office/drawing/2014/main" id="{536360EE-E318-40CF-A266-77BBA29B79EA}"/>
              </a:ext>
            </a:extLst>
          </p:cNvPr>
          <p:cNvSpPr>
            <a:spLocks noEditPoints="1"/>
          </p:cNvSpPr>
          <p:nvPr/>
        </p:nvSpPr>
        <p:spPr bwMode="auto">
          <a:xfrm>
            <a:off x="11632251" y="3522911"/>
            <a:ext cx="7513" cy="7513"/>
          </a:xfrm>
          <a:custGeom>
            <a:avLst/>
            <a:gdLst>
              <a:gd name="T0" fmla="*/ 8 w 15"/>
              <a:gd name="T1" fmla="*/ 16 h 16"/>
              <a:gd name="T2" fmla="*/ 0 w 15"/>
              <a:gd name="T3" fmla="*/ 8 h 16"/>
              <a:gd name="T4" fmla="*/ 8 w 15"/>
              <a:gd name="T5" fmla="*/ 0 h 16"/>
              <a:gd name="T6" fmla="*/ 15 w 15"/>
              <a:gd name="T7" fmla="*/ 8 h 16"/>
              <a:gd name="T8" fmla="*/ 8 w 15"/>
              <a:gd name="T9" fmla="*/ 16 h 16"/>
              <a:gd name="T10" fmla="*/ 8 w 15"/>
              <a:gd name="T11" fmla="*/ 5 h 16"/>
              <a:gd name="T12" fmla="*/ 5 w 15"/>
              <a:gd name="T13" fmla="*/ 8 h 16"/>
              <a:gd name="T14" fmla="*/ 8 w 15"/>
              <a:gd name="T15" fmla="*/ 11 h 16"/>
              <a:gd name="T16" fmla="*/ 10 w 15"/>
              <a:gd name="T17" fmla="*/ 8 h 16"/>
              <a:gd name="T18" fmla="*/ 8 w 15"/>
              <a:gd name="T19" fmla="*/ 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6">
                <a:moveTo>
                  <a:pt x="8" y="16"/>
                </a:moveTo>
                <a:cubicBezTo>
                  <a:pt x="3" y="16"/>
                  <a:pt x="0" y="13"/>
                  <a:pt x="0" y="8"/>
                </a:cubicBezTo>
                <a:cubicBezTo>
                  <a:pt x="0" y="4"/>
                  <a:pt x="3" y="0"/>
                  <a:pt x="8" y="0"/>
                </a:cubicBezTo>
                <a:cubicBezTo>
                  <a:pt x="12" y="0"/>
                  <a:pt x="15" y="4"/>
                  <a:pt x="15" y="8"/>
                </a:cubicBezTo>
                <a:cubicBezTo>
                  <a:pt x="15" y="13"/>
                  <a:pt x="12" y="16"/>
                  <a:pt x="8" y="16"/>
                </a:cubicBezTo>
                <a:close/>
                <a:moveTo>
                  <a:pt x="8" y="5"/>
                </a:moveTo>
                <a:cubicBezTo>
                  <a:pt x="6" y="5"/>
                  <a:pt x="5" y="7"/>
                  <a:pt x="5" y="8"/>
                </a:cubicBezTo>
                <a:cubicBezTo>
                  <a:pt x="5" y="10"/>
                  <a:pt x="6" y="11"/>
                  <a:pt x="8" y="11"/>
                </a:cubicBezTo>
                <a:cubicBezTo>
                  <a:pt x="9" y="11"/>
                  <a:pt x="10" y="10"/>
                  <a:pt x="10" y="8"/>
                </a:cubicBezTo>
                <a:cubicBezTo>
                  <a:pt x="10" y="7"/>
                  <a:pt x="9" y="5"/>
                  <a:pt x="8" y="5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0" name="Freeform 801">
            <a:extLst>
              <a:ext uri="{FF2B5EF4-FFF2-40B4-BE49-F238E27FC236}">
                <a16:creationId xmlns:a16="http://schemas.microsoft.com/office/drawing/2014/main" id="{811A42F6-C6C4-4C2C-AFB0-B56B2CA103E7}"/>
              </a:ext>
            </a:extLst>
          </p:cNvPr>
          <p:cNvSpPr>
            <a:spLocks/>
          </p:cNvSpPr>
          <p:nvPr/>
        </p:nvSpPr>
        <p:spPr bwMode="auto">
          <a:xfrm>
            <a:off x="11622233" y="3598045"/>
            <a:ext cx="21288" cy="8766"/>
          </a:xfrm>
          <a:custGeom>
            <a:avLst/>
            <a:gdLst>
              <a:gd name="T0" fmla="*/ 0 w 40"/>
              <a:gd name="T1" fmla="*/ 0 h 16"/>
              <a:gd name="T2" fmla="*/ 20 w 40"/>
              <a:gd name="T3" fmla="*/ 16 h 16"/>
              <a:gd name="T4" fmla="*/ 40 w 40"/>
              <a:gd name="T5" fmla="*/ 0 h 16"/>
              <a:gd name="T6" fmla="*/ 0 w 40"/>
              <a:gd name="T7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0" h="16">
                <a:moveTo>
                  <a:pt x="0" y="0"/>
                </a:moveTo>
                <a:cubicBezTo>
                  <a:pt x="3" y="9"/>
                  <a:pt x="11" y="16"/>
                  <a:pt x="20" y="16"/>
                </a:cubicBezTo>
                <a:cubicBezTo>
                  <a:pt x="30" y="16"/>
                  <a:pt x="38" y="9"/>
                  <a:pt x="4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1" name="Freeform 802">
            <a:extLst>
              <a:ext uri="{FF2B5EF4-FFF2-40B4-BE49-F238E27FC236}">
                <a16:creationId xmlns:a16="http://schemas.microsoft.com/office/drawing/2014/main" id="{A50E2926-9EEC-42C2-B90F-CCEB2B4BEF33}"/>
              </a:ext>
            </a:extLst>
          </p:cNvPr>
          <p:cNvSpPr>
            <a:spLocks/>
          </p:cNvSpPr>
          <p:nvPr/>
        </p:nvSpPr>
        <p:spPr bwMode="auto">
          <a:xfrm>
            <a:off x="11609711" y="3571748"/>
            <a:ext cx="47585" cy="8766"/>
          </a:xfrm>
          <a:custGeom>
            <a:avLst/>
            <a:gdLst>
              <a:gd name="T0" fmla="*/ 82 w 91"/>
              <a:gd name="T1" fmla="*/ 0 h 18"/>
              <a:gd name="T2" fmla="*/ 8 w 91"/>
              <a:gd name="T3" fmla="*/ 0 h 18"/>
              <a:gd name="T4" fmla="*/ 0 w 91"/>
              <a:gd name="T5" fmla="*/ 9 h 18"/>
              <a:gd name="T6" fmla="*/ 8 w 91"/>
              <a:gd name="T7" fmla="*/ 18 h 18"/>
              <a:gd name="T8" fmla="*/ 82 w 91"/>
              <a:gd name="T9" fmla="*/ 18 h 18"/>
              <a:gd name="T10" fmla="*/ 91 w 91"/>
              <a:gd name="T11" fmla="*/ 9 h 18"/>
              <a:gd name="T12" fmla="*/ 82 w 91"/>
              <a:gd name="T1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1" h="18">
                <a:moveTo>
                  <a:pt x="82" y="0"/>
                </a:moveTo>
                <a:cubicBezTo>
                  <a:pt x="8" y="0"/>
                  <a:pt x="8" y="0"/>
                  <a:pt x="8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4"/>
                  <a:pt x="4" y="18"/>
                  <a:pt x="8" y="18"/>
                </a:cubicBezTo>
                <a:cubicBezTo>
                  <a:pt x="82" y="18"/>
                  <a:pt x="82" y="18"/>
                  <a:pt x="82" y="18"/>
                </a:cubicBezTo>
                <a:cubicBezTo>
                  <a:pt x="87" y="18"/>
                  <a:pt x="91" y="14"/>
                  <a:pt x="91" y="9"/>
                </a:cubicBezTo>
                <a:cubicBezTo>
                  <a:pt x="91" y="4"/>
                  <a:pt x="87" y="0"/>
                  <a:pt x="82" y="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2" name="Freeform 803">
            <a:extLst>
              <a:ext uri="{FF2B5EF4-FFF2-40B4-BE49-F238E27FC236}">
                <a16:creationId xmlns:a16="http://schemas.microsoft.com/office/drawing/2014/main" id="{8DB7B48C-E218-4136-9FFF-CEE109C42884}"/>
              </a:ext>
            </a:extLst>
          </p:cNvPr>
          <p:cNvSpPr>
            <a:spLocks/>
          </p:cNvSpPr>
          <p:nvPr/>
        </p:nvSpPr>
        <p:spPr bwMode="auto">
          <a:xfrm>
            <a:off x="11609711" y="3580514"/>
            <a:ext cx="47585" cy="8766"/>
          </a:xfrm>
          <a:custGeom>
            <a:avLst/>
            <a:gdLst>
              <a:gd name="T0" fmla="*/ 82 w 91"/>
              <a:gd name="T1" fmla="*/ 0 h 17"/>
              <a:gd name="T2" fmla="*/ 8 w 91"/>
              <a:gd name="T3" fmla="*/ 0 h 17"/>
              <a:gd name="T4" fmla="*/ 0 w 91"/>
              <a:gd name="T5" fmla="*/ 8 h 17"/>
              <a:gd name="T6" fmla="*/ 8 w 91"/>
              <a:gd name="T7" fmla="*/ 17 h 17"/>
              <a:gd name="T8" fmla="*/ 82 w 91"/>
              <a:gd name="T9" fmla="*/ 17 h 17"/>
              <a:gd name="T10" fmla="*/ 91 w 91"/>
              <a:gd name="T11" fmla="*/ 8 h 17"/>
              <a:gd name="T12" fmla="*/ 82 w 91"/>
              <a:gd name="T13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1" h="17">
                <a:moveTo>
                  <a:pt x="82" y="0"/>
                </a:moveTo>
                <a:cubicBezTo>
                  <a:pt x="8" y="0"/>
                  <a:pt x="8" y="0"/>
                  <a:pt x="8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13"/>
                  <a:pt x="4" y="17"/>
                  <a:pt x="8" y="17"/>
                </a:cubicBezTo>
                <a:cubicBezTo>
                  <a:pt x="82" y="17"/>
                  <a:pt x="82" y="17"/>
                  <a:pt x="82" y="17"/>
                </a:cubicBezTo>
                <a:cubicBezTo>
                  <a:pt x="87" y="17"/>
                  <a:pt x="91" y="13"/>
                  <a:pt x="91" y="8"/>
                </a:cubicBezTo>
                <a:cubicBezTo>
                  <a:pt x="91" y="4"/>
                  <a:pt x="87" y="0"/>
                  <a:pt x="82" y="0"/>
                </a:cubicBez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3" name="Freeform 804">
            <a:extLst>
              <a:ext uri="{FF2B5EF4-FFF2-40B4-BE49-F238E27FC236}">
                <a16:creationId xmlns:a16="http://schemas.microsoft.com/office/drawing/2014/main" id="{AB5268BF-1AF5-4266-A8EB-2C4D1CB3143A}"/>
              </a:ext>
            </a:extLst>
          </p:cNvPr>
          <p:cNvSpPr>
            <a:spLocks/>
          </p:cNvSpPr>
          <p:nvPr/>
        </p:nvSpPr>
        <p:spPr bwMode="auto">
          <a:xfrm>
            <a:off x="11609711" y="3589280"/>
            <a:ext cx="47585" cy="10018"/>
          </a:xfrm>
          <a:custGeom>
            <a:avLst/>
            <a:gdLst>
              <a:gd name="T0" fmla="*/ 82 w 91"/>
              <a:gd name="T1" fmla="*/ 0 h 18"/>
              <a:gd name="T2" fmla="*/ 8 w 91"/>
              <a:gd name="T3" fmla="*/ 0 h 18"/>
              <a:gd name="T4" fmla="*/ 0 w 91"/>
              <a:gd name="T5" fmla="*/ 9 h 18"/>
              <a:gd name="T6" fmla="*/ 8 w 91"/>
              <a:gd name="T7" fmla="*/ 18 h 18"/>
              <a:gd name="T8" fmla="*/ 82 w 91"/>
              <a:gd name="T9" fmla="*/ 18 h 18"/>
              <a:gd name="T10" fmla="*/ 91 w 91"/>
              <a:gd name="T11" fmla="*/ 9 h 18"/>
              <a:gd name="T12" fmla="*/ 82 w 91"/>
              <a:gd name="T1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1" h="18">
                <a:moveTo>
                  <a:pt x="82" y="0"/>
                </a:moveTo>
                <a:cubicBezTo>
                  <a:pt x="8" y="0"/>
                  <a:pt x="8" y="0"/>
                  <a:pt x="8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4"/>
                  <a:pt x="4" y="18"/>
                  <a:pt x="8" y="18"/>
                </a:cubicBezTo>
                <a:cubicBezTo>
                  <a:pt x="82" y="18"/>
                  <a:pt x="82" y="18"/>
                  <a:pt x="82" y="18"/>
                </a:cubicBezTo>
                <a:cubicBezTo>
                  <a:pt x="87" y="18"/>
                  <a:pt x="91" y="14"/>
                  <a:pt x="91" y="9"/>
                </a:cubicBezTo>
                <a:cubicBezTo>
                  <a:pt x="91" y="4"/>
                  <a:pt x="87" y="0"/>
                  <a:pt x="82" y="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4" name="Freeform 805">
            <a:extLst>
              <a:ext uri="{FF2B5EF4-FFF2-40B4-BE49-F238E27FC236}">
                <a16:creationId xmlns:a16="http://schemas.microsoft.com/office/drawing/2014/main" id="{1F2569C4-F966-48CF-B422-FA3B4D479CCA}"/>
              </a:ext>
            </a:extLst>
          </p:cNvPr>
          <p:cNvSpPr>
            <a:spLocks/>
          </p:cNvSpPr>
          <p:nvPr/>
        </p:nvSpPr>
        <p:spPr bwMode="auto">
          <a:xfrm>
            <a:off x="11816329" y="3457795"/>
            <a:ext cx="102683" cy="113954"/>
          </a:xfrm>
          <a:custGeom>
            <a:avLst/>
            <a:gdLst>
              <a:gd name="T0" fmla="*/ 136 w 198"/>
              <a:gd name="T1" fmla="*/ 218 h 219"/>
              <a:gd name="T2" fmla="*/ 198 w 198"/>
              <a:gd name="T3" fmla="*/ 101 h 219"/>
              <a:gd name="T4" fmla="*/ 99 w 198"/>
              <a:gd name="T5" fmla="*/ 0 h 219"/>
              <a:gd name="T6" fmla="*/ 0 w 198"/>
              <a:gd name="T7" fmla="*/ 101 h 219"/>
              <a:gd name="T8" fmla="*/ 62 w 198"/>
              <a:gd name="T9" fmla="*/ 219 h 219"/>
              <a:gd name="T10" fmla="*/ 62 w 198"/>
              <a:gd name="T11" fmla="*/ 219 h 219"/>
              <a:gd name="T12" fmla="*/ 62 w 198"/>
              <a:gd name="T13" fmla="*/ 219 h 219"/>
              <a:gd name="T14" fmla="*/ 136 w 198"/>
              <a:gd name="T15" fmla="*/ 219 h 219"/>
              <a:gd name="T16" fmla="*/ 136 w 198"/>
              <a:gd name="T17" fmla="*/ 219 h 219"/>
              <a:gd name="T18" fmla="*/ 136 w 198"/>
              <a:gd name="T19" fmla="*/ 219 h 219"/>
              <a:gd name="T20" fmla="*/ 136 w 198"/>
              <a:gd name="T21" fmla="*/ 218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98" h="219">
                <a:moveTo>
                  <a:pt x="136" y="218"/>
                </a:moveTo>
                <a:cubicBezTo>
                  <a:pt x="138" y="184"/>
                  <a:pt x="198" y="163"/>
                  <a:pt x="198" y="101"/>
                </a:cubicBezTo>
                <a:cubicBezTo>
                  <a:pt x="198" y="33"/>
                  <a:pt x="151" y="0"/>
                  <a:pt x="99" y="0"/>
                </a:cubicBezTo>
                <a:cubicBezTo>
                  <a:pt x="47" y="0"/>
                  <a:pt x="0" y="33"/>
                  <a:pt x="0" y="101"/>
                </a:cubicBezTo>
                <a:cubicBezTo>
                  <a:pt x="0" y="164"/>
                  <a:pt x="62" y="185"/>
                  <a:pt x="62" y="219"/>
                </a:cubicBezTo>
                <a:cubicBezTo>
                  <a:pt x="62" y="219"/>
                  <a:pt x="62" y="219"/>
                  <a:pt x="62" y="219"/>
                </a:cubicBezTo>
                <a:cubicBezTo>
                  <a:pt x="62" y="219"/>
                  <a:pt x="62" y="219"/>
                  <a:pt x="62" y="219"/>
                </a:cubicBezTo>
                <a:cubicBezTo>
                  <a:pt x="67" y="219"/>
                  <a:pt x="131" y="219"/>
                  <a:pt x="136" y="219"/>
                </a:cubicBezTo>
                <a:cubicBezTo>
                  <a:pt x="136" y="219"/>
                  <a:pt x="136" y="219"/>
                  <a:pt x="136" y="219"/>
                </a:cubicBezTo>
                <a:cubicBezTo>
                  <a:pt x="136" y="219"/>
                  <a:pt x="136" y="219"/>
                  <a:pt x="136" y="219"/>
                </a:cubicBezTo>
                <a:cubicBezTo>
                  <a:pt x="136" y="219"/>
                  <a:pt x="136" y="218"/>
                  <a:pt x="136" y="21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5" name="Freeform 806">
            <a:extLst>
              <a:ext uri="{FF2B5EF4-FFF2-40B4-BE49-F238E27FC236}">
                <a16:creationId xmlns:a16="http://schemas.microsoft.com/office/drawing/2014/main" id="{8C63B317-CEC6-4127-B39F-F45402E51F40}"/>
              </a:ext>
            </a:extLst>
          </p:cNvPr>
          <p:cNvSpPr>
            <a:spLocks/>
          </p:cNvSpPr>
          <p:nvPr/>
        </p:nvSpPr>
        <p:spPr bwMode="auto">
          <a:xfrm>
            <a:off x="11873932" y="3525415"/>
            <a:ext cx="2504" cy="46333"/>
          </a:xfrm>
          <a:custGeom>
            <a:avLst/>
            <a:gdLst>
              <a:gd name="T0" fmla="*/ 6 w 6"/>
              <a:gd name="T1" fmla="*/ 88 h 88"/>
              <a:gd name="T2" fmla="*/ 1 w 6"/>
              <a:gd name="T3" fmla="*/ 88 h 88"/>
              <a:gd name="T4" fmla="*/ 1 w 6"/>
              <a:gd name="T5" fmla="*/ 6 h 88"/>
              <a:gd name="T6" fmla="*/ 0 w 6"/>
              <a:gd name="T7" fmla="*/ 5 h 88"/>
              <a:gd name="T8" fmla="*/ 0 w 6"/>
              <a:gd name="T9" fmla="*/ 0 h 88"/>
              <a:gd name="T10" fmla="*/ 6 w 6"/>
              <a:gd name="T11" fmla="*/ 6 h 88"/>
              <a:gd name="T12" fmla="*/ 6 w 6"/>
              <a:gd name="T13" fmla="*/ 8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88">
                <a:moveTo>
                  <a:pt x="6" y="88"/>
                </a:moveTo>
                <a:cubicBezTo>
                  <a:pt x="1" y="88"/>
                  <a:pt x="1" y="88"/>
                  <a:pt x="1" y="88"/>
                </a:cubicBezTo>
                <a:cubicBezTo>
                  <a:pt x="1" y="6"/>
                  <a:pt x="1" y="6"/>
                  <a:pt x="1" y="6"/>
                </a:cubicBezTo>
                <a:cubicBezTo>
                  <a:pt x="1" y="5"/>
                  <a:pt x="0" y="5"/>
                  <a:pt x="0" y="5"/>
                </a:cubicBezTo>
                <a:cubicBezTo>
                  <a:pt x="0" y="0"/>
                  <a:pt x="0" y="0"/>
                  <a:pt x="0" y="0"/>
                </a:cubicBezTo>
                <a:cubicBezTo>
                  <a:pt x="3" y="0"/>
                  <a:pt x="6" y="3"/>
                  <a:pt x="6" y="6"/>
                </a:cubicBezTo>
                <a:cubicBezTo>
                  <a:pt x="6" y="88"/>
                  <a:pt x="6" y="88"/>
                  <a:pt x="6" y="88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6" name="Freeform 807">
            <a:extLst>
              <a:ext uri="{FF2B5EF4-FFF2-40B4-BE49-F238E27FC236}">
                <a16:creationId xmlns:a16="http://schemas.microsoft.com/office/drawing/2014/main" id="{9E9A2171-2899-4CBF-B4ED-B5C428A23F21}"/>
              </a:ext>
            </a:extLst>
          </p:cNvPr>
          <p:cNvSpPr>
            <a:spLocks/>
          </p:cNvSpPr>
          <p:nvPr/>
        </p:nvSpPr>
        <p:spPr bwMode="auto">
          <a:xfrm>
            <a:off x="11858905" y="3525415"/>
            <a:ext cx="3757" cy="46333"/>
          </a:xfrm>
          <a:custGeom>
            <a:avLst/>
            <a:gdLst>
              <a:gd name="T0" fmla="*/ 5 w 7"/>
              <a:gd name="T1" fmla="*/ 88 h 88"/>
              <a:gd name="T2" fmla="*/ 0 w 7"/>
              <a:gd name="T3" fmla="*/ 88 h 88"/>
              <a:gd name="T4" fmla="*/ 0 w 7"/>
              <a:gd name="T5" fmla="*/ 6 h 88"/>
              <a:gd name="T6" fmla="*/ 7 w 7"/>
              <a:gd name="T7" fmla="*/ 0 h 88"/>
              <a:gd name="T8" fmla="*/ 7 w 7"/>
              <a:gd name="T9" fmla="*/ 5 h 88"/>
              <a:gd name="T10" fmla="*/ 5 w 7"/>
              <a:gd name="T11" fmla="*/ 6 h 88"/>
              <a:gd name="T12" fmla="*/ 5 w 7"/>
              <a:gd name="T13" fmla="*/ 8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" h="88">
                <a:moveTo>
                  <a:pt x="5" y="88"/>
                </a:moveTo>
                <a:cubicBezTo>
                  <a:pt x="0" y="88"/>
                  <a:pt x="0" y="88"/>
                  <a:pt x="0" y="88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7" y="0"/>
                </a:cubicBezTo>
                <a:cubicBezTo>
                  <a:pt x="7" y="5"/>
                  <a:pt x="7" y="5"/>
                  <a:pt x="7" y="5"/>
                </a:cubicBezTo>
                <a:cubicBezTo>
                  <a:pt x="6" y="5"/>
                  <a:pt x="5" y="5"/>
                  <a:pt x="5" y="6"/>
                </a:cubicBezTo>
                <a:cubicBezTo>
                  <a:pt x="5" y="88"/>
                  <a:pt x="5" y="88"/>
                  <a:pt x="5" y="88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7" name="Freeform 808">
            <a:extLst>
              <a:ext uri="{FF2B5EF4-FFF2-40B4-BE49-F238E27FC236}">
                <a16:creationId xmlns:a16="http://schemas.microsoft.com/office/drawing/2014/main" id="{BD2C0A86-A373-4FFB-BA83-636BE520B297}"/>
              </a:ext>
            </a:extLst>
          </p:cNvPr>
          <p:cNvSpPr>
            <a:spLocks noEditPoints="1"/>
          </p:cNvSpPr>
          <p:nvPr/>
        </p:nvSpPr>
        <p:spPr bwMode="auto">
          <a:xfrm>
            <a:off x="11861410" y="3522911"/>
            <a:ext cx="7513" cy="7513"/>
          </a:xfrm>
          <a:custGeom>
            <a:avLst/>
            <a:gdLst>
              <a:gd name="T0" fmla="*/ 8 w 16"/>
              <a:gd name="T1" fmla="*/ 16 h 16"/>
              <a:gd name="T2" fmla="*/ 0 w 16"/>
              <a:gd name="T3" fmla="*/ 8 h 16"/>
              <a:gd name="T4" fmla="*/ 8 w 16"/>
              <a:gd name="T5" fmla="*/ 0 h 16"/>
              <a:gd name="T6" fmla="*/ 16 w 16"/>
              <a:gd name="T7" fmla="*/ 8 h 16"/>
              <a:gd name="T8" fmla="*/ 8 w 16"/>
              <a:gd name="T9" fmla="*/ 16 h 16"/>
              <a:gd name="T10" fmla="*/ 8 w 16"/>
              <a:gd name="T11" fmla="*/ 5 h 16"/>
              <a:gd name="T12" fmla="*/ 5 w 16"/>
              <a:gd name="T13" fmla="*/ 8 h 16"/>
              <a:gd name="T14" fmla="*/ 8 w 16"/>
              <a:gd name="T15" fmla="*/ 11 h 16"/>
              <a:gd name="T16" fmla="*/ 11 w 16"/>
              <a:gd name="T17" fmla="*/ 8 h 16"/>
              <a:gd name="T18" fmla="*/ 8 w 16"/>
              <a:gd name="T19" fmla="*/ 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" h="16">
                <a:moveTo>
                  <a:pt x="8" y="16"/>
                </a:moveTo>
                <a:cubicBezTo>
                  <a:pt x="4" y="16"/>
                  <a:pt x="0" y="13"/>
                  <a:pt x="0" y="8"/>
                </a:cubicBezTo>
                <a:cubicBezTo>
                  <a:pt x="0" y="4"/>
                  <a:pt x="4" y="0"/>
                  <a:pt x="8" y="0"/>
                </a:cubicBezTo>
                <a:cubicBezTo>
                  <a:pt x="12" y="0"/>
                  <a:pt x="16" y="4"/>
                  <a:pt x="16" y="8"/>
                </a:cubicBezTo>
                <a:cubicBezTo>
                  <a:pt x="16" y="13"/>
                  <a:pt x="12" y="16"/>
                  <a:pt x="8" y="16"/>
                </a:cubicBezTo>
                <a:close/>
                <a:moveTo>
                  <a:pt x="8" y="5"/>
                </a:moveTo>
                <a:cubicBezTo>
                  <a:pt x="6" y="5"/>
                  <a:pt x="5" y="7"/>
                  <a:pt x="5" y="8"/>
                </a:cubicBezTo>
                <a:cubicBezTo>
                  <a:pt x="5" y="10"/>
                  <a:pt x="6" y="11"/>
                  <a:pt x="8" y="11"/>
                </a:cubicBezTo>
                <a:cubicBezTo>
                  <a:pt x="9" y="11"/>
                  <a:pt x="11" y="10"/>
                  <a:pt x="11" y="8"/>
                </a:cubicBezTo>
                <a:cubicBezTo>
                  <a:pt x="11" y="7"/>
                  <a:pt x="9" y="5"/>
                  <a:pt x="8" y="5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8" name="Freeform 809">
            <a:extLst>
              <a:ext uri="{FF2B5EF4-FFF2-40B4-BE49-F238E27FC236}">
                <a16:creationId xmlns:a16="http://schemas.microsoft.com/office/drawing/2014/main" id="{2A02F1B8-79F4-4FF2-9D98-3DA1EA1F2141}"/>
              </a:ext>
            </a:extLst>
          </p:cNvPr>
          <p:cNvSpPr>
            <a:spLocks noEditPoints="1"/>
          </p:cNvSpPr>
          <p:nvPr/>
        </p:nvSpPr>
        <p:spPr bwMode="auto">
          <a:xfrm>
            <a:off x="11866418" y="3522911"/>
            <a:ext cx="7513" cy="7513"/>
          </a:xfrm>
          <a:custGeom>
            <a:avLst/>
            <a:gdLst>
              <a:gd name="T0" fmla="*/ 7 w 15"/>
              <a:gd name="T1" fmla="*/ 16 h 16"/>
              <a:gd name="T2" fmla="*/ 0 w 15"/>
              <a:gd name="T3" fmla="*/ 8 h 16"/>
              <a:gd name="T4" fmla="*/ 7 w 15"/>
              <a:gd name="T5" fmla="*/ 0 h 16"/>
              <a:gd name="T6" fmla="*/ 15 w 15"/>
              <a:gd name="T7" fmla="*/ 8 h 16"/>
              <a:gd name="T8" fmla="*/ 7 w 15"/>
              <a:gd name="T9" fmla="*/ 16 h 16"/>
              <a:gd name="T10" fmla="*/ 7 w 15"/>
              <a:gd name="T11" fmla="*/ 5 h 16"/>
              <a:gd name="T12" fmla="*/ 5 w 15"/>
              <a:gd name="T13" fmla="*/ 8 h 16"/>
              <a:gd name="T14" fmla="*/ 7 w 15"/>
              <a:gd name="T15" fmla="*/ 11 h 16"/>
              <a:gd name="T16" fmla="*/ 10 w 15"/>
              <a:gd name="T17" fmla="*/ 8 h 16"/>
              <a:gd name="T18" fmla="*/ 7 w 15"/>
              <a:gd name="T19" fmla="*/ 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6">
                <a:moveTo>
                  <a:pt x="7" y="16"/>
                </a:moveTo>
                <a:cubicBezTo>
                  <a:pt x="3" y="16"/>
                  <a:pt x="0" y="13"/>
                  <a:pt x="0" y="8"/>
                </a:cubicBezTo>
                <a:cubicBezTo>
                  <a:pt x="0" y="4"/>
                  <a:pt x="3" y="0"/>
                  <a:pt x="7" y="0"/>
                </a:cubicBezTo>
                <a:cubicBezTo>
                  <a:pt x="12" y="0"/>
                  <a:pt x="15" y="4"/>
                  <a:pt x="15" y="8"/>
                </a:cubicBezTo>
                <a:cubicBezTo>
                  <a:pt x="15" y="13"/>
                  <a:pt x="12" y="16"/>
                  <a:pt x="7" y="16"/>
                </a:cubicBezTo>
                <a:close/>
                <a:moveTo>
                  <a:pt x="7" y="5"/>
                </a:moveTo>
                <a:cubicBezTo>
                  <a:pt x="6" y="5"/>
                  <a:pt x="5" y="7"/>
                  <a:pt x="5" y="8"/>
                </a:cubicBezTo>
                <a:cubicBezTo>
                  <a:pt x="5" y="10"/>
                  <a:pt x="6" y="11"/>
                  <a:pt x="7" y="11"/>
                </a:cubicBezTo>
                <a:cubicBezTo>
                  <a:pt x="9" y="11"/>
                  <a:pt x="10" y="10"/>
                  <a:pt x="10" y="8"/>
                </a:cubicBezTo>
                <a:cubicBezTo>
                  <a:pt x="10" y="7"/>
                  <a:pt x="9" y="5"/>
                  <a:pt x="7" y="5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9" name="Freeform 810">
            <a:extLst>
              <a:ext uri="{FF2B5EF4-FFF2-40B4-BE49-F238E27FC236}">
                <a16:creationId xmlns:a16="http://schemas.microsoft.com/office/drawing/2014/main" id="{623497C9-CEE3-415F-B88D-738758156144}"/>
              </a:ext>
            </a:extLst>
          </p:cNvPr>
          <p:cNvSpPr>
            <a:spLocks/>
          </p:cNvSpPr>
          <p:nvPr/>
        </p:nvSpPr>
        <p:spPr bwMode="auto">
          <a:xfrm>
            <a:off x="11857653" y="3598045"/>
            <a:ext cx="20036" cy="8766"/>
          </a:xfrm>
          <a:custGeom>
            <a:avLst/>
            <a:gdLst>
              <a:gd name="T0" fmla="*/ 0 w 40"/>
              <a:gd name="T1" fmla="*/ 0 h 16"/>
              <a:gd name="T2" fmla="*/ 20 w 40"/>
              <a:gd name="T3" fmla="*/ 16 h 16"/>
              <a:gd name="T4" fmla="*/ 40 w 40"/>
              <a:gd name="T5" fmla="*/ 0 h 16"/>
              <a:gd name="T6" fmla="*/ 0 w 40"/>
              <a:gd name="T7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0" h="16">
                <a:moveTo>
                  <a:pt x="0" y="0"/>
                </a:moveTo>
                <a:cubicBezTo>
                  <a:pt x="3" y="9"/>
                  <a:pt x="11" y="16"/>
                  <a:pt x="20" y="16"/>
                </a:cubicBezTo>
                <a:cubicBezTo>
                  <a:pt x="30" y="16"/>
                  <a:pt x="38" y="9"/>
                  <a:pt x="4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0" name="Freeform 811">
            <a:extLst>
              <a:ext uri="{FF2B5EF4-FFF2-40B4-BE49-F238E27FC236}">
                <a16:creationId xmlns:a16="http://schemas.microsoft.com/office/drawing/2014/main" id="{C349349A-1AD9-4A83-ABB0-FBBC1DF0B629}"/>
              </a:ext>
            </a:extLst>
          </p:cNvPr>
          <p:cNvSpPr>
            <a:spLocks/>
          </p:cNvSpPr>
          <p:nvPr/>
        </p:nvSpPr>
        <p:spPr bwMode="auto">
          <a:xfrm>
            <a:off x="11843878" y="3571748"/>
            <a:ext cx="47585" cy="8766"/>
          </a:xfrm>
          <a:custGeom>
            <a:avLst/>
            <a:gdLst>
              <a:gd name="T0" fmla="*/ 83 w 92"/>
              <a:gd name="T1" fmla="*/ 0 h 18"/>
              <a:gd name="T2" fmla="*/ 9 w 92"/>
              <a:gd name="T3" fmla="*/ 0 h 18"/>
              <a:gd name="T4" fmla="*/ 0 w 92"/>
              <a:gd name="T5" fmla="*/ 9 h 18"/>
              <a:gd name="T6" fmla="*/ 9 w 92"/>
              <a:gd name="T7" fmla="*/ 18 h 18"/>
              <a:gd name="T8" fmla="*/ 83 w 92"/>
              <a:gd name="T9" fmla="*/ 18 h 18"/>
              <a:gd name="T10" fmla="*/ 92 w 92"/>
              <a:gd name="T11" fmla="*/ 9 h 18"/>
              <a:gd name="T12" fmla="*/ 83 w 92"/>
              <a:gd name="T1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2" h="18">
                <a:moveTo>
                  <a:pt x="83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4"/>
                  <a:pt x="4" y="18"/>
                  <a:pt x="9" y="18"/>
                </a:cubicBezTo>
                <a:cubicBezTo>
                  <a:pt x="83" y="18"/>
                  <a:pt x="83" y="18"/>
                  <a:pt x="83" y="18"/>
                </a:cubicBezTo>
                <a:cubicBezTo>
                  <a:pt x="88" y="18"/>
                  <a:pt x="92" y="14"/>
                  <a:pt x="92" y="9"/>
                </a:cubicBezTo>
                <a:cubicBezTo>
                  <a:pt x="92" y="4"/>
                  <a:pt x="88" y="0"/>
                  <a:pt x="83" y="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1" name="Freeform 812">
            <a:extLst>
              <a:ext uri="{FF2B5EF4-FFF2-40B4-BE49-F238E27FC236}">
                <a16:creationId xmlns:a16="http://schemas.microsoft.com/office/drawing/2014/main" id="{8865328A-EF9E-4686-AA2C-E15DC4B93016}"/>
              </a:ext>
            </a:extLst>
          </p:cNvPr>
          <p:cNvSpPr>
            <a:spLocks/>
          </p:cNvSpPr>
          <p:nvPr/>
        </p:nvSpPr>
        <p:spPr bwMode="auto">
          <a:xfrm>
            <a:off x="11843878" y="3580514"/>
            <a:ext cx="47585" cy="8766"/>
          </a:xfrm>
          <a:custGeom>
            <a:avLst/>
            <a:gdLst>
              <a:gd name="T0" fmla="*/ 83 w 92"/>
              <a:gd name="T1" fmla="*/ 0 h 17"/>
              <a:gd name="T2" fmla="*/ 9 w 92"/>
              <a:gd name="T3" fmla="*/ 0 h 17"/>
              <a:gd name="T4" fmla="*/ 0 w 92"/>
              <a:gd name="T5" fmla="*/ 8 h 17"/>
              <a:gd name="T6" fmla="*/ 9 w 92"/>
              <a:gd name="T7" fmla="*/ 17 h 17"/>
              <a:gd name="T8" fmla="*/ 83 w 92"/>
              <a:gd name="T9" fmla="*/ 17 h 17"/>
              <a:gd name="T10" fmla="*/ 92 w 92"/>
              <a:gd name="T11" fmla="*/ 8 h 17"/>
              <a:gd name="T12" fmla="*/ 83 w 92"/>
              <a:gd name="T13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2" h="17">
                <a:moveTo>
                  <a:pt x="83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13"/>
                  <a:pt x="4" y="17"/>
                  <a:pt x="9" y="17"/>
                </a:cubicBezTo>
                <a:cubicBezTo>
                  <a:pt x="83" y="17"/>
                  <a:pt x="83" y="17"/>
                  <a:pt x="83" y="17"/>
                </a:cubicBezTo>
                <a:cubicBezTo>
                  <a:pt x="88" y="17"/>
                  <a:pt x="92" y="13"/>
                  <a:pt x="92" y="8"/>
                </a:cubicBezTo>
                <a:cubicBezTo>
                  <a:pt x="92" y="4"/>
                  <a:pt x="88" y="0"/>
                  <a:pt x="83" y="0"/>
                </a:cubicBez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2" name="Freeform 813">
            <a:extLst>
              <a:ext uri="{FF2B5EF4-FFF2-40B4-BE49-F238E27FC236}">
                <a16:creationId xmlns:a16="http://schemas.microsoft.com/office/drawing/2014/main" id="{CAC255BD-3921-4A3F-AE7A-762C1983AC56}"/>
              </a:ext>
            </a:extLst>
          </p:cNvPr>
          <p:cNvSpPr>
            <a:spLocks/>
          </p:cNvSpPr>
          <p:nvPr/>
        </p:nvSpPr>
        <p:spPr bwMode="auto">
          <a:xfrm>
            <a:off x="11843878" y="3589280"/>
            <a:ext cx="47585" cy="10018"/>
          </a:xfrm>
          <a:custGeom>
            <a:avLst/>
            <a:gdLst>
              <a:gd name="T0" fmla="*/ 83 w 92"/>
              <a:gd name="T1" fmla="*/ 0 h 18"/>
              <a:gd name="T2" fmla="*/ 9 w 92"/>
              <a:gd name="T3" fmla="*/ 0 h 18"/>
              <a:gd name="T4" fmla="*/ 0 w 92"/>
              <a:gd name="T5" fmla="*/ 9 h 18"/>
              <a:gd name="T6" fmla="*/ 9 w 92"/>
              <a:gd name="T7" fmla="*/ 18 h 18"/>
              <a:gd name="T8" fmla="*/ 83 w 92"/>
              <a:gd name="T9" fmla="*/ 18 h 18"/>
              <a:gd name="T10" fmla="*/ 92 w 92"/>
              <a:gd name="T11" fmla="*/ 9 h 18"/>
              <a:gd name="T12" fmla="*/ 83 w 92"/>
              <a:gd name="T1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2" h="18">
                <a:moveTo>
                  <a:pt x="83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4"/>
                  <a:pt x="4" y="18"/>
                  <a:pt x="9" y="18"/>
                </a:cubicBezTo>
                <a:cubicBezTo>
                  <a:pt x="83" y="18"/>
                  <a:pt x="83" y="18"/>
                  <a:pt x="83" y="18"/>
                </a:cubicBezTo>
                <a:cubicBezTo>
                  <a:pt x="88" y="18"/>
                  <a:pt x="92" y="14"/>
                  <a:pt x="92" y="9"/>
                </a:cubicBezTo>
                <a:cubicBezTo>
                  <a:pt x="92" y="4"/>
                  <a:pt x="88" y="0"/>
                  <a:pt x="83" y="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3" name="Freeform 814">
            <a:extLst>
              <a:ext uri="{FF2B5EF4-FFF2-40B4-BE49-F238E27FC236}">
                <a16:creationId xmlns:a16="http://schemas.microsoft.com/office/drawing/2014/main" id="{9FD5CC69-A667-40CD-ABB3-6F0E22683008}"/>
              </a:ext>
            </a:extLst>
          </p:cNvPr>
          <p:cNvSpPr>
            <a:spLocks/>
          </p:cNvSpPr>
          <p:nvPr/>
        </p:nvSpPr>
        <p:spPr bwMode="auto">
          <a:xfrm>
            <a:off x="12051749" y="3457795"/>
            <a:ext cx="102683" cy="113954"/>
          </a:xfrm>
          <a:custGeom>
            <a:avLst/>
            <a:gdLst>
              <a:gd name="T0" fmla="*/ 136 w 198"/>
              <a:gd name="T1" fmla="*/ 218 h 219"/>
              <a:gd name="T2" fmla="*/ 198 w 198"/>
              <a:gd name="T3" fmla="*/ 101 h 219"/>
              <a:gd name="T4" fmla="*/ 99 w 198"/>
              <a:gd name="T5" fmla="*/ 0 h 219"/>
              <a:gd name="T6" fmla="*/ 0 w 198"/>
              <a:gd name="T7" fmla="*/ 101 h 219"/>
              <a:gd name="T8" fmla="*/ 62 w 198"/>
              <a:gd name="T9" fmla="*/ 219 h 219"/>
              <a:gd name="T10" fmla="*/ 62 w 198"/>
              <a:gd name="T11" fmla="*/ 219 h 219"/>
              <a:gd name="T12" fmla="*/ 62 w 198"/>
              <a:gd name="T13" fmla="*/ 219 h 219"/>
              <a:gd name="T14" fmla="*/ 136 w 198"/>
              <a:gd name="T15" fmla="*/ 219 h 219"/>
              <a:gd name="T16" fmla="*/ 136 w 198"/>
              <a:gd name="T17" fmla="*/ 219 h 219"/>
              <a:gd name="T18" fmla="*/ 136 w 198"/>
              <a:gd name="T19" fmla="*/ 219 h 219"/>
              <a:gd name="T20" fmla="*/ 136 w 198"/>
              <a:gd name="T21" fmla="*/ 218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98" h="219">
                <a:moveTo>
                  <a:pt x="136" y="218"/>
                </a:moveTo>
                <a:cubicBezTo>
                  <a:pt x="138" y="184"/>
                  <a:pt x="198" y="163"/>
                  <a:pt x="198" y="101"/>
                </a:cubicBezTo>
                <a:cubicBezTo>
                  <a:pt x="198" y="33"/>
                  <a:pt x="150" y="0"/>
                  <a:pt x="99" y="0"/>
                </a:cubicBezTo>
                <a:cubicBezTo>
                  <a:pt x="47" y="0"/>
                  <a:pt x="0" y="33"/>
                  <a:pt x="0" y="101"/>
                </a:cubicBezTo>
                <a:cubicBezTo>
                  <a:pt x="0" y="164"/>
                  <a:pt x="62" y="185"/>
                  <a:pt x="62" y="219"/>
                </a:cubicBezTo>
                <a:cubicBezTo>
                  <a:pt x="62" y="219"/>
                  <a:pt x="62" y="219"/>
                  <a:pt x="62" y="219"/>
                </a:cubicBezTo>
                <a:cubicBezTo>
                  <a:pt x="62" y="219"/>
                  <a:pt x="62" y="219"/>
                  <a:pt x="62" y="219"/>
                </a:cubicBezTo>
                <a:cubicBezTo>
                  <a:pt x="67" y="219"/>
                  <a:pt x="131" y="219"/>
                  <a:pt x="136" y="219"/>
                </a:cubicBezTo>
                <a:cubicBezTo>
                  <a:pt x="136" y="219"/>
                  <a:pt x="136" y="219"/>
                  <a:pt x="136" y="219"/>
                </a:cubicBezTo>
                <a:cubicBezTo>
                  <a:pt x="136" y="219"/>
                  <a:pt x="136" y="219"/>
                  <a:pt x="136" y="219"/>
                </a:cubicBezTo>
                <a:cubicBezTo>
                  <a:pt x="136" y="219"/>
                  <a:pt x="136" y="218"/>
                  <a:pt x="136" y="21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4" name="Freeform 815">
            <a:extLst>
              <a:ext uri="{FF2B5EF4-FFF2-40B4-BE49-F238E27FC236}">
                <a16:creationId xmlns:a16="http://schemas.microsoft.com/office/drawing/2014/main" id="{719519D1-A363-4421-A8B0-322739E7969A}"/>
              </a:ext>
            </a:extLst>
          </p:cNvPr>
          <p:cNvSpPr>
            <a:spLocks/>
          </p:cNvSpPr>
          <p:nvPr/>
        </p:nvSpPr>
        <p:spPr bwMode="auto">
          <a:xfrm>
            <a:off x="12108100" y="3525415"/>
            <a:ext cx="3757" cy="46333"/>
          </a:xfrm>
          <a:custGeom>
            <a:avLst/>
            <a:gdLst>
              <a:gd name="T0" fmla="*/ 7 w 7"/>
              <a:gd name="T1" fmla="*/ 88 h 88"/>
              <a:gd name="T2" fmla="*/ 2 w 7"/>
              <a:gd name="T3" fmla="*/ 88 h 88"/>
              <a:gd name="T4" fmla="*/ 2 w 7"/>
              <a:gd name="T5" fmla="*/ 6 h 88"/>
              <a:gd name="T6" fmla="*/ 0 w 7"/>
              <a:gd name="T7" fmla="*/ 5 h 88"/>
              <a:gd name="T8" fmla="*/ 0 w 7"/>
              <a:gd name="T9" fmla="*/ 0 h 88"/>
              <a:gd name="T10" fmla="*/ 7 w 7"/>
              <a:gd name="T11" fmla="*/ 6 h 88"/>
              <a:gd name="T12" fmla="*/ 7 w 7"/>
              <a:gd name="T13" fmla="*/ 8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" h="88">
                <a:moveTo>
                  <a:pt x="7" y="88"/>
                </a:moveTo>
                <a:cubicBezTo>
                  <a:pt x="2" y="88"/>
                  <a:pt x="2" y="88"/>
                  <a:pt x="2" y="88"/>
                </a:cubicBezTo>
                <a:cubicBezTo>
                  <a:pt x="2" y="6"/>
                  <a:pt x="2" y="6"/>
                  <a:pt x="2" y="6"/>
                </a:cubicBezTo>
                <a:cubicBezTo>
                  <a:pt x="2" y="5"/>
                  <a:pt x="1" y="5"/>
                  <a:pt x="0" y="5"/>
                </a:cubicBezTo>
                <a:cubicBezTo>
                  <a:pt x="0" y="0"/>
                  <a:pt x="0" y="0"/>
                  <a:pt x="0" y="0"/>
                </a:cubicBezTo>
                <a:cubicBezTo>
                  <a:pt x="4" y="0"/>
                  <a:pt x="7" y="3"/>
                  <a:pt x="7" y="6"/>
                </a:cubicBezTo>
                <a:cubicBezTo>
                  <a:pt x="7" y="88"/>
                  <a:pt x="7" y="88"/>
                  <a:pt x="7" y="88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5" name="Freeform 816">
            <a:extLst>
              <a:ext uri="{FF2B5EF4-FFF2-40B4-BE49-F238E27FC236}">
                <a16:creationId xmlns:a16="http://schemas.microsoft.com/office/drawing/2014/main" id="{B3AE2232-91CF-48E5-BDAB-9D6BD39FE327}"/>
              </a:ext>
            </a:extLst>
          </p:cNvPr>
          <p:cNvSpPr>
            <a:spLocks/>
          </p:cNvSpPr>
          <p:nvPr/>
        </p:nvSpPr>
        <p:spPr bwMode="auto">
          <a:xfrm>
            <a:off x="12094325" y="3525415"/>
            <a:ext cx="2504" cy="46333"/>
          </a:xfrm>
          <a:custGeom>
            <a:avLst/>
            <a:gdLst>
              <a:gd name="T0" fmla="*/ 5 w 6"/>
              <a:gd name="T1" fmla="*/ 88 h 88"/>
              <a:gd name="T2" fmla="*/ 0 w 6"/>
              <a:gd name="T3" fmla="*/ 88 h 88"/>
              <a:gd name="T4" fmla="*/ 0 w 6"/>
              <a:gd name="T5" fmla="*/ 6 h 88"/>
              <a:gd name="T6" fmla="*/ 6 w 6"/>
              <a:gd name="T7" fmla="*/ 0 h 88"/>
              <a:gd name="T8" fmla="*/ 6 w 6"/>
              <a:gd name="T9" fmla="*/ 5 h 88"/>
              <a:gd name="T10" fmla="*/ 5 w 6"/>
              <a:gd name="T11" fmla="*/ 6 h 88"/>
              <a:gd name="T12" fmla="*/ 5 w 6"/>
              <a:gd name="T13" fmla="*/ 8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88">
                <a:moveTo>
                  <a:pt x="5" y="88"/>
                </a:moveTo>
                <a:cubicBezTo>
                  <a:pt x="0" y="88"/>
                  <a:pt x="0" y="88"/>
                  <a:pt x="0" y="88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6" y="5"/>
                  <a:pt x="6" y="5"/>
                  <a:pt x="6" y="5"/>
                </a:cubicBezTo>
                <a:cubicBezTo>
                  <a:pt x="6" y="5"/>
                  <a:pt x="5" y="5"/>
                  <a:pt x="5" y="6"/>
                </a:cubicBezTo>
                <a:cubicBezTo>
                  <a:pt x="5" y="88"/>
                  <a:pt x="5" y="88"/>
                  <a:pt x="5" y="88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6" name="Freeform 817">
            <a:extLst>
              <a:ext uri="{FF2B5EF4-FFF2-40B4-BE49-F238E27FC236}">
                <a16:creationId xmlns:a16="http://schemas.microsoft.com/office/drawing/2014/main" id="{07B64B41-8D7F-4BAD-B60F-48B248D41A3A}"/>
              </a:ext>
            </a:extLst>
          </p:cNvPr>
          <p:cNvSpPr>
            <a:spLocks noEditPoints="1"/>
          </p:cNvSpPr>
          <p:nvPr/>
        </p:nvSpPr>
        <p:spPr bwMode="auto">
          <a:xfrm>
            <a:off x="12095578" y="3522911"/>
            <a:ext cx="7513" cy="7513"/>
          </a:xfrm>
          <a:custGeom>
            <a:avLst/>
            <a:gdLst>
              <a:gd name="T0" fmla="*/ 8 w 15"/>
              <a:gd name="T1" fmla="*/ 16 h 16"/>
              <a:gd name="T2" fmla="*/ 0 w 15"/>
              <a:gd name="T3" fmla="*/ 8 h 16"/>
              <a:gd name="T4" fmla="*/ 8 w 15"/>
              <a:gd name="T5" fmla="*/ 0 h 16"/>
              <a:gd name="T6" fmla="*/ 15 w 15"/>
              <a:gd name="T7" fmla="*/ 8 h 16"/>
              <a:gd name="T8" fmla="*/ 8 w 15"/>
              <a:gd name="T9" fmla="*/ 16 h 16"/>
              <a:gd name="T10" fmla="*/ 8 w 15"/>
              <a:gd name="T11" fmla="*/ 5 h 16"/>
              <a:gd name="T12" fmla="*/ 5 w 15"/>
              <a:gd name="T13" fmla="*/ 8 h 16"/>
              <a:gd name="T14" fmla="*/ 8 w 15"/>
              <a:gd name="T15" fmla="*/ 11 h 16"/>
              <a:gd name="T16" fmla="*/ 10 w 15"/>
              <a:gd name="T17" fmla="*/ 8 h 16"/>
              <a:gd name="T18" fmla="*/ 8 w 15"/>
              <a:gd name="T19" fmla="*/ 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16">
                <a:moveTo>
                  <a:pt x="8" y="16"/>
                </a:moveTo>
                <a:cubicBezTo>
                  <a:pt x="3" y="16"/>
                  <a:pt x="0" y="13"/>
                  <a:pt x="0" y="8"/>
                </a:cubicBezTo>
                <a:cubicBezTo>
                  <a:pt x="0" y="4"/>
                  <a:pt x="3" y="0"/>
                  <a:pt x="8" y="0"/>
                </a:cubicBezTo>
                <a:cubicBezTo>
                  <a:pt x="12" y="0"/>
                  <a:pt x="15" y="4"/>
                  <a:pt x="15" y="8"/>
                </a:cubicBezTo>
                <a:cubicBezTo>
                  <a:pt x="15" y="13"/>
                  <a:pt x="12" y="16"/>
                  <a:pt x="8" y="16"/>
                </a:cubicBezTo>
                <a:close/>
                <a:moveTo>
                  <a:pt x="8" y="5"/>
                </a:moveTo>
                <a:cubicBezTo>
                  <a:pt x="6" y="5"/>
                  <a:pt x="5" y="7"/>
                  <a:pt x="5" y="8"/>
                </a:cubicBezTo>
                <a:cubicBezTo>
                  <a:pt x="5" y="10"/>
                  <a:pt x="6" y="11"/>
                  <a:pt x="8" y="11"/>
                </a:cubicBezTo>
                <a:cubicBezTo>
                  <a:pt x="9" y="11"/>
                  <a:pt x="10" y="10"/>
                  <a:pt x="10" y="8"/>
                </a:cubicBezTo>
                <a:cubicBezTo>
                  <a:pt x="10" y="7"/>
                  <a:pt x="9" y="5"/>
                  <a:pt x="8" y="5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7" name="Freeform 818">
            <a:extLst>
              <a:ext uri="{FF2B5EF4-FFF2-40B4-BE49-F238E27FC236}">
                <a16:creationId xmlns:a16="http://schemas.microsoft.com/office/drawing/2014/main" id="{61197312-BBE4-47AE-BEC0-8FD735C27A31}"/>
              </a:ext>
            </a:extLst>
          </p:cNvPr>
          <p:cNvSpPr>
            <a:spLocks noEditPoints="1"/>
          </p:cNvSpPr>
          <p:nvPr/>
        </p:nvSpPr>
        <p:spPr bwMode="auto">
          <a:xfrm>
            <a:off x="12100587" y="3522911"/>
            <a:ext cx="8766" cy="7513"/>
          </a:xfrm>
          <a:custGeom>
            <a:avLst/>
            <a:gdLst>
              <a:gd name="T0" fmla="*/ 8 w 16"/>
              <a:gd name="T1" fmla="*/ 16 h 16"/>
              <a:gd name="T2" fmla="*/ 0 w 16"/>
              <a:gd name="T3" fmla="*/ 8 h 16"/>
              <a:gd name="T4" fmla="*/ 8 w 16"/>
              <a:gd name="T5" fmla="*/ 0 h 16"/>
              <a:gd name="T6" fmla="*/ 16 w 16"/>
              <a:gd name="T7" fmla="*/ 8 h 16"/>
              <a:gd name="T8" fmla="*/ 8 w 16"/>
              <a:gd name="T9" fmla="*/ 16 h 16"/>
              <a:gd name="T10" fmla="*/ 8 w 16"/>
              <a:gd name="T11" fmla="*/ 5 h 16"/>
              <a:gd name="T12" fmla="*/ 5 w 16"/>
              <a:gd name="T13" fmla="*/ 8 h 16"/>
              <a:gd name="T14" fmla="*/ 8 w 16"/>
              <a:gd name="T15" fmla="*/ 11 h 16"/>
              <a:gd name="T16" fmla="*/ 11 w 16"/>
              <a:gd name="T17" fmla="*/ 8 h 16"/>
              <a:gd name="T18" fmla="*/ 8 w 16"/>
              <a:gd name="T19" fmla="*/ 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" h="16">
                <a:moveTo>
                  <a:pt x="8" y="16"/>
                </a:moveTo>
                <a:cubicBezTo>
                  <a:pt x="4" y="16"/>
                  <a:pt x="0" y="13"/>
                  <a:pt x="0" y="8"/>
                </a:cubicBezTo>
                <a:cubicBezTo>
                  <a:pt x="0" y="4"/>
                  <a:pt x="4" y="0"/>
                  <a:pt x="8" y="0"/>
                </a:cubicBezTo>
                <a:cubicBezTo>
                  <a:pt x="12" y="0"/>
                  <a:pt x="16" y="4"/>
                  <a:pt x="16" y="8"/>
                </a:cubicBezTo>
                <a:cubicBezTo>
                  <a:pt x="16" y="13"/>
                  <a:pt x="12" y="16"/>
                  <a:pt x="8" y="16"/>
                </a:cubicBezTo>
                <a:close/>
                <a:moveTo>
                  <a:pt x="8" y="5"/>
                </a:moveTo>
                <a:cubicBezTo>
                  <a:pt x="7" y="5"/>
                  <a:pt x="5" y="7"/>
                  <a:pt x="5" y="8"/>
                </a:cubicBezTo>
                <a:cubicBezTo>
                  <a:pt x="5" y="10"/>
                  <a:pt x="7" y="11"/>
                  <a:pt x="8" y="11"/>
                </a:cubicBezTo>
                <a:cubicBezTo>
                  <a:pt x="10" y="11"/>
                  <a:pt x="11" y="10"/>
                  <a:pt x="11" y="8"/>
                </a:cubicBezTo>
                <a:cubicBezTo>
                  <a:pt x="11" y="7"/>
                  <a:pt x="10" y="5"/>
                  <a:pt x="8" y="5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8" name="Freeform 819">
            <a:extLst>
              <a:ext uri="{FF2B5EF4-FFF2-40B4-BE49-F238E27FC236}">
                <a16:creationId xmlns:a16="http://schemas.microsoft.com/office/drawing/2014/main" id="{925B0CAE-E2E4-49DE-B217-0124296F017E}"/>
              </a:ext>
            </a:extLst>
          </p:cNvPr>
          <p:cNvSpPr>
            <a:spLocks/>
          </p:cNvSpPr>
          <p:nvPr/>
        </p:nvSpPr>
        <p:spPr bwMode="auto">
          <a:xfrm>
            <a:off x="12091821" y="3598045"/>
            <a:ext cx="21288" cy="8766"/>
          </a:xfrm>
          <a:custGeom>
            <a:avLst/>
            <a:gdLst>
              <a:gd name="T0" fmla="*/ 0 w 40"/>
              <a:gd name="T1" fmla="*/ 0 h 16"/>
              <a:gd name="T2" fmla="*/ 20 w 40"/>
              <a:gd name="T3" fmla="*/ 16 h 16"/>
              <a:gd name="T4" fmla="*/ 40 w 40"/>
              <a:gd name="T5" fmla="*/ 0 h 16"/>
              <a:gd name="T6" fmla="*/ 0 w 40"/>
              <a:gd name="T7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0" h="16">
                <a:moveTo>
                  <a:pt x="0" y="0"/>
                </a:moveTo>
                <a:cubicBezTo>
                  <a:pt x="2" y="9"/>
                  <a:pt x="10" y="16"/>
                  <a:pt x="20" y="16"/>
                </a:cubicBezTo>
                <a:cubicBezTo>
                  <a:pt x="29" y="16"/>
                  <a:pt x="37" y="9"/>
                  <a:pt x="4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9" name="Freeform 820">
            <a:extLst>
              <a:ext uri="{FF2B5EF4-FFF2-40B4-BE49-F238E27FC236}">
                <a16:creationId xmlns:a16="http://schemas.microsoft.com/office/drawing/2014/main" id="{4E75A165-337D-4694-83F4-4872F87BA294}"/>
              </a:ext>
            </a:extLst>
          </p:cNvPr>
          <p:cNvSpPr>
            <a:spLocks/>
          </p:cNvSpPr>
          <p:nvPr/>
        </p:nvSpPr>
        <p:spPr bwMode="auto">
          <a:xfrm>
            <a:off x="12079298" y="3571748"/>
            <a:ext cx="46333" cy="8766"/>
          </a:xfrm>
          <a:custGeom>
            <a:avLst/>
            <a:gdLst>
              <a:gd name="T0" fmla="*/ 83 w 91"/>
              <a:gd name="T1" fmla="*/ 0 h 18"/>
              <a:gd name="T2" fmla="*/ 9 w 91"/>
              <a:gd name="T3" fmla="*/ 0 h 18"/>
              <a:gd name="T4" fmla="*/ 0 w 91"/>
              <a:gd name="T5" fmla="*/ 9 h 18"/>
              <a:gd name="T6" fmla="*/ 9 w 91"/>
              <a:gd name="T7" fmla="*/ 18 h 18"/>
              <a:gd name="T8" fmla="*/ 83 w 91"/>
              <a:gd name="T9" fmla="*/ 18 h 18"/>
              <a:gd name="T10" fmla="*/ 91 w 91"/>
              <a:gd name="T11" fmla="*/ 9 h 18"/>
              <a:gd name="T12" fmla="*/ 83 w 91"/>
              <a:gd name="T1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1" h="18">
                <a:moveTo>
                  <a:pt x="83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4"/>
                  <a:pt x="4" y="18"/>
                  <a:pt x="9" y="18"/>
                </a:cubicBezTo>
                <a:cubicBezTo>
                  <a:pt x="83" y="18"/>
                  <a:pt x="83" y="18"/>
                  <a:pt x="83" y="18"/>
                </a:cubicBezTo>
                <a:cubicBezTo>
                  <a:pt x="88" y="18"/>
                  <a:pt x="91" y="14"/>
                  <a:pt x="91" y="9"/>
                </a:cubicBezTo>
                <a:cubicBezTo>
                  <a:pt x="91" y="4"/>
                  <a:pt x="88" y="0"/>
                  <a:pt x="83" y="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0" name="Freeform 821">
            <a:extLst>
              <a:ext uri="{FF2B5EF4-FFF2-40B4-BE49-F238E27FC236}">
                <a16:creationId xmlns:a16="http://schemas.microsoft.com/office/drawing/2014/main" id="{236B8845-221D-4356-84ED-5BC725F6538E}"/>
              </a:ext>
            </a:extLst>
          </p:cNvPr>
          <p:cNvSpPr>
            <a:spLocks/>
          </p:cNvSpPr>
          <p:nvPr/>
        </p:nvSpPr>
        <p:spPr bwMode="auto">
          <a:xfrm>
            <a:off x="12079298" y="3580514"/>
            <a:ext cx="46333" cy="8766"/>
          </a:xfrm>
          <a:custGeom>
            <a:avLst/>
            <a:gdLst>
              <a:gd name="T0" fmla="*/ 83 w 91"/>
              <a:gd name="T1" fmla="*/ 0 h 17"/>
              <a:gd name="T2" fmla="*/ 9 w 91"/>
              <a:gd name="T3" fmla="*/ 0 h 17"/>
              <a:gd name="T4" fmla="*/ 0 w 91"/>
              <a:gd name="T5" fmla="*/ 8 h 17"/>
              <a:gd name="T6" fmla="*/ 9 w 91"/>
              <a:gd name="T7" fmla="*/ 17 h 17"/>
              <a:gd name="T8" fmla="*/ 83 w 91"/>
              <a:gd name="T9" fmla="*/ 17 h 17"/>
              <a:gd name="T10" fmla="*/ 91 w 91"/>
              <a:gd name="T11" fmla="*/ 8 h 17"/>
              <a:gd name="T12" fmla="*/ 83 w 91"/>
              <a:gd name="T13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1" h="17">
                <a:moveTo>
                  <a:pt x="83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13"/>
                  <a:pt x="4" y="17"/>
                  <a:pt x="9" y="17"/>
                </a:cubicBezTo>
                <a:cubicBezTo>
                  <a:pt x="83" y="17"/>
                  <a:pt x="83" y="17"/>
                  <a:pt x="83" y="17"/>
                </a:cubicBezTo>
                <a:cubicBezTo>
                  <a:pt x="88" y="17"/>
                  <a:pt x="91" y="13"/>
                  <a:pt x="91" y="8"/>
                </a:cubicBezTo>
                <a:cubicBezTo>
                  <a:pt x="91" y="4"/>
                  <a:pt x="88" y="0"/>
                  <a:pt x="83" y="0"/>
                </a:cubicBez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1" name="Freeform 822">
            <a:extLst>
              <a:ext uri="{FF2B5EF4-FFF2-40B4-BE49-F238E27FC236}">
                <a16:creationId xmlns:a16="http://schemas.microsoft.com/office/drawing/2014/main" id="{F99615A5-5BD5-40D7-9628-DEFEF3FC3430}"/>
              </a:ext>
            </a:extLst>
          </p:cNvPr>
          <p:cNvSpPr>
            <a:spLocks/>
          </p:cNvSpPr>
          <p:nvPr/>
        </p:nvSpPr>
        <p:spPr bwMode="auto">
          <a:xfrm>
            <a:off x="12079298" y="3589280"/>
            <a:ext cx="46333" cy="10018"/>
          </a:xfrm>
          <a:custGeom>
            <a:avLst/>
            <a:gdLst>
              <a:gd name="T0" fmla="*/ 83 w 91"/>
              <a:gd name="T1" fmla="*/ 0 h 18"/>
              <a:gd name="T2" fmla="*/ 9 w 91"/>
              <a:gd name="T3" fmla="*/ 0 h 18"/>
              <a:gd name="T4" fmla="*/ 0 w 91"/>
              <a:gd name="T5" fmla="*/ 9 h 18"/>
              <a:gd name="T6" fmla="*/ 9 w 91"/>
              <a:gd name="T7" fmla="*/ 18 h 18"/>
              <a:gd name="T8" fmla="*/ 83 w 91"/>
              <a:gd name="T9" fmla="*/ 18 h 18"/>
              <a:gd name="T10" fmla="*/ 91 w 91"/>
              <a:gd name="T11" fmla="*/ 9 h 18"/>
              <a:gd name="T12" fmla="*/ 83 w 91"/>
              <a:gd name="T1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1" h="18">
                <a:moveTo>
                  <a:pt x="83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4"/>
                  <a:pt x="4" y="18"/>
                  <a:pt x="9" y="18"/>
                </a:cubicBezTo>
                <a:cubicBezTo>
                  <a:pt x="83" y="18"/>
                  <a:pt x="83" y="18"/>
                  <a:pt x="83" y="18"/>
                </a:cubicBezTo>
                <a:cubicBezTo>
                  <a:pt x="88" y="18"/>
                  <a:pt x="91" y="14"/>
                  <a:pt x="91" y="9"/>
                </a:cubicBezTo>
                <a:cubicBezTo>
                  <a:pt x="91" y="4"/>
                  <a:pt x="88" y="0"/>
                  <a:pt x="83" y="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2" name="Freeform 823">
            <a:extLst>
              <a:ext uri="{FF2B5EF4-FFF2-40B4-BE49-F238E27FC236}">
                <a16:creationId xmlns:a16="http://schemas.microsoft.com/office/drawing/2014/main" id="{DBCC3302-0DBE-437E-B2D3-EAE711890F88}"/>
              </a:ext>
            </a:extLst>
          </p:cNvPr>
          <p:cNvSpPr>
            <a:spLocks/>
          </p:cNvSpPr>
          <p:nvPr/>
        </p:nvSpPr>
        <p:spPr bwMode="auto">
          <a:xfrm>
            <a:off x="10624203" y="3690710"/>
            <a:ext cx="121467" cy="123972"/>
          </a:xfrm>
          <a:custGeom>
            <a:avLst/>
            <a:gdLst>
              <a:gd name="T0" fmla="*/ 231 w 232"/>
              <a:gd name="T1" fmla="*/ 152 h 238"/>
              <a:gd name="T2" fmla="*/ 166 w 232"/>
              <a:gd name="T3" fmla="*/ 37 h 238"/>
              <a:gd name="T4" fmla="*/ 28 w 232"/>
              <a:gd name="T5" fmla="*/ 66 h 238"/>
              <a:gd name="T6" fmla="*/ 59 w 232"/>
              <a:gd name="T7" fmla="*/ 204 h 238"/>
              <a:gd name="T8" fmla="*/ 192 w 232"/>
              <a:gd name="T9" fmla="*/ 215 h 238"/>
              <a:gd name="T10" fmla="*/ 192 w 232"/>
              <a:gd name="T11" fmla="*/ 215 h 238"/>
              <a:gd name="T12" fmla="*/ 192 w 232"/>
              <a:gd name="T13" fmla="*/ 215 h 238"/>
              <a:gd name="T14" fmla="*/ 232 w 232"/>
              <a:gd name="T15" fmla="*/ 153 h 238"/>
              <a:gd name="T16" fmla="*/ 232 w 232"/>
              <a:gd name="T17" fmla="*/ 153 h 238"/>
              <a:gd name="T18" fmla="*/ 232 w 232"/>
              <a:gd name="T19" fmla="*/ 153 h 238"/>
              <a:gd name="T20" fmla="*/ 231 w 232"/>
              <a:gd name="T21" fmla="*/ 152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32" h="238">
                <a:moveTo>
                  <a:pt x="231" y="152"/>
                </a:moveTo>
                <a:cubicBezTo>
                  <a:pt x="204" y="132"/>
                  <a:pt x="218" y="70"/>
                  <a:pt x="166" y="37"/>
                </a:cubicBezTo>
                <a:cubicBezTo>
                  <a:pt x="109" y="0"/>
                  <a:pt x="55" y="22"/>
                  <a:pt x="28" y="66"/>
                </a:cubicBezTo>
                <a:cubicBezTo>
                  <a:pt x="0" y="109"/>
                  <a:pt x="2" y="167"/>
                  <a:pt x="59" y="204"/>
                </a:cubicBezTo>
                <a:cubicBezTo>
                  <a:pt x="112" y="238"/>
                  <a:pt x="163" y="197"/>
                  <a:pt x="192" y="215"/>
                </a:cubicBezTo>
                <a:cubicBezTo>
                  <a:pt x="192" y="215"/>
                  <a:pt x="192" y="215"/>
                  <a:pt x="192" y="215"/>
                </a:cubicBezTo>
                <a:cubicBezTo>
                  <a:pt x="192" y="215"/>
                  <a:pt x="192" y="215"/>
                  <a:pt x="192" y="215"/>
                </a:cubicBezTo>
                <a:cubicBezTo>
                  <a:pt x="195" y="211"/>
                  <a:pt x="230" y="157"/>
                  <a:pt x="232" y="153"/>
                </a:cubicBezTo>
                <a:cubicBezTo>
                  <a:pt x="232" y="153"/>
                  <a:pt x="232" y="153"/>
                  <a:pt x="232" y="153"/>
                </a:cubicBezTo>
                <a:cubicBezTo>
                  <a:pt x="232" y="153"/>
                  <a:pt x="232" y="153"/>
                  <a:pt x="232" y="153"/>
                </a:cubicBezTo>
                <a:cubicBezTo>
                  <a:pt x="232" y="153"/>
                  <a:pt x="231" y="152"/>
                  <a:pt x="231" y="15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3" name="Freeform 824">
            <a:extLst>
              <a:ext uri="{FF2B5EF4-FFF2-40B4-BE49-F238E27FC236}">
                <a16:creationId xmlns:a16="http://schemas.microsoft.com/office/drawing/2014/main" id="{8683AA81-693B-47F0-96F7-F5D8F92A9F20}"/>
              </a:ext>
            </a:extLst>
          </p:cNvPr>
          <p:cNvSpPr>
            <a:spLocks/>
          </p:cNvSpPr>
          <p:nvPr/>
        </p:nvSpPr>
        <p:spPr bwMode="auto">
          <a:xfrm>
            <a:off x="10699337" y="3755826"/>
            <a:ext cx="40071" cy="25045"/>
          </a:xfrm>
          <a:custGeom>
            <a:avLst/>
            <a:gdLst>
              <a:gd name="T0" fmla="*/ 75 w 77"/>
              <a:gd name="T1" fmla="*/ 50 h 50"/>
              <a:gd name="T2" fmla="*/ 6 w 77"/>
              <a:gd name="T3" fmla="*/ 6 h 50"/>
              <a:gd name="T4" fmla="*/ 5 w 77"/>
              <a:gd name="T5" fmla="*/ 5 h 50"/>
              <a:gd name="T6" fmla="*/ 4 w 77"/>
              <a:gd name="T7" fmla="*/ 6 h 50"/>
              <a:gd name="T8" fmla="*/ 0 w 77"/>
              <a:gd name="T9" fmla="*/ 3 h 50"/>
              <a:gd name="T10" fmla="*/ 4 w 77"/>
              <a:gd name="T11" fmla="*/ 1 h 50"/>
              <a:gd name="T12" fmla="*/ 8 w 77"/>
              <a:gd name="T13" fmla="*/ 1 h 50"/>
              <a:gd name="T14" fmla="*/ 77 w 77"/>
              <a:gd name="T15" fmla="*/ 46 h 50"/>
              <a:gd name="T16" fmla="*/ 75 w 77"/>
              <a:gd name="T17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7" h="50">
                <a:moveTo>
                  <a:pt x="75" y="50"/>
                </a:moveTo>
                <a:cubicBezTo>
                  <a:pt x="6" y="6"/>
                  <a:pt x="6" y="6"/>
                  <a:pt x="6" y="6"/>
                </a:cubicBezTo>
                <a:cubicBezTo>
                  <a:pt x="5" y="5"/>
                  <a:pt x="5" y="5"/>
                  <a:pt x="5" y="5"/>
                </a:cubicBezTo>
                <a:cubicBezTo>
                  <a:pt x="4" y="6"/>
                  <a:pt x="4" y="6"/>
                  <a:pt x="4" y="6"/>
                </a:cubicBezTo>
                <a:cubicBezTo>
                  <a:pt x="0" y="3"/>
                  <a:pt x="0" y="3"/>
                  <a:pt x="0" y="3"/>
                </a:cubicBezTo>
                <a:cubicBezTo>
                  <a:pt x="0" y="2"/>
                  <a:pt x="2" y="1"/>
                  <a:pt x="4" y="1"/>
                </a:cubicBezTo>
                <a:cubicBezTo>
                  <a:pt x="5" y="0"/>
                  <a:pt x="7" y="1"/>
                  <a:pt x="8" y="1"/>
                </a:cubicBezTo>
                <a:cubicBezTo>
                  <a:pt x="77" y="46"/>
                  <a:pt x="77" y="46"/>
                  <a:pt x="77" y="46"/>
                </a:cubicBezTo>
                <a:cubicBezTo>
                  <a:pt x="75" y="50"/>
                  <a:pt x="75" y="50"/>
                  <a:pt x="75" y="5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4" name="Freeform 825">
            <a:extLst>
              <a:ext uri="{FF2B5EF4-FFF2-40B4-BE49-F238E27FC236}">
                <a16:creationId xmlns:a16="http://schemas.microsoft.com/office/drawing/2014/main" id="{AB3ADE76-7C53-4A89-9811-7CFFE3633EF6}"/>
              </a:ext>
            </a:extLst>
          </p:cNvPr>
          <p:cNvSpPr>
            <a:spLocks/>
          </p:cNvSpPr>
          <p:nvPr/>
        </p:nvSpPr>
        <p:spPr bwMode="auto">
          <a:xfrm>
            <a:off x="10691823" y="3765844"/>
            <a:ext cx="40071" cy="27549"/>
          </a:xfrm>
          <a:custGeom>
            <a:avLst/>
            <a:gdLst>
              <a:gd name="T0" fmla="*/ 73 w 76"/>
              <a:gd name="T1" fmla="*/ 53 h 53"/>
              <a:gd name="T2" fmla="*/ 4 w 76"/>
              <a:gd name="T3" fmla="*/ 9 h 53"/>
              <a:gd name="T4" fmla="*/ 2 w 76"/>
              <a:gd name="T5" fmla="*/ 0 h 53"/>
              <a:gd name="T6" fmla="*/ 6 w 76"/>
              <a:gd name="T7" fmla="*/ 3 h 53"/>
              <a:gd name="T8" fmla="*/ 7 w 76"/>
              <a:gd name="T9" fmla="*/ 5 h 53"/>
              <a:gd name="T10" fmla="*/ 76 w 76"/>
              <a:gd name="T11" fmla="*/ 49 h 53"/>
              <a:gd name="T12" fmla="*/ 73 w 76"/>
              <a:gd name="T13" fmla="*/ 5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6" h="53">
                <a:moveTo>
                  <a:pt x="73" y="53"/>
                </a:moveTo>
                <a:cubicBezTo>
                  <a:pt x="4" y="9"/>
                  <a:pt x="4" y="9"/>
                  <a:pt x="4" y="9"/>
                </a:cubicBezTo>
                <a:cubicBezTo>
                  <a:pt x="1" y="7"/>
                  <a:pt x="0" y="3"/>
                  <a:pt x="2" y="0"/>
                </a:cubicBezTo>
                <a:cubicBezTo>
                  <a:pt x="6" y="3"/>
                  <a:pt x="6" y="3"/>
                  <a:pt x="6" y="3"/>
                </a:cubicBezTo>
                <a:cubicBezTo>
                  <a:pt x="6" y="4"/>
                  <a:pt x="6" y="5"/>
                  <a:pt x="7" y="5"/>
                </a:cubicBezTo>
                <a:cubicBezTo>
                  <a:pt x="76" y="49"/>
                  <a:pt x="76" y="49"/>
                  <a:pt x="76" y="49"/>
                </a:cubicBezTo>
                <a:cubicBezTo>
                  <a:pt x="73" y="53"/>
                  <a:pt x="73" y="53"/>
                  <a:pt x="73" y="53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5" name="Freeform 826">
            <a:extLst>
              <a:ext uri="{FF2B5EF4-FFF2-40B4-BE49-F238E27FC236}">
                <a16:creationId xmlns:a16="http://schemas.microsoft.com/office/drawing/2014/main" id="{A0359941-0BE8-4986-90FD-4764E904AE67}"/>
              </a:ext>
            </a:extLst>
          </p:cNvPr>
          <p:cNvSpPr>
            <a:spLocks noEditPoints="1"/>
          </p:cNvSpPr>
          <p:nvPr/>
        </p:nvSpPr>
        <p:spPr bwMode="auto">
          <a:xfrm>
            <a:off x="10690571" y="3759583"/>
            <a:ext cx="8766" cy="8766"/>
          </a:xfrm>
          <a:custGeom>
            <a:avLst/>
            <a:gdLst>
              <a:gd name="T0" fmla="*/ 9 w 17"/>
              <a:gd name="T1" fmla="*/ 17 h 17"/>
              <a:gd name="T2" fmla="*/ 5 w 17"/>
              <a:gd name="T3" fmla="*/ 16 h 17"/>
              <a:gd name="T4" fmla="*/ 2 w 17"/>
              <a:gd name="T5" fmla="*/ 5 h 17"/>
              <a:gd name="T6" fmla="*/ 13 w 17"/>
              <a:gd name="T7" fmla="*/ 3 h 17"/>
              <a:gd name="T8" fmla="*/ 17 w 17"/>
              <a:gd name="T9" fmla="*/ 7 h 17"/>
              <a:gd name="T10" fmla="*/ 16 w 17"/>
              <a:gd name="T11" fmla="*/ 13 h 17"/>
              <a:gd name="T12" fmla="*/ 9 w 17"/>
              <a:gd name="T13" fmla="*/ 17 h 17"/>
              <a:gd name="T14" fmla="*/ 9 w 17"/>
              <a:gd name="T15" fmla="*/ 6 h 17"/>
              <a:gd name="T16" fmla="*/ 7 w 17"/>
              <a:gd name="T17" fmla="*/ 8 h 17"/>
              <a:gd name="T18" fmla="*/ 8 w 17"/>
              <a:gd name="T19" fmla="*/ 11 h 17"/>
              <a:gd name="T20" fmla="*/ 11 w 17"/>
              <a:gd name="T21" fmla="*/ 11 h 17"/>
              <a:gd name="T22" fmla="*/ 12 w 17"/>
              <a:gd name="T23" fmla="*/ 9 h 17"/>
              <a:gd name="T24" fmla="*/ 11 w 17"/>
              <a:gd name="T25" fmla="*/ 7 h 17"/>
              <a:gd name="T26" fmla="*/ 9 w 17"/>
              <a:gd name="T27" fmla="*/ 6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7" h="17">
                <a:moveTo>
                  <a:pt x="9" y="17"/>
                </a:moveTo>
                <a:cubicBezTo>
                  <a:pt x="8" y="17"/>
                  <a:pt x="6" y="17"/>
                  <a:pt x="5" y="16"/>
                </a:cubicBezTo>
                <a:cubicBezTo>
                  <a:pt x="1" y="13"/>
                  <a:pt x="0" y="9"/>
                  <a:pt x="2" y="5"/>
                </a:cubicBezTo>
                <a:cubicBezTo>
                  <a:pt x="5" y="1"/>
                  <a:pt x="10" y="0"/>
                  <a:pt x="13" y="3"/>
                </a:cubicBezTo>
                <a:cubicBezTo>
                  <a:pt x="15" y="4"/>
                  <a:pt x="16" y="5"/>
                  <a:pt x="17" y="7"/>
                </a:cubicBezTo>
                <a:cubicBezTo>
                  <a:pt x="17" y="10"/>
                  <a:pt x="17" y="12"/>
                  <a:pt x="16" y="13"/>
                </a:cubicBezTo>
                <a:cubicBezTo>
                  <a:pt x="14" y="16"/>
                  <a:pt x="12" y="17"/>
                  <a:pt x="9" y="17"/>
                </a:cubicBezTo>
                <a:close/>
                <a:moveTo>
                  <a:pt x="9" y="6"/>
                </a:moveTo>
                <a:cubicBezTo>
                  <a:pt x="8" y="6"/>
                  <a:pt x="7" y="7"/>
                  <a:pt x="7" y="8"/>
                </a:cubicBezTo>
                <a:cubicBezTo>
                  <a:pt x="6" y="9"/>
                  <a:pt x="6" y="11"/>
                  <a:pt x="8" y="11"/>
                </a:cubicBezTo>
                <a:cubicBezTo>
                  <a:pt x="9" y="12"/>
                  <a:pt x="11" y="12"/>
                  <a:pt x="11" y="11"/>
                </a:cubicBezTo>
                <a:cubicBezTo>
                  <a:pt x="12" y="10"/>
                  <a:pt x="12" y="9"/>
                  <a:pt x="12" y="9"/>
                </a:cubicBezTo>
                <a:cubicBezTo>
                  <a:pt x="12" y="8"/>
                  <a:pt x="11" y="7"/>
                  <a:pt x="11" y="7"/>
                </a:cubicBezTo>
                <a:cubicBezTo>
                  <a:pt x="10" y="7"/>
                  <a:pt x="10" y="6"/>
                  <a:pt x="9" y="6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6" name="Freeform 827">
            <a:extLst>
              <a:ext uri="{FF2B5EF4-FFF2-40B4-BE49-F238E27FC236}">
                <a16:creationId xmlns:a16="http://schemas.microsoft.com/office/drawing/2014/main" id="{A2FDD341-C09B-44FE-BBD3-6AE9F1F5C8BA}"/>
              </a:ext>
            </a:extLst>
          </p:cNvPr>
          <p:cNvSpPr>
            <a:spLocks noEditPoints="1"/>
          </p:cNvSpPr>
          <p:nvPr/>
        </p:nvSpPr>
        <p:spPr bwMode="auto">
          <a:xfrm>
            <a:off x="10694328" y="3755826"/>
            <a:ext cx="8766" cy="8766"/>
          </a:xfrm>
          <a:custGeom>
            <a:avLst/>
            <a:gdLst>
              <a:gd name="T0" fmla="*/ 9 w 17"/>
              <a:gd name="T1" fmla="*/ 17 h 17"/>
              <a:gd name="T2" fmla="*/ 5 w 17"/>
              <a:gd name="T3" fmla="*/ 16 h 17"/>
              <a:gd name="T4" fmla="*/ 2 w 17"/>
              <a:gd name="T5" fmla="*/ 5 h 17"/>
              <a:gd name="T6" fmla="*/ 13 w 17"/>
              <a:gd name="T7" fmla="*/ 3 h 17"/>
              <a:gd name="T8" fmla="*/ 16 w 17"/>
              <a:gd name="T9" fmla="*/ 8 h 17"/>
              <a:gd name="T10" fmla="*/ 15 w 17"/>
              <a:gd name="T11" fmla="*/ 13 h 17"/>
              <a:gd name="T12" fmla="*/ 9 w 17"/>
              <a:gd name="T13" fmla="*/ 17 h 17"/>
              <a:gd name="T14" fmla="*/ 9 w 17"/>
              <a:gd name="T15" fmla="*/ 6 h 17"/>
              <a:gd name="T16" fmla="*/ 6 w 17"/>
              <a:gd name="T17" fmla="*/ 8 h 17"/>
              <a:gd name="T18" fmla="*/ 7 w 17"/>
              <a:gd name="T19" fmla="*/ 12 h 17"/>
              <a:gd name="T20" fmla="*/ 11 w 17"/>
              <a:gd name="T21" fmla="*/ 11 h 17"/>
              <a:gd name="T22" fmla="*/ 11 w 17"/>
              <a:gd name="T23" fmla="*/ 9 h 17"/>
              <a:gd name="T24" fmla="*/ 10 w 17"/>
              <a:gd name="T25" fmla="*/ 7 h 17"/>
              <a:gd name="T26" fmla="*/ 9 w 17"/>
              <a:gd name="T27" fmla="*/ 6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7" h="17">
                <a:moveTo>
                  <a:pt x="9" y="17"/>
                </a:moveTo>
                <a:cubicBezTo>
                  <a:pt x="7" y="17"/>
                  <a:pt x="6" y="17"/>
                  <a:pt x="5" y="16"/>
                </a:cubicBezTo>
                <a:cubicBezTo>
                  <a:pt x="1" y="13"/>
                  <a:pt x="0" y="9"/>
                  <a:pt x="2" y="5"/>
                </a:cubicBezTo>
                <a:cubicBezTo>
                  <a:pt x="4" y="2"/>
                  <a:pt x="9" y="0"/>
                  <a:pt x="13" y="3"/>
                </a:cubicBezTo>
                <a:cubicBezTo>
                  <a:pt x="15" y="4"/>
                  <a:pt x="16" y="6"/>
                  <a:pt x="16" y="8"/>
                </a:cubicBezTo>
                <a:cubicBezTo>
                  <a:pt x="17" y="10"/>
                  <a:pt x="16" y="12"/>
                  <a:pt x="15" y="13"/>
                </a:cubicBezTo>
                <a:cubicBezTo>
                  <a:pt x="14" y="16"/>
                  <a:pt x="11" y="17"/>
                  <a:pt x="9" y="17"/>
                </a:cubicBezTo>
                <a:close/>
                <a:moveTo>
                  <a:pt x="9" y="6"/>
                </a:moveTo>
                <a:cubicBezTo>
                  <a:pt x="8" y="6"/>
                  <a:pt x="7" y="7"/>
                  <a:pt x="6" y="8"/>
                </a:cubicBezTo>
                <a:cubicBezTo>
                  <a:pt x="6" y="9"/>
                  <a:pt x="6" y="11"/>
                  <a:pt x="7" y="12"/>
                </a:cubicBezTo>
                <a:cubicBezTo>
                  <a:pt x="9" y="12"/>
                  <a:pt x="10" y="12"/>
                  <a:pt x="11" y="11"/>
                </a:cubicBezTo>
                <a:cubicBezTo>
                  <a:pt x="12" y="10"/>
                  <a:pt x="12" y="9"/>
                  <a:pt x="11" y="9"/>
                </a:cubicBezTo>
                <a:cubicBezTo>
                  <a:pt x="11" y="8"/>
                  <a:pt x="11" y="7"/>
                  <a:pt x="10" y="7"/>
                </a:cubicBezTo>
                <a:cubicBezTo>
                  <a:pt x="10" y="7"/>
                  <a:pt x="9" y="6"/>
                  <a:pt x="9" y="6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7" name="Freeform 828">
            <a:extLst>
              <a:ext uri="{FF2B5EF4-FFF2-40B4-BE49-F238E27FC236}">
                <a16:creationId xmlns:a16="http://schemas.microsoft.com/office/drawing/2014/main" id="{1295B903-4C3B-42FD-98B5-EE0BEE26E03E}"/>
              </a:ext>
            </a:extLst>
          </p:cNvPr>
          <p:cNvSpPr>
            <a:spLocks/>
          </p:cNvSpPr>
          <p:nvPr/>
        </p:nvSpPr>
        <p:spPr bwMode="auto">
          <a:xfrm>
            <a:off x="10751930" y="3792142"/>
            <a:ext cx="15027" cy="18784"/>
          </a:xfrm>
          <a:custGeom>
            <a:avLst/>
            <a:gdLst>
              <a:gd name="T0" fmla="*/ 0 w 29"/>
              <a:gd name="T1" fmla="*/ 34 h 37"/>
              <a:gd name="T2" fmla="*/ 24 w 29"/>
              <a:gd name="T3" fmla="*/ 25 h 37"/>
              <a:gd name="T4" fmla="*/ 22 w 29"/>
              <a:gd name="T5" fmla="*/ 0 h 37"/>
              <a:gd name="T6" fmla="*/ 0 w 29"/>
              <a:gd name="T7" fmla="*/ 34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9" h="37">
                <a:moveTo>
                  <a:pt x="0" y="34"/>
                </a:moveTo>
                <a:cubicBezTo>
                  <a:pt x="9" y="37"/>
                  <a:pt x="19" y="33"/>
                  <a:pt x="24" y="25"/>
                </a:cubicBezTo>
                <a:cubicBezTo>
                  <a:pt x="29" y="17"/>
                  <a:pt x="28" y="7"/>
                  <a:pt x="22" y="0"/>
                </a:cubicBezTo>
                <a:lnTo>
                  <a:pt x="0" y="34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8" name="Freeform 829">
            <a:extLst>
              <a:ext uri="{FF2B5EF4-FFF2-40B4-BE49-F238E27FC236}">
                <a16:creationId xmlns:a16="http://schemas.microsoft.com/office/drawing/2014/main" id="{14CFD5D6-875C-4D02-8B83-DCDD4F8C36ED}"/>
              </a:ext>
            </a:extLst>
          </p:cNvPr>
          <p:cNvSpPr>
            <a:spLocks/>
          </p:cNvSpPr>
          <p:nvPr/>
        </p:nvSpPr>
        <p:spPr bwMode="auto">
          <a:xfrm>
            <a:off x="10723129" y="3767097"/>
            <a:ext cx="31306" cy="43829"/>
          </a:xfrm>
          <a:custGeom>
            <a:avLst/>
            <a:gdLst>
              <a:gd name="T0" fmla="*/ 42 w 60"/>
              <a:gd name="T1" fmla="*/ 5 h 82"/>
              <a:gd name="T2" fmla="*/ 2 w 60"/>
              <a:gd name="T3" fmla="*/ 67 h 82"/>
              <a:gd name="T4" fmla="*/ 5 w 60"/>
              <a:gd name="T5" fmla="*/ 79 h 82"/>
              <a:gd name="T6" fmla="*/ 17 w 60"/>
              <a:gd name="T7" fmla="*/ 77 h 82"/>
              <a:gd name="T8" fmla="*/ 57 w 60"/>
              <a:gd name="T9" fmla="*/ 14 h 82"/>
              <a:gd name="T10" fmla="*/ 54 w 60"/>
              <a:gd name="T11" fmla="*/ 2 h 82"/>
              <a:gd name="T12" fmla="*/ 42 w 60"/>
              <a:gd name="T13" fmla="*/ 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0" h="82">
                <a:moveTo>
                  <a:pt x="42" y="5"/>
                </a:moveTo>
                <a:cubicBezTo>
                  <a:pt x="2" y="67"/>
                  <a:pt x="2" y="67"/>
                  <a:pt x="2" y="67"/>
                </a:cubicBezTo>
                <a:cubicBezTo>
                  <a:pt x="0" y="71"/>
                  <a:pt x="1" y="77"/>
                  <a:pt x="5" y="79"/>
                </a:cubicBezTo>
                <a:cubicBezTo>
                  <a:pt x="9" y="82"/>
                  <a:pt x="14" y="81"/>
                  <a:pt x="17" y="77"/>
                </a:cubicBezTo>
                <a:cubicBezTo>
                  <a:pt x="57" y="14"/>
                  <a:pt x="57" y="14"/>
                  <a:pt x="57" y="14"/>
                </a:cubicBezTo>
                <a:cubicBezTo>
                  <a:pt x="60" y="10"/>
                  <a:pt x="58" y="5"/>
                  <a:pt x="54" y="2"/>
                </a:cubicBezTo>
                <a:cubicBezTo>
                  <a:pt x="50" y="0"/>
                  <a:pt x="45" y="1"/>
                  <a:pt x="42" y="5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9" name="Freeform 830">
            <a:extLst>
              <a:ext uri="{FF2B5EF4-FFF2-40B4-BE49-F238E27FC236}">
                <a16:creationId xmlns:a16="http://schemas.microsoft.com/office/drawing/2014/main" id="{8259A94F-3AF9-4867-83D9-365058B698A7}"/>
              </a:ext>
            </a:extLst>
          </p:cNvPr>
          <p:cNvSpPr>
            <a:spLocks/>
          </p:cNvSpPr>
          <p:nvPr/>
        </p:nvSpPr>
        <p:spPr bwMode="auto">
          <a:xfrm>
            <a:off x="10730643" y="3772106"/>
            <a:ext cx="31306" cy="42576"/>
          </a:xfrm>
          <a:custGeom>
            <a:avLst/>
            <a:gdLst>
              <a:gd name="T0" fmla="*/ 43 w 60"/>
              <a:gd name="T1" fmla="*/ 5 h 82"/>
              <a:gd name="T2" fmla="*/ 3 w 60"/>
              <a:gd name="T3" fmla="*/ 68 h 82"/>
              <a:gd name="T4" fmla="*/ 6 w 60"/>
              <a:gd name="T5" fmla="*/ 80 h 82"/>
              <a:gd name="T6" fmla="*/ 18 w 60"/>
              <a:gd name="T7" fmla="*/ 77 h 82"/>
              <a:gd name="T8" fmla="*/ 58 w 60"/>
              <a:gd name="T9" fmla="*/ 15 h 82"/>
              <a:gd name="T10" fmla="*/ 55 w 60"/>
              <a:gd name="T11" fmla="*/ 3 h 82"/>
              <a:gd name="T12" fmla="*/ 43 w 60"/>
              <a:gd name="T13" fmla="*/ 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0" h="82">
                <a:moveTo>
                  <a:pt x="43" y="5"/>
                </a:moveTo>
                <a:cubicBezTo>
                  <a:pt x="3" y="68"/>
                  <a:pt x="3" y="68"/>
                  <a:pt x="3" y="68"/>
                </a:cubicBezTo>
                <a:cubicBezTo>
                  <a:pt x="0" y="72"/>
                  <a:pt x="2" y="77"/>
                  <a:pt x="6" y="80"/>
                </a:cubicBezTo>
                <a:cubicBezTo>
                  <a:pt x="10" y="82"/>
                  <a:pt x="15" y="81"/>
                  <a:pt x="18" y="77"/>
                </a:cubicBezTo>
                <a:cubicBezTo>
                  <a:pt x="58" y="15"/>
                  <a:pt x="58" y="15"/>
                  <a:pt x="58" y="15"/>
                </a:cubicBezTo>
                <a:cubicBezTo>
                  <a:pt x="60" y="11"/>
                  <a:pt x="59" y="5"/>
                  <a:pt x="55" y="3"/>
                </a:cubicBezTo>
                <a:cubicBezTo>
                  <a:pt x="51" y="0"/>
                  <a:pt x="46" y="1"/>
                  <a:pt x="43" y="5"/>
                </a:cubicBez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0" name="Freeform 831">
            <a:extLst>
              <a:ext uri="{FF2B5EF4-FFF2-40B4-BE49-F238E27FC236}">
                <a16:creationId xmlns:a16="http://schemas.microsoft.com/office/drawing/2014/main" id="{505DCE95-CCCB-4DDA-BF7C-5169D0535863}"/>
              </a:ext>
            </a:extLst>
          </p:cNvPr>
          <p:cNvSpPr>
            <a:spLocks/>
          </p:cNvSpPr>
          <p:nvPr/>
        </p:nvSpPr>
        <p:spPr bwMode="auto">
          <a:xfrm>
            <a:off x="10738156" y="3777115"/>
            <a:ext cx="31306" cy="42576"/>
          </a:xfrm>
          <a:custGeom>
            <a:avLst/>
            <a:gdLst>
              <a:gd name="T0" fmla="*/ 43 w 60"/>
              <a:gd name="T1" fmla="*/ 5 h 82"/>
              <a:gd name="T2" fmla="*/ 3 w 60"/>
              <a:gd name="T3" fmla="*/ 67 h 82"/>
              <a:gd name="T4" fmla="*/ 5 w 60"/>
              <a:gd name="T5" fmla="*/ 79 h 82"/>
              <a:gd name="T6" fmla="*/ 17 w 60"/>
              <a:gd name="T7" fmla="*/ 76 h 82"/>
              <a:gd name="T8" fmla="*/ 57 w 60"/>
              <a:gd name="T9" fmla="*/ 14 h 82"/>
              <a:gd name="T10" fmla="*/ 55 w 60"/>
              <a:gd name="T11" fmla="*/ 2 h 82"/>
              <a:gd name="T12" fmla="*/ 43 w 60"/>
              <a:gd name="T13" fmla="*/ 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0" h="82">
                <a:moveTo>
                  <a:pt x="43" y="5"/>
                </a:moveTo>
                <a:cubicBezTo>
                  <a:pt x="3" y="67"/>
                  <a:pt x="3" y="67"/>
                  <a:pt x="3" y="67"/>
                </a:cubicBezTo>
                <a:cubicBezTo>
                  <a:pt x="0" y="71"/>
                  <a:pt x="1" y="77"/>
                  <a:pt x="5" y="79"/>
                </a:cubicBezTo>
                <a:cubicBezTo>
                  <a:pt x="9" y="82"/>
                  <a:pt x="15" y="81"/>
                  <a:pt x="17" y="76"/>
                </a:cubicBezTo>
                <a:cubicBezTo>
                  <a:pt x="57" y="14"/>
                  <a:pt x="57" y="14"/>
                  <a:pt x="57" y="14"/>
                </a:cubicBezTo>
                <a:cubicBezTo>
                  <a:pt x="60" y="10"/>
                  <a:pt x="59" y="5"/>
                  <a:pt x="55" y="2"/>
                </a:cubicBezTo>
                <a:cubicBezTo>
                  <a:pt x="51" y="0"/>
                  <a:pt x="45" y="1"/>
                  <a:pt x="43" y="5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1" name="Freeform 832">
            <a:extLst>
              <a:ext uri="{FF2B5EF4-FFF2-40B4-BE49-F238E27FC236}">
                <a16:creationId xmlns:a16="http://schemas.microsoft.com/office/drawing/2014/main" id="{F9B3AD88-58BA-4BEF-BBE9-3EAF2E52786B}"/>
              </a:ext>
            </a:extLst>
          </p:cNvPr>
          <p:cNvSpPr>
            <a:spLocks/>
          </p:cNvSpPr>
          <p:nvPr/>
        </p:nvSpPr>
        <p:spPr bwMode="auto">
          <a:xfrm>
            <a:off x="9109000" y="3100909"/>
            <a:ext cx="364400" cy="128980"/>
          </a:xfrm>
          <a:custGeom>
            <a:avLst/>
            <a:gdLst>
              <a:gd name="T0" fmla="*/ 701 w 701"/>
              <a:gd name="T1" fmla="*/ 123 h 246"/>
              <a:gd name="T2" fmla="*/ 578 w 701"/>
              <a:gd name="T3" fmla="*/ 246 h 246"/>
              <a:gd name="T4" fmla="*/ 123 w 701"/>
              <a:gd name="T5" fmla="*/ 246 h 246"/>
              <a:gd name="T6" fmla="*/ 0 w 701"/>
              <a:gd name="T7" fmla="*/ 123 h 246"/>
              <a:gd name="T8" fmla="*/ 123 w 701"/>
              <a:gd name="T9" fmla="*/ 0 h 246"/>
              <a:gd name="T10" fmla="*/ 578 w 701"/>
              <a:gd name="T11" fmla="*/ 0 h 246"/>
              <a:gd name="T12" fmla="*/ 701 w 701"/>
              <a:gd name="T13" fmla="*/ 123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01" h="246">
                <a:moveTo>
                  <a:pt x="701" y="123"/>
                </a:moveTo>
                <a:cubicBezTo>
                  <a:pt x="701" y="191"/>
                  <a:pt x="646" y="246"/>
                  <a:pt x="578" y="246"/>
                </a:cubicBezTo>
                <a:cubicBezTo>
                  <a:pt x="123" y="246"/>
                  <a:pt x="123" y="246"/>
                  <a:pt x="123" y="246"/>
                </a:cubicBezTo>
                <a:cubicBezTo>
                  <a:pt x="55" y="246"/>
                  <a:pt x="0" y="191"/>
                  <a:pt x="0" y="123"/>
                </a:cubicBezTo>
                <a:cubicBezTo>
                  <a:pt x="0" y="55"/>
                  <a:pt x="55" y="0"/>
                  <a:pt x="123" y="0"/>
                </a:cubicBezTo>
                <a:cubicBezTo>
                  <a:pt x="578" y="0"/>
                  <a:pt x="578" y="0"/>
                  <a:pt x="578" y="0"/>
                </a:cubicBezTo>
                <a:cubicBezTo>
                  <a:pt x="646" y="0"/>
                  <a:pt x="701" y="55"/>
                  <a:pt x="701" y="123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2" name="Rectangle 834">
            <a:extLst>
              <a:ext uri="{FF2B5EF4-FFF2-40B4-BE49-F238E27FC236}">
                <a16:creationId xmlns:a16="http://schemas.microsoft.com/office/drawing/2014/main" id="{529832B3-277B-4F54-872E-7A6C399733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6948" y="5204661"/>
            <a:ext cx="449552" cy="606081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3" name="Rectangle 835">
            <a:extLst>
              <a:ext uri="{FF2B5EF4-FFF2-40B4-BE49-F238E27FC236}">
                <a16:creationId xmlns:a16="http://schemas.microsoft.com/office/drawing/2014/main" id="{D9A2057F-DDE0-4C89-98CA-E880FA1B1D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6948" y="5714321"/>
            <a:ext cx="449552" cy="96422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4" name="Rectangle 836">
            <a:extLst>
              <a:ext uri="{FF2B5EF4-FFF2-40B4-BE49-F238E27FC236}">
                <a16:creationId xmlns:a16="http://schemas.microsoft.com/office/drawing/2014/main" id="{8F64D453-7E0A-44B0-A8E1-7F032E10DF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14729" y="5137040"/>
            <a:ext cx="133989" cy="3756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5" name="Freeform 837">
            <a:extLst>
              <a:ext uri="{FF2B5EF4-FFF2-40B4-BE49-F238E27FC236}">
                <a16:creationId xmlns:a16="http://schemas.microsoft.com/office/drawing/2014/main" id="{E81CE0DB-FE19-42CE-8600-81080CD2657C}"/>
              </a:ext>
            </a:extLst>
          </p:cNvPr>
          <p:cNvSpPr>
            <a:spLocks/>
          </p:cNvSpPr>
          <p:nvPr/>
        </p:nvSpPr>
        <p:spPr bwMode="auto">
          <a:xfrm>
            <a:off x="7749074" y="2891786"/>
            <a:ext cx="30054" cy="26297"/>
          </a:xfrm>
          <a:custGeom>
            <a:avLst/>
            <a:gdLst>
              <a:gd name="T0" fmla="*/ 0 w 24"/>
              <a:gd name="T1" fmla="*/ 21 h 21"/>
              <a:gd name="T2" fmla="*/ 24 w 24"/>
              <a:gd name="T3" fmla="*/ 21 h 21"/>
              <a:gd name="T4" fmla="*/ 24 w 24"/>
              <a:gd name="T5" fmla="*/ 0 h 21"/>
              <a:gd name="T6" fmla="*/ 0 w 24"/>
              <a:gd name="T7" fmla="*/ 2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" h="21">
                <a:moveTo>
                  <a:pt x="0" y="21"/>
                </a:moveTo>
                <a:lnTo>
                  <a:pt x="24" y="21"/>
                </a:lnTo>
                <a:lnTo>
                  <a:pt x="24" y="0"/>
                </a:lnTo>
                <a:lnTo>
                  <a:pt x="0" y="21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6" name="Freeform 838">
            <a:extLst>
              <a:ext uri="{FF2B5EF4-FFF2-40B4-BE49-F238E27FC236}">
                <a16:creationId xmlns:a16="http://schemas.microsoft.com/office/drawing/2014/main" id="{21098004-7972-4A53-B83C-12CA9B67FC7C}"/>
              </a:ext>
            </a:extLst>
          </p:cNvPr>
          <p:cNvSpPr>
            <a:spLocks/>
          </p:cNvSpPr>
          <p:nvPr/>
        </p:nvSpPr>
        <p:spPr bwMode="auto">
          <a:xfrm>
            <a:off x="7746570" y="2888029"/>
            <a:ext cx="33811" cy="30054"/>
          </a:xfrm>
          <a:custGeom>
            <a:avLst/>
            <a:gdLst>
              <a:gd name="T0" fmla="*/ 2 w 27"/>
              <a:gd name="T1" fmla="*/ 24 h 24"/>
              <a:gd name="T2" fmla="*/ 27 w 27"/>
              <a:gd name="T3" fmla="*/ 2 h 24"/>
              <a:gd name="T4" fmla="*/ 25 w 27"/>
              <a:gd name="T5" fmla="*/ 0 h 24"/>
              <a:gd name="T6" fmla="*/ 0 w 27"/>
              <a:gd name="T7" fmla="*/ 21 h 24"/>
              <a:gd name="T8" fmla="*/ 2 w 27"/>
              <a:gd name="T9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" h="24">
                <a:moveTo>
                  <a:pt x="2" y="24"/>
                </a:moveTo>
                <a:lnTo>
                  <a:pt x="27" y="2"/>
                </a:lnTo>
                <a:lnTo>
                  <a:pt x="25" y="0"/>
                </a:lnTo>
                <a:lnTo>
                  <a:pt x="0" y="21"/>
                </a:lnTo>
                <a:lnTo>
                  <a:pt x="2" y="2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7" name="Freeform 839">
            <a:extLst>
              <a:ext uri="{FF2B5EF4-FFF2-40B4-BE49-F238E27FC236}">
                <a16:creationId xmlns:a16="http://schemas.microsoft.com/office/drawing/2014/main" id="{DC14FF51-84DF-46D3-9C07-8D440C7CEB34}"/>
              </a:ext>
            </a:extLst>
          </p:cNvPr>
          <p:cNvSpPr>
            <a:spLocks/>
          </p:cNvSpPr>
          <p:nvPr/>
        </p:nvSpPr>
        <p:spPr bwMode="auto">
          <a:xfrm>
            <a:off x="7766605" y="2705203"/>
            <a:ext cx="16279" cy="16279"/>
          </a:xfrm>
          <a:custGeom>
            <a:avLst/>
            <a:gdLst>
              <a:gd name="T0" fmla="*/ 3 w 31"/>
              <a:gd name="T1" fmla="*/ 20 h 31"/>
              <a:gd name="T2" fmla="*/ 21 w 31"/>
              <a:gd name="T3" fmla="*/ 29 h 31"/>
              <a:gd name="T4" fmla="*/ 29 w 31"/>
              <a:gd name="T5" fmla="*/ 11 h 31"/>
              <a:gd name="T6" fmla="*/ 11 w 31"/>
              <a:gd name="T7" fmla="*/ 3 h 31"/>
              <a:gd name="T8" fmla="*/ 3 w 31"/>
              <a:gd name="T9" fmla="*/ 2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31">
                <a:moveTo>
                  <a:pt x="3" y="20"/>
                </a:moveTo>
                <a:cubicBezTo>
                  <a:pt x="6" y="28"/>
                  <a:pt x="14" y="31"/>
                  <a:pt x="21" y="29"/>
                </a:cubicBezTo>
                <a:cubicBezTo>
                  <a:pt x="28" y="26"/>
                  <a:pt x="31" y="18"/>
                  <a:pt x="29" y="11"/>
                </a:cubicBezTo>
                <a:cubicBezTo>
                  <a:pt x="26" y="4"/>
                  <a:pt x="18" y="0"/>
                  <a:pt x="11" y="3"/>
                </a:cubicBezTo>
                <a:cubicBezTo>
                  <a:pt x="4" y="6"/>
                  <a:pt x="0" y="13"/>
                  <a:pt x="3" y="2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8" name="Freeform 840">
            <a:extLst>
              <a:ext uri="{FF2B5EF4-FFF2-40B4-BE49-F238E27FC236}">
                <a16:creationId xmlns:a16="http://schemas.microsoft.com/office/drawing/2014/main" id="{0E45D189-6072-48E8-8093-4E8BD1235C8C}"/>
              </a:ext>
            </a:extLst>
          </p:cNvPr>
          <p:cNvSpPr>
            <a:spLocks/>
          </p:cNvSpPr>
          <p:nvPr/>
        </p:nvSpPr>
        <p:spPr bwMode="auto">
          <a:xfrm>
            <a:off x="7911864" y="2700194"/>
            <a:ext cx="16279" cy="16279"/>
          </a:xfrm>
          <a:custGeom>
            <a:avLst/>
            <a:gdLst>
              <a:gd name="T0" fmla="*/ 2 w 30"/>
              <a:gd name="T1" fmla="*/ 12 h 31"/>
              <a:gd name="T2" fmla="*/ 11 w 30"/>
              <a:gd name="T3" fmla="*/ 29 h 31"/>
              <a:gd name="T4" fmla="*/ 28 w 30"/>
              <a:gd name="T5" fmla="*/ 19 h 31"/>
              <a:gd name="T6" fmla="*/ 19 w 30"/>
              <a:gd name="T7" fmla="*/ 3 h 31"/>
              <a:gd name="T8" fmla="*/ 2 w 30"/>
              <a:gd name="T9" fmla="*/ 12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31">
                <a:moveTo>
                  <a:pt x="2" y="12"/>
                </a:moveTo>
                <a:cubicBezTo>
                  <a:pt x="0" y="19"/>
                  <a:pt x="4" y="27"/>
                  <a:pt x="11" y="29"/>
                </a:cubicBezTo>
                <a:cubicBezTo>
                  <a:pt x="18" y="31"/>
                  <a:pt x="26" y="27"/>
                  <a:pt x="28" y="19"/>
                </a:cubicBezTo>
                <a:cubicBezTo>
                  <a:pt x="30" y="12"/>
                  <a:pt x="26" y="5"/>
                  <a:pt x="19" y="3"/>
                </a:cubicBezTo>
                <a:cubicBezTo>
                  <a:pt x="11" y="0"/>
                  <a:pt x="4" y="5"/>
                  <a:pt x="2" y="12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9" name="Freeform 841">
            <a:extLst>
              <a:ext uri="{FF2B5EF4-FFF2-40B4-BE49-F238E27FC236}">
                <a16:creationId xmlns:a16="http://schemas.microsoft.com/office/drawing/2014/main" id="{5A14E08F-C4D5-4E9A-8CE9-B347C55E1B29}"/>
              </a:ext>
            </a:extLst>
          </p:cNvPr>
          <p:cNvSpPr>
            <a:spLocks/>
          </p:cNvSpPr>
          <p:nvPr/>
        </p:nvSpPr>
        <p:spPr bwMode="auto">
          <a:xfrm>
            <a:off x="7724029" y="2718978"/>
            <a:ext cx="16279" cy="16279"/>
          </a:xfrm>
          <a:custGeom>
            <a:avLst/>
            <a:gdLst>
              <a:gd name="T0" fmla="*/ 4 w 31"/>
              <a:gd name="T1" fmla="*/ 22 h 31"/>
              <a:gd name="T2" fmla="*/ 22 w 31"/>
              <a:gd name="T3" fmla="*/ 27 h 31"/>
              <a:gd name="T4" fmla="*/ 27 w 31"/>
              <a:gd name="T5" fmla="*/ 9 h 31"/>
              <a:gd name="T6" fmla="*/ 9 w 31"/>
              <a:gd name="T7" fmla="*/ 4 h 31"/>
              <a:gd name="T8" fmla="*/ 4 w 31"/>
              <a:gd name="T9" fmla="*/ 22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31">
                <a:moveTo>
                  <a:pt x="4" y="22"/>
                </a:moveTo>
                <a:cubicBezTo>
                  <a:pt x="7" y="29"/>
                  <a:pt x="16" y="31"/>
                  <a:pt x="22" y="27"/>
                </a:cubicBezTo>
                <a:cubicBezTo>
                  <a:pt x="29" y="23"/>
                  <a:pt x="31" y="15"/>
                  <a:pt x="27" y="9"/>
                </a:cubicBezTo>
                <a:cubicBezTo>
                  <a:pt x="24" y="2"/>
                  <a:pt x="15" y="0"/>
                  <a:pt x="9" y="4"/>
                </a:cubicBezTo>
                <a:cubicBezTo>
                  <a:pt x="2" y="7"/>
                  <a:pt x="0" y="16"/>
                  <a:pt x="4" y="22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0" name="Freeform 842">
            <a:extLst>
              <a:ext uri="{FF2B5EF4-FFF2-40B4-BE49-F238E27FC236}">
                <a16:creationId xmlns:a16="http://schemas.microsoft.com/office/drawing/2014/main" id="{E6775447-3304-403A-ADE1-DA1AF90704F6}"/>
              </a:ext>
            </a:extLst>
          </p:cNvPr>
          <p:cNvSpPr>
            <a:spLocks/>
          </p:cNvSpPr>
          <p:nvPr/>
        </p:nvSpPr>
        <p:spPr bwMode="auto">
          <a:xfrm>
            <a:off x="7730291" y="2725239"/>
            <a:ext cx="128980" cy="190340"/>
          </a:xfrm>
          <a:custGeom>
            <a:avLst/>
            <a:gdLst>
              <a:gd name="T0" fmla="*/ 100 w 103"/>
              <a:gd name="T1" fmla="*/ 152 h 152"/>
              <a:gd name="T2" fmla="*/ 0 w 103"/>
              <a:gd name="T3" fmla="*/ 2 h 152"/>
              <a:gd name="T4" fmla="*/ 3 w 103"/>
              <a:gd name="T5" fmla="*/ 0 h 152"/>
              <a:gd name="T6" fmla="*/ 103 w 103"/>
              <a:gd name="T7" fmla="*/ 150 h 152"/>
              <a:gd name="T8" fmla="*/ 100 w 103"/>
              <a:gd name="T9" fmla="*/ 152 h 152"/>
              <a:gd name="T10" fmla="*/ 100 w 103"/>
              <a:gd name="T11" fmla="*/ 152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3" h="152">
                <a:moveTo>
                  <a:pt x="100" y="152"/>
                </a:moveTo>
                <a:lnTo>
                  <a:pt x="0" y="2"/>
                </a:lnTo>
                <a:lnTo>
                  <a:pt x="3" y="0"/>
                </a:lnTo>
                <a:lnTo>
                  <a:pt x="103" y="150"/>
                </a:lnTo>
                <a:lnTo>
                  <a:pt x="100" y="152"/>
                </a:lnTo>
                <a:lnTo>
                  <a:pt x="100" y="152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1" name="Freeform 843">
            <a:extLst>
              <a:ext uri="{FF2B5EF4-FFF2-40B4-BE49-F238E27FC236}">
                <a16:creationId xmlns:a16="http://schemas.microsoft.com/office/drawing/2014/main" id="{BD0B7EEF-A0F9-4F91-B8D4-46EE351B9C9B}"/>
              </a:ext>
            </a:extLst>
          </p:cNvPr>
          <p:cNvSpPr>
            <a:spLocks/>
          </p:cNvSpPr>
          <p:nvPr/>
        </p:nvSpPr>
        <p:spPr bwMode="auto">
          <a:xfrm>
            <a:off x="7855514" y="2707707"/>
            <a:ext cx="66369" cy="207871"/>
          </a:xfrm>
          <a:custGeom>
            <a:avLst/>
            <a:gdLst>
              <a:gd name="T0" fmla="*/ 4 w 53"/>
              <a:gd name="T1" fmla="*/ 166 h 166"/>
              <a:gd name="T2" fmla="*/ 0 w 53"/>
              <a:gd name="T3" fmla="*/ 165 h 166"/>
              <a:gd name="T4" fmla="*/ 50 w 53"/>
              <a:gd name="T5" fmla="*/ 0 h 166"/>
              <a:gd name="T6" fmla="*/ 53 w 53"/>
              <a:gd name="T7" fmla="*/ 1 h 166"/>
              <a:gd name="T8" fmla="*/ 4 w 53"/>
              <a:gd name="T9" fmla="*/ 166 h 166"/>
              <a:gd name="T10" fmla="*/ 4 w 53"/>
              <a:gd name="T11" fmla="*/ 166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" h="166">
                <a:moveTo>
                  <a:pt x="4" y="166"/>
                </a:moveTo>
                <a:lnTo>
                  <a:pt x="0" y="165"/>
                </a:lnTo>
                <a:lnTo>
                  <a:pt x="50" y="0"/>
                </a:lnTo>
                <a:lnTo>
                  <a:pt x="53" y="1"/>
                </a:lnTo>
                <a:lnTo>
                  <a:pt x="4" y="166"/>
                </a:lnTo>
                <a:lnTo>
                  <a:pt x="4" y="166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2" name="Oval 844">
            <a:extLst>
              <a:ext uri="{FF2B5EF4-FFF2-40B4-BE49-F238E27FC236}">
                <a16:creationId xmlns:a16="http://schemas.microsoft.com/office/drawing/2014/main" id="{3FAC8EB8-7FBF-4ADD-B54B-A74AEFF286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45496" y="2682663"/>
            <a:ext cx="15027" cy="15027"/>
          </a:xfrm>
          <a:prstGeom prst="ellipse">
            <a:avLst/>
          </a:prstGeom>
          <a:solidFill>
            <a:srgbClr val="A5DA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3" name="Oval 845">
            <a:extLst>
              <a:ext uri="{FF2B5EF4-FFF2-40B4-BE49-F238E27FC236}">
                <a16:creationId xmlns:a16="http://schemas.microsoft.com/office/drawing/2014/main" id="{FC0BE6DA-C91F-4246-BF5B-EC20E1C4CB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0505" y="2691429"/>
            <a:ext cx="13775" cy="13775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4" name="Freeform 846">
            <a:extLst>
              <a:ext uri="{FF2B5EF4-FFF2-40B4-BE49-F238E27FC236}">
                <a16:creationId xmlns:a16="http://schemas.microsoft.com/office/drawing/2014/main" id="{DE73A7E0-D4CB-4500-8A80-A9EE98622A5B}"/>
              </a:ext>
            </a:extLst>
          </p:cNvPr>
          <p:cNvSpPr>
            <a:spLocks/>
          </p:cNvSpPr>
          <p:nvPr/>
        </p:nvSpPr>
        <p:spPr bwMode="auto">
          <a:xfrm>
            <a:off x="7840488" y="2680158"/>
            <a:ext cx="30054" cy="23793"/>
          </a:xfrm>
          <a:custGeom>
            <a:avLst/>
            <a:gdLst>
              <a:gd name="T0" fmla="*/ 4 w 56"/>
              <a:gd name="T1" fmla="*/ 0 h 46"/>
              <a:gd name="T2" fmla="*/ 56 w 56"/>
              <a:gd name="T3" fmla="*/ 35 h 46"/>
              <a:gd name="T4" fmla="*/ 46 w 56"/>
              <a:gd name="T5" fmla="*/ 37 h 46"/>
              <a:gd name="T6" fmla="*/ 30 w 56"/>
              <a:gd name="T7" fmla="*/ 16 h 46"/>
              <a:gd name="T8" fmla="*/ 21 w 56"/>
              <a:gd name="T9" fmla="*/ 19 h 46"/>
              <a:gd name="T10" fmla="*/ 29 w 56"/>
              <a:gd name="T11" fmla="*/ 31 h 46"/>
              <a:gd name="T12" fmla="*/ 21 w 56"/>
              <a:gd name="T13" fmla="*/ 37 h 46"/>
              <a:gd name="T14" fmla="*/ 0 w 56"/>
              <a:gd name="T15" fmla="*/ 22 h 46"/>
              <a:gd name="T16" fmla="*/ 4 w 56"/>
              <a:gd name="T17" fmla="*/ 0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" h="46">
                <a:moveTo>
                  <a:pt x="4" y="0"/>
                </a:moveTo>
                <a:cubicBezTo>
                  <a:pt x="26" y="0"/>
                  <a:pt x="56" y="6"/>
                  <a:pt x="56" y="35"/>
                </a:cubicBezTo>
                <a:cubicBezTo>
                  <a:pt x="56" y="46"/>
                  <a:pt x="46" y="45"/>
                  <a:pt x="46" y="37"/>
                </a:cubicBezTo>
                <a:cubicBezTo>
                  <a:pt x="46" y="26"/>
                  <a:pt x="41" y="19"/>
                  <a:pt x="30" y="16"/>
                </a:cubicBezTo>
                <a:cubicBezTo>
                  <a:pt x="26" y="15"/>
                  <a:pt x="22" y="15"/>
                  <a:pt x="21" y="19"/>
                </a:cubicBezTo>
                <a:cubicBezTo>
                  <a:pt x="19" y="22"/>
                  <a:pt x="27" y="29"/>
                  <a:pt x="29" y="31"/>
                </a:cubicBezTo>
                <a:cubicBezTo>
                  <a:pt x="32" y="34"/>
                  <a:pt x="28" y="42"/>
                  <a:pt x="21" y="37"/>
                </a:cubicBezTo>
                <a:cubicBezTo>
                  <a:pt x="16" y="33"/>
                  <a:pt x="6" y="26"/>
                  <a:pt x="0" y="22"/>
                </a:cubicBezTo>
                <a:cubicBezTo>
                  <a:pt x="1" y="15"/>
                  <a:pt x="3" y="6"/>
                  <a:pt x="4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5" name="Freeform 847">
            <a:extLst>
              <a:ext uri="{FF2B5EF4-FFF2-40B4-BE49-F238E27FC236}">
                <a16:creationId xmlns:a16="http://schemas.microsoft.com/office/drawing/2014/main" id="{5EE1AEDE-EDCD-4281-8BA1-82CDBB491488}"/>
              </a:ext>
            </a:extLst>
          </p:cNvPr>
          <p:cNvSpPr>
            <a:spLocks/>
          </p:cNvSpPr>
          <p:nvPr/>
        </p:nvSpPr>
        <p:spPr bwMode="auto">
          <a:xfrm>
            <a:off x="7630112" y="2574970"/>
            <a:ext cx="210375" cy="115205"/>
          </a:xfrm>
          <a:custGeom>
            <a:avLst/>
            <a:gdLst>
              <a:gd name="T0" fmla="*/ 80 w 403"/>
              <a:gd name="T1" fmla="*/ 31 h 222"/>
              <a:gd name="T2" fmla="*/ 26 w 403"/>
              <a:gd name="T3" fmla="*/ 80 h 222"/>
              <a:gd name="T4" fmla="*/ 399 w 403"/>
              <a:gd name="T5" fmla="*/ 222 h 222"/>
              <a:gd name="T6" fmla="*/ 403 w 403"/>
              <a:gd name="T7" fmla="*/ 200 h 222"/>
              <a:gd name="T8" fmla="*/ 80 w 403"/>
              <a:gd name="T9" fmla="*/ 31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3" h="222">
                <a:moveTo>
                  <a:pt x="80" y="31"/>
                </a:moveTo>
                <a:cubicBezTo>
                  <a:pt x="58" y="0"/>
                  <a:pt x="0" y="49"/>
                  <a:pt x="26" y="80"/>
                </a:cubicBezTo>
                <a:cubicBezTo>
                  <a:pt x="96" y="166"/>
                  <a:pt x="194" y="210"/>
                  <a:pt x="399" y="222"/>
                </a:cubicBezTo>
                <a:cubicBezTo>
                  <a:pt x="403" y="200"/>
                  <a:pt x="403" y="200"/>
                  <a:pt x="403" y="200"/>
                </a:cubicBezTo>
                <a:cubicBezTo>
                  <a:pt x="232" y="171"/>
                  <a:pt x="137" y="108"/>
                  <a:pt x="80" y="3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6" name="Freeform 848">
            <a:extLst>
              <a:ext uri="{FF2B5EF4-FFF2-40B4-BE49-F238E27FC236}">
                <a16:creationId xmlns:a16="http://schemas.microsoft.com/office/drawing/2014/main" id="{D4AA4524-F14F-4E65-AB06-E781FDC18DDA}"/>
              </a:ext>
            </a:extLst>
          </p:cNvPr>
          <p:cNvSpPr>
            <a:spLocks/>
          </p:cNvSpPr>
          <p:nvPr/>
        </p:nvSpPr>
        <p:spPr bwMode="auto">
          <a:xfrm>
            <a:off x="7583779" y="2512359"/>
            <a:ext cx="63864" cy="71378"/>
          </a:xfrm>
          <a:custGeom>
            <a:avLst/>
            <a:gdLst>
              <a:gd name="T0" fmla="*/ 92 w 124"/>
              <a:gd name="T1" fmla="*/ 120 h 138"/>
              <a:gd name="T2" fmla="*/ 109 w 124"/>
              <a:gd name="T3" fmla="*/ 75 h 138"/>
              <a:gd name="T4" fmla="*/ 112 w 124"/>
              <a:gd name="T5" fmla="*/ 70 h 138"/>
              <a:gd name="T6" fmla="*/ 109 w 124"/>
              <a:gd name="T7" fmla="*/ 65 h 138"/>
              <a:gd name="T8" fmla="*/ 114 w 124"/>
              <a:gd name="T9" fmla="*/ 62 h 138"/>
              <a:gd name="T10" fmla="*/ 114 w 124"/>
              <a:gd name="T11" fmla="*/ 54 h 138"/>
              <a:gd name="T12" fmla="*/ 124 w 124"/>
              <a:gd name="T13" fmla="*/ 56 h 138"/>
              <a:gd name="T14" fmla="*/ 120 w 124"/>
              <a:gd name="T15" fmla="*/ 30 h 138"/>
              <a:gd name="T16" fmla="*/ 89 w 124"/>
              <a:gd name="T17" fmla="*/ 5 h 138"/>
              <a:gd name="T18" fmla="*/ 48 w 124"/>
              <a:gd name="T19" fmla="*/ 31 h 138"/>
              <a:gd name="T20" fmla="*/ 15 w 124"/>
              <a:gd name="T21" fmla="*/ 101 h 138"/>
              <a:gd name="T22" fmla="*/ 92 w 124"/>
              <a:gd name="T23" fmla="*/ 120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24" h="138">
                <a:moveTo>
                  <a:pt x="92" y="120"/>
                </a:moveTo>
                <a:cubicBezTo>
                  <a:pt x="98" y="106"/>
                  <a:pt x="109" y="77"/>
                  <a:pt x="109" y="75"/>
                </a:cubicBezTo>
                <a:cubicBezTo>
                  <a:pt x="109" y="74"/>
                  <a:pt x="112" y="73"/>
                  <a:pt x="112" y="70"/>
                </a:cubicBezTo>
                <a:cubicBezTo>
                  <a:pt x="112" y="67"/>
                  <a:pt x="111" y="66"/>
                  <a:pt x="109" y="65"/>
                </a:cubicBezTo>
                <a:cubicBezTo>
                  <a:pt x="112" y="65"/>
                  <a:pt x="113" y="64"/>
                  <a:pt x="114" y="62"/>
                </a:cubicBezTo>
                <a:cubicBezTo>
                  <a:pt x="114" y="60"/>
                  <a:pt x="114" y="54"/>
                  <a:pt x="114" y="54"/>
                </a:cubicBezTo>
                <a:cubicBezTo>
                  <a:pt x="124" y="56"/>
                  <a:pt x="124" y="56"/>
                  <a:pt x="124" y="56"/>
                </a:cubicBezTo>
                <a:cubicBezTo>
                  <a:pt x="124" y="56"/>
                  <a:pt x="122" y="44"/>
                  <a:pt x="120" y="30"/>
                </a:cubicBezTo>
                <a:cubicBezTo>
                  <a:pt x="117" y="16"/>
                  <a:pt x="107" y="9"/>
                  <a:pt x="89" y="5"/>
                </a:cubicBezTo>
                <a:cubicBezTo>
                  <a:pt x="69" y="0"/>
                  <a:pt x="53" y="15"/>
                  <a:pt x="48" y="31"/>
                </a:cubicBezTo>
                <a:cubicBezTo>
                  <a:pt x="44" y="43"/>
                  <a:pt x="24" y="86"/>
                  <a:pt x="15" y="101"/>
                </a:cubicBezTo>
                <a:cubicBezTo>
                  <a:pt x="0" y="124"/>
                  <a:pt x="84" y="138"/>
                  <a:pt x="92" y="12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7" name="Freeform 849">
            <a:extLst>
              <a:ext uri="{FF2B5EF4-FFF2-40B4-BE49-F238E27FC236}">
                <a16:creationId xmlns:a16="http://schemas.microsoft.com/office/drawing/2014/main" id="{3EEAABB8-A348-4A2D-9EB9-84AC4AEEB1DE}"/>
              </a:ext>
            </a:extLst>
          </p:cNvPr>
          <p:cNvSpPr>
            <a:spLocks/>
          </p:cNvSpPr>
          <p:nvPr/>
        </p:nvSpPr>
        <p:spPr bwMode="auto">
          <a:xfrm>
            <a:off x="7637626" y="2528638"/>
            <a:ext cx="3757" cy="3757"/>
          </a:xfrm>
          <a:custGeom>
            <a:avLst/>
            <a:gdLst>
              <a:gd name="T0" fmla="*/ 8 w 8"/>
              <a:gd name="T1" fmla="*/ 4 h 8"/>
              <a:gd name="T2" fmla="*/ 5 w 8"/>
              <a:gd name="T3" fmla="*/ 8 h 8"/>
              <a:gd name="T4" fmla="*/ 0 w 8"/>
              <a:gd name="T5" fmla="*/ 4 h 8"/>
              <a:gd name="T6" fmla="*/ 4 w 8"/>
              <a:gd name="T7" fmla="*/ 0 h 8"/>
              <a:gd name="T8" fmla="*/ 8 w 8"/>
              <a:gd name="T9" fmla="*/ 4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8">
                <a:moveTo>
                  <a:pt x="8" y="4"/>
                </a:moveTo>
                <a:cubicBezTo>
                  <a:pt x="8" y="6"/>
                  <a:pt x="7" y="8"/>
                  <a:pt x="5" y="8"/>
                </a:cubicBezTo>
                <a:cubicBezTo>
                  <a:pt x="2" y="8"/>
                  <a:pt x="0" y="6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6" y="0"/>
                  <a:pt x="8" y="1"/>
                  <a:pt x="8" y="4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8" name="Freeform 850">
            <a:extLst>
              <a:ext uri="{FF2B5EF4-FFF2-40B4-BE49-F238E27FC236}">
                <a16:creationId xmlns:a16="http://schemas.microsoft.com/office/drawing/2014/main" id="{2AD0EE2A-A2A8-48EE-9D00-4695789AEEE1}"/>
              </a:ext>
            </a:extLst>
          </p:cNvPr>
          <p:cNvSpPr>
            <a:spLocks/>
          </p:cNvSpPr>
          <p:nvPr/>
        </p:nvSpPr>
        <p:spPr bwMode="auto">
          <a:xfrm>
            <a:off x="7632617" y="2527386"/>
            <a:ext cx="5009" cy="3757"/>
          </a:xfrm>
          <a:custGeom>
            <a:avLst/>
            <a:gdLst>
              <a:gd name="T0" fmla="*/ 8 w 8"/>
              <a:gd name="T1" fmla="*/ 4 h 8"/>
              <a:gd name="T2" fmla="*/ 5 w 8"/>
              <a:gd name="T3" fmla="*/ 8 h 8"/>
              <a:gd name="T4" fmla="*/ 0 w 8"/>
              <a:gd name="T5" fmla="*/ 4 h 8"/>
              <a:gd name="T6" fmla="*/ 4 w 8"/>
              <a:gd name="T7" fmla="*/ 0 h 8"/>
              <a:gd name="T8" fmla="*/ 8 w 8"/>
              <a:gd name="T9" fmla="*/ 4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8">
                <a:moveTo>
                  <a:pt x="8" y="4"/>
                </a:moveTo>
                <a:cubicBezTo>
                  <a:pt x="8" y="6"/>
                  <a:pt x="7" y="8"/>
                  <a:pt x="5" y="8"/>
                </a:cubicBezTo>
                <a:cubicBezTo>
                  <a:pt x="2" y="8"/>
                  <a:pt x="0" y="6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6" y="0"/>
                  <a:pt x="8" y="1"/>
                  <a:pt x="8" y="4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9" name="Freeform 851">
            <a:extLst>
              <a:ext uri="{FF2B5EF4-FFF2-40B4-BE49-F238E27FC236}">
                <a16:creationId xmlns:a16="http://schemas.microsoft.com/office/drawing/2014/main" id="{7B397966-21BD-452C-86E5-5E0A0EF6269F}"/>
              </a:ext>
            </a:extLst>
          </p:cNvPr>
          <p:cNvSpPr>
            <a:spLocks/>
          </p:cNvSpPr>
          <p:nvPr/>
        </p:nvSpPr>
        <p:spPr bwMode="auto">
          <a:xfrm>
            <a:off x="7605068" y="2504845"/>
            <a:ext cx="32558" cy="23793"/>
          </a:xfrm>
          <a:custGeom>
            <a:avLst/>
            <a:gdLst>
              <a:gd name="T0" fmla="*/ 19 w 64"/>
              <a:gd name="T1" fmla="*/ 14 h 47"/>
              <a:gd name="T2" fmla="*/ 41 w 64"/>
              <a:gd name="T3" fmla="*/ 4 h 47"/>
              <a:gd name="T4" fmla="*/ 58 w 64"/>
              <a:gd name="T5" fmla="*/ 2 h 47"/>
              <a:gd name="T6" fmla="*/ 54 w 64"/>
              <a:gd name="T7" fmla="*/ 25 h 47"/>
              <a:gd name="T8" fmla="*/ 21 w 64"/>
              <a:gd name="T9" fmla="*/ 25 h 47"/>
              <a:gd name="T10" fmla="*/ 7 w 64"/>
              <a:gd name="T11" fmla="*/ 46 h 47"/>
              <a:gd name="T12" fmla="*/ 19 w 64"/>
              <a:gd name="T13" fmla="*/ 14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4" h="47">
                <a:moveTo>
                  <a:pt x="19" y="14"/>
                </a:moveTo>
                <a:cubicBezTo>
                  <a:pt x="21" y="5"/>
                  <a:pt x="32" y="0"/>
                  <a:pt x="41" y="4"/>
                </a:cubicBezTo>
                <a:cubicBezTo>
                  <a:pt x="50" y="7"/>
                  <a:pt x="58" y="6"/>
                  <a:pt x="58" y="2"/>
                </a:cubicBezTo>
                <a:cubicBezTo>
                  <a:pt x="64" y="9"/>
                  <a:pt x="62" y="22"/>
                  <a:pt x="54" y="25"/>
                </a:cubicBezTo>
                <a:cubicBezTo>
                  <a:pt x="46" y="29"/>
                  <a:pt x="31" y="27"/>
                  <a:pt x="21" y="25"/>
                </a:cubicBezTo>
                <a:cubicBezTo>
                  <a:pt x="22" y="30"/>
                  <a:pt x="12" y="47"/>
                  <a:pt x="7" y="46"/>
                </a:cubicBezTo>
                <a:cubicBezTo>
                  <a:pt x="0" y="37"/>
                  <a:pt x="6" y="13"/>
                  <a:pt x="19" y="14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0" name="Freeform 852">
            <a:extLst>
              <a:ext uri="{FF2B5EF4-FFF2-40B4-BE49-F238E27FC236}">
                <a16:creationId xmlns:a16="http://schemas.microsoft.com/office/drawing/2014/main" id="{4FE4FA6E-35F0-4E15-B677-FD4148A63B54}"/>
              </a:ext>
            </a:extLst>
          </p:cNvPr>
          <p:cNvSpPr>
            <a:spLocks/>
          </p:cNvSpPr>
          <p:nvPr/>
        </p:nvSpPr>
        <p:spPr bwMode="auto">
          <a:xfrm>
            <a:off x="7521168" y="2728996"/>
            <a:ext cx="195348" cy="172808"/>
          </a:xfrm>
          <a:custGeom>
            <a:avLst/>
            <a:gdLst>
              <a:gd name="T0" fmla="*/ 72 w 377"/>
              <a:gd name="T1" fmla="*/ 11 h 331"/>
              <a:gd name="T2" fmla="*/ 335 w 377"/>
              <a:gd name="T3" fmla="*/ 331 h 331"/>
              <a:gd name="T4" fmla="*/ 313 w 377"/>
              <a:gd name="T5" fmla="*/ 330 h 331"/>
              <a:gd name="T6" fmla="*/ 80 w 377"/>
              <a:gd name="T7" fmla="*/ 114 h 331"/>
              <a:gd name="T8" fmla="*/ 72 w 377"/>
              <a:gd name="T9" fmla="*/ 11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7" h="331">
                <a:moveTo>
                  <a:pt x="72" y="11"/>
                </a:moveTo>
                <a:cubicBezTo>
                  <a:pt x="373" y="0"/>
                  <a:pt x="377" y="168"/>
                  <a:pt x="335" y="331"/>
                </a:cubicBezTo>
                <a:cubicBezTo>
                  <a:pt x="330" y="331"/>
                  <a:pt x="318" y="330"/>
                  <a:pt x="313" y="330"/>
                </a:cubicBezTo>
                <a:cubicBezTo>
                  <a:pt x="311" y="164"/>
                  <a:pt x="320" y="96"/>
                  <a:pt x="80" y="114"/>
                </a:cubicBezTo>
                <a:cubicBezTo>
                  <a:pt x="10" y="119"/>
                  <a:pt x="0" y="14"/>
                  <a:pt x="72" y="11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1" name="Freeform 853">
            <a:extLst>
              <a:ext uri="{FF2B5EF4-FFF2-40B4-BE49-F238E27FC236}">
                <a16:creationId xmlns:a16="http://schemas.microsoft.com/office/drawing/2014/main" id="{25163C05-407C-4AC8-99BD-1635EA940686}"/>
              </a:ext>
            </a:extLst>
          </p:cNvPr>
          <p:cNvSpPr>
            <a:spLocks/>
          </p:cNvSpPr>
          <p:nvPr/>
        </p:nvSpPr>
        <p:spPr bwMode="auto">
          <a:xfrm>
            <a:off x="7682706" y="2905560"/>
            <a:ext cx="30054" cy="10018"/>
          </a:xfrm>
          <a:custGeom>
            <a:avLst/>
            <a:gdLst>
              <a:gd name="T0" fmla="*/ 23 w 59"/>
              <a:gd name="T1" fmla="*/ 0 h 18"/>
              <a:gd name="T2" fmla="*/ 42 w 59"/>
              <a:gd name="T3" fmla="*/ 5 h 18"/>
              <a:gd name="T4" fmla="*/ 50 w 59"/>
              <a:gd name="T5" fmla="*/ 13 h 18"/>
              <a:gd name="T6" fmla="*/ 16 w 59"/>
              <a:gd name="T7" fmla="*/ 11 h 18"/>
              <a:gd name="T8" fmla="*/ 16 w 59"/>
              <a:gd name="T9" fmla="*/ 16 h 18"/>
              <a:gd name="T10" fmla="*/ 0 w 59"/>
              <a:gd name="T11" fmla="*/ 16 h 18"/>
              <a:gd name="T12" fmla="*/ 2 w 59"/>
              <a:gd name="T13" fmla="*/ 0 h 18"/>
              <a:gd name="T14" fmla="*/ 23 w 59"/>
              <a:gd name="T15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9" h="18">
                <a:moveTo>
                  <a:pt x="23" y="0"/>
                </a:moveTo>
                <a:cubicBezTo>
                  <a:pt x="25" y="4"/>
                  <a:pt x="37" y="8"/>
                  <a:pt x="42" y="5"/>
                </a:cubicBezTo>
                <a:cubicBezTo>
                  <a:pt x="47" y="2"/>
                  <a:pt x="59" y="7"/>
                  <a:pt x="50" y="13"/>
                </a:cubicBezTo>
                <a:cubicBezTo>
                  <a:pt x="40" y="18"/>
                  <a:pt x="20" y="17"/>
                  <a:pt x="16" y="11"/>
                </a:cubicBezTo>
                <a:cubicBezTo>
                  <a:pt x="16" y="13"/>
                  <a:pt x="16" y="16"/>
                  <a:pt x="16" y="16"/>
                </a:cubicBezTo>
                <a:cubicBezTo>
                  <a:pt x="0" y="16"/>
                  <a:pt x="0" y="16"/>
                  <a:pt x="0" y="16"/>
                </a:cubicBezTo>
                <a:cubicBezTo>
                  <a:pt x="2" y="0"/>
                  <a:pt x="2" y="0"/>
                  <a:pt x="2" y="0"/>
                </a:cubicBezTo>
                <a:lnTo>
                  <a:pt x="23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" name="Freeform 854">
            <a:extLst>
              <a:ext uri="{FF2B5EF4-FFF2-40B4-BE49-F238E27FC236}">
                <a16:creationId xmlns:a16="http://schemas.microsoft.com/office/drawing/2014/main" id="{73862E50-9938-476F-822A-65085F1975ED}"/>
              </a:ext>
            </a:extLst>
          </p:cNvPr>
          <p:cNvSpPr>
            <a:spLocks/>
          </p:cNvSpPr>
          <p:nvPr/>
        </p:nvSpPr>
        <p:spPr bwMode="auto">
          <a:xfrm>
            <a:off x="7521168" y="2734005"/>
            <a:ext cx="230411" cy="167799"/>
          </a:xfrm>
          <a:custGeom>
            <a:avLst/>
            <a:gdLst>
              <a:gd name="T0" fmla="*/ 72 w 444"/>
              <a:gd name="T1" fmla="*/ 3 h 322"/>
              <a:gd name="T2" fmla="*/ 444 w 444"/>
              <a:gd name="T3" fmla="*/ 308 h 322"/>
              <a:gd name="T4" fmla="*/ 428 w 444"/>
              <a:gd name="T5" fmla="*/ 322 h 322"/>
              <a:gd name="T6" fmla="*/ 80 w 444"/>
              <a:gd name="T7" fmla="*/ 106 h 322"/>
              <a:gd name="T8" fmla="*/ 72 w 444"/>
              <a:gd name="T9" fmla="*/ 3 h 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4" h="322">
                <a:moveTo>
                  <a:pt x="72" y="3"/>
                </a:moveTo>
                <a:cubicBezTo>
                  <a:pt x="374" y="0"/>
                  <a:pt x="408" y="141"/>
                  <a:pt x="444" y="308"/>
                </a:cubicBezTo>
                <a:cubicBezTo>
                  <a:pt x="441" y="311"/>
                  <a:pt x="432" y="319"/>
                  <a:pt x="428" y="322"/>
                </a:cubicBezTo>
                <a:cubicBezTo>
                  <a:pt x="358" y="189"/>
                  <a:pt x="338" y="91"/>
                  <a:pt x="80" y="106"/>
                </a:cubicBezTo>
                <a:cubicBezTo>
                  <a:pt x="10" y="110"/>
                  <a:pt x="0" y="4"/>
                  <a:pt x="72" y="3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3" name="Freeform 855">
            <a:extLst>
              <a:ext uri="{FF2B5EF4-FFF2-40B4-BE49-F238E27FC236}">
                <a16:creationId xmlns:a16="http://schemas.microsoft.com/office/drawing/2014/main" id="{471CCD1F-E72A-45A0-9D12-60BB8F1E9715}"/>
              </a:ext>
            </a:extLst>
          </p:cNvPr>
          <p:cNvSpPr>
            <a:spLocks/>
          </p:cNvSpPr>
          <p:nvPr/>
        </p:nvSpPr>
        <p:spPr bwMode="auto">
          <a:xfrm>
            <a:off x="7746570" y="2888029"/>
            <a:ext cx="23793" cy="23793"/>
          </a:xfrm>
          <a:custGeom>
            <a:avLst/>
            <a:gdLst>
              <a:gd name="T0" fmla="*/ 15 w 47"/>
              <a:gd name="T1" fmla="*/ 19 h 46"/>
              <a:gd name="T2" fmla="*/ 33 w 47"/>
              <a:gd name="T3" fmla="*/ 9 h 46"/>
              <a:gd name="T4" fmla="*/ 44 w 47"/>
              <a:gd name="T5" fmla="*/ 11 h 46"/>
              <a:gd name="T6" fmla="*/ 18 w 47"/>
              <a:gd name="T7" fmla="*/ 32 h 46"/>
              <a:gd name="T8" fmla="*/ 21 w 47"/>
              <a:gd name="T9" fmla="*/ 35 h 46"/>
              <a:gd name="T10" fmla="*/ 9 w 47"/>
              <a:gd name="T11" fmla="*/ 46 h 46"/>
              <a:gd name="T12" fmla="*/ 0 w 47"/>
              <a:gd name="T13" fmla="*/ 33 h 46"/>
              <a:gd name="T14" fmla="*/ 15 w 47"/>
              <a:gd name="T15" fmla="*/ 19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7" h="46">
                <a:moveTo>
                  <a:pt x="15" y="19"/>
                </a:moveTo>
                <a:cubicBezTo>
                  <a:pt x="19" y="20"/>
                  <a:pt x="31" y="15"/>
                  <a:pt x="33" y="9"/>
                </a:cubicBezTo>
                <a:cubicBezTo>
                  <a:pt x="35" y="4"/>
                  <a:pt x="47" y="0"/>
                  <a:pt x="44" y="11"/>
                </a:cubicBezTo>
                <a:cubicBezTo>
                  <a:pt x="40" y="21"/>
                  <a:pt x="24" y="33"/>
                  <a:pt x="18" y="32"/>
                </a:cubicBezTo>
                <a:cubicBezTo>
                  <a:pt x="19" y="33"/>
                  <a:pt x="21" y="35"/>
                  <a:pt x="21" y="35"/>
                </a:cubicBezTo>
                <a:cubicBezTo>
                  <a:pt x="9" y="46"/>
                  <a:pt x="9" y="46"/>
                  <a:pt x="9" y="46"/>
                </a:cubicBezTo>
                <a:cubicBezTo>
                  <a:pt x="0" y="33"/>
                  <a:pt x="0" y="33"/>
                  <a:pt x="0" y="33"/>
                </a:cubicBezTo>
                <a:lnTo>
                  <a:pt x="15" y="19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4" name="Freeform 856">
            <a:extLst>
              <a:ext uri="{FF2B5EF4-FFF2-40B4-BE49-F238E27FC236}">
                <a16:creationId xmlns:a16="http://schemas.microsoft.com/office/drawing/2014/main" id="{B546E8F5-CD2D-423C-A021-23686DFFD24D}"/>
              </a:ext>
            </a:extLst>
          </p:cNvPr>
          <p:cNvSpPr>
            <a:spLocks/>
          </p:cNvSpPr>
          <p:nvPr/>
        </p:nvSpPr>
        <p:spPr bwMode="auto">
          <a:xfrm>
            <a:off x="7513654" y="2559944"/>
            <a:ext cx="165295" cy="194097"/>
          </a:xfrm>
          <a:custGeom>
            <a:avLst/>
            <a:gdLst>
              <a:gd name="T0" fmla="*/ 99 w 318"/>
              <a:gd name="T1" fmla="*/ 5 h 373"/>
              <a:gd name="T2" fmla="*/ 292 w 318"/>
              <a:gd name="T3" fmla="*/ 61 h 373"/>
              <a:gd name="T4" fmla="*/ 233 w 318"/>
              <a:gd name="T5" fmla="*/ 338 h 373"/>
              <a:gd name="T6" fmla="*/ 36 w 318"/>
              <a:gd name="T7" fmla="*/ 373 h 373"/>
              <a:gd name="T8" fmla="*/ 99 w 318"/>
              <a:gd name="T9" fmla="*/ 5 h 3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8" h="373">
                <a:moveTo>
                  <a:pt x="99" y="5"/>
                </a:moveTo>
                <a:cubicBezTo>
                  <a:pt x="173" y="9"/>
                  <a:pt x="273" y="35"/>
                  <a:pt x="292" y="61"/>
                </a:cubicBezTo>
                <a:cubicBezTo>
                  <a:pt x="318" y="97"/>
                  <a:pt x="238" y="223"/>
                  <a:pt x="233" y="338"/>
                </a:cubicBezTo>
                <a:cubicBezTo>
                  <a:pt x="36" y="373"/>
                  <a:pt x="36" y="373"/>
                  <a:pt x="36" y="373"/>
                </a:cubicBezTo>
                <a:cubicBezTo>
                  <a:pt x="0" y="202"/>
                  <a:pt x="34" y="0"/>
                  <a:pt x="99" y="5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5" name="Freeform 857">
            <a:extLst>
              <a:ext uri="{FF2B5EF4-FFF2-40B4-BE49-F238E27FC236}">
                <a16:creationId xmlns:a16="http://schemas.microsoft.com/office/drawing/2014/main" id="{BEE595F2-44F6-43B9-9059-295D379D57E4}"/>
              </a:ext>
            </a:extLst>
          </p:cNvPr>
          <p:cNvSpPr>
            <a:spLocks/>
          </p:cNvSpPr>
          <p:nvPr/>
        </p:nvSpPr>
        <p:spPr bwMode="auto">
          <a:xfrm>
            <a:off x="7607572" y="2568710"/>
            <a:ext cx="15027" cy="10018"/>
          </a:xfrm>
          <a:custGeom>
            <a:avLst/>
            <a:gdLst>
              <a:gd name="T0" fmla="*/ 0 w 28"/>
              <a:gd name="T1" fmla="*/ 14 h 20"/>
              <a:gd name="T2" fmla="*/ 8 w 28"/>
              <a:gd name="T3" fmla="*/ 0 h 20"/>
              <a:gd name="T4" fmla="*/ 28 w 28"/>
              <a:gd name="T5" fmla="*/ 5 h 20"/>
              <a:gd name="T6" fmla="*/ 26 w 28"/>
              <a:gd name="T7" fmla="*/ 20 h 20"/>
              <a:gd name="T8" fmla="*/ 0 w 28"/>
              <a:gd name="T9" fmla="*/ 14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" h="20">
                <a:moveTo>
                  <a:pt x="0" y="14"/>
                </a:moveTo>
                <a:cubicBezTo>
                  <a:pt x="8" y="0"/>
                  <a:pt x="8" y="0"/>
                  <a:pt x="8" y="0"/>
                </a:cubicBezTo>
                <a:cubicBezTo>
                  <a:pt x="15" y="2"/>
                  <a:pt x="22" y="3"/>
                  <a:pt x="28" y="5"/>
                </a:cubicBezTo>
                <a:cubicBezTo>
                  <a:pt x="26" y="20"/>
                  <a:pt x="26" y="20"/>
                  <a:pt x="26" y="20"/>
                </a:cubicBezTo>
                <a:lnTo>
                  <a:pt x="0" y="14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6" name="Freeform 858">
            <a:extLst>
              <a:ext uri="{FF2B5EF4-FFF2-40B4-BE49-F238E27FC236}">
                <a16:creationId xmlns:a16="http://schemas.microsoft.com/office/drawing/2014/main" id="{10B293B0-8D68-485F-B527-3564EB37EB0E}"/>
              </a:ext>
            </a:extLst>
          </p:cNvPr>
          <p:cNvSpPr>
            <a:spLocks/>
          </p:cNvSpPr>
          <p:nvPr/>
        </p:nvSpPr>
        <p:spPr bwMode="auto">
          <a:xfrm>
            <a:off x="7587536" y="2576223"/>
            <a:ext cx="31306" cy="137746"/>
          </a:xfrm>
          <a:custGeom>
            <a:avLst/>
            <a:gdLst>
              <a:gd name="T0" fmla="*/ 45 w 60"/>
              <a:gd name="T1" fmla="*/ 0 h 265"/>
              <a:gd name="T2" fmla="*/ 60 w 60"/>
              <a:gd name="T3" fmla="*/ 4 h 265"/>
              <a:gd name="T4" fmla="*/ 48 w 60"/>
              <a:gd name="T5" fmla="*/ 235 h 265"/>
              <a:gd name="T6" fmla="*/ 26 w 60"/>
              <a:gd name="T7" fmla="*/ 265 h 265"/>
              <a:gd name="T8" fmla="*/ 0 w 60"/>
              <a:gd name="T9" fmla="*/ 239 h 265"/>
              <a:gd name="T10" fmla="*/ 45 w 60"/>
              <a:gd name="T11" fmla="*/ 0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0" h="265">
                <a:moveTo>
                  <a:pt x="45" y="0"/>
                </a:moveTo>
                <a:cubicBezTo>
                  <a:pt x="60" y="4"/>
                  <a:pt x="60" y="4"/>
                  <a:pt x="60" y="4"/>
                </a:cubicBezTo>
                <a:cubicBezTo>
                  <a:pt x="60" y="4"/>
                  <a:pt x="33" y="114"/>
                  <a:pt x="48" y="235"/>
                </a:cubicBezTo>
                <a:cubicBezTo>
                  <a:pt x="40" y="247"/>
                  <a:pt x="26" y="265"/>
                  <a:pt x="26" y="265"/>
                </a:cubicBezTo>
                <a:cubicBezTo>
                  <a:pt x="26" y="265"/>
                  <a:pt x="8" y="247"/>
                  <a:pt x="0" y="239"/>
                </a:cubicBezTo>
                <a:cubicBezTo>
                  <a:pt x="6" y="109"/>
                  <a:pt x="45" y="0"/>
                  <a:pt x="45" y="0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7" name="Freeform 859">
            <a:extLst>
              <a:ext uri="{FF2B5EF4-FFF2-40B4-BE49-F238E27FC236}">
                <a16:creationId xmlns:a16="http://schemas.microsoft.com/office/drawing/2014/main" id="{A209E5AA-6EE3-4D7E-8F04-63E99736326C}"/>
              </a:ext>
            </a:extLst>
          </p:cNvPr>
          <p:cNvSpPr>
            <a:spLocks/>
          </p:cNvSpPr>
          <p:nvPr/>
        </p:nvSpPr>
        <p:spPr bwMode="auto">
          <a:xfrm>
            <a:off x="7721525" y="2707707"/>
            <a:ext cx="10018" cy="7513"/>
          </a:xfrm>
          <a:custGeom>
            <a:avLst/>
            <a:gdLst>
              <a:gd name="T0" fmla="*/ 17 w 19"/>
              <a:gd name="T1" fmla="*/ 7 h 15"/>
              <a:gd name="T2" fmla="*/ 18 w 19"/>
              <a:gd name="T3" fmla="*/ 2 h 15"/>
              <a:gd name="T4" fmla="*/ 13 w 19"/>
              <a:gd name="T5" fmla="*/ 1 h 15"/>
              <a:gd name="T6" fmla="*/ 2 w 19"/>
              <a:gd name="T7" fmla="*/ 8 h 15"/>
              <a:gd name="T8" fmla="*/ 2 w 19"/>
              <a:gd name="T9" fmla="*/ 13 h 15"/>
              <a:gd name="T10" fmla="*/ 7 w 19"/>
              <a:gd name="T11" fmla="*/ 14 h 15"/>
              <a:gd name="T12" fmla="*/ 17 w 19"/>
              <a:gd name="T13" fmla="*/ 7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" h="15">
                <a:moveTo>
                  <a:pt x="17" y="7"/>
                </a:moveTo>
                <a:cubicBezTo>
                  <a:pt x="19" y="5"/>
                  <a:pt x="19" y="3"/>
                  <a:pt x="18" y="2"/>
                </a:cubicBezTo>
                <a:cubicBezTo>
                  <a:pt x="17" y="0"/>
                  <a:pt x="14" y="0"/>
                  <a:pt x="13" y="1"/>
                </a:cubicBezTo>
                <a:cubicBezTo>
                  <a:pt x="2" y="8"/>
                  <a:pt x="2" y="8"/>
                  <a:pt x="2" y="8"/>
                </a:cubicBezTo>
                <a:cubicBezTo>
                  <a:pt x="1" y="9"/>
                  <a:pt x="0" y="12"/>
                  <a:pt x="2" y="13"/>
                </a:cubicBezTo>
                <a:cubicBezTo>
                  <a:pt x="3" y="15"/>
                  <a:pt x="5" y="15"/>
                  <a:pt x="7" y="14"/>
                </a:cubicBezTo>
                <a:lnTo>
                  <a:pt x="17" y="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8" name="Freeform 860">
            <a:extLst>
              <a:ext uri="{FF2B5EF4-FFF2-40B4-BE49-F238E27FC236}">
                <a16:creationId xmlns:a16="http://schemas.microsoft.com/office/drawing/2014/main" id="{D7805D70-6DF5-4FA3-BF63-0AE7C77780BC}"/>
              </a:ext>
            </a:extLst>
          </p:cNvPr>
          <p:cNvSpPr>
            <a:spLocks/>
          </p:cNvSpPr>
          <p:nvPr/>
        </p:nvSpPr>
        <p:spPr bwMode="auto">
          <a:xfrm>
            <a:off x="7726534" y="2725239"/>
            <a:ext cx="8766" cy="5009"/>
          </a:xfrm>
          <a:custGeom>
            <a:avLst/>
            <a:gdLst>
              <a:gd name="T0" fmla="*/ 13 w 18"/>
              <a:gd name="T1" fmla="*/ 9 h 9"/>
              <a:gd name="T2" fmla="*/ 18 w 18"/>
              <a:gd name="T3" fmla="*/ 6 h 9"/>
              <a:gd name="T4" fmla="*/ 15 w 18"/>
              <a:gd name="T5" fmla="*/ 2 h 9"/>
              <a:gd name="T6" fmla="*/ 5 w 18"/>
              <a:gd name="T7" fmla="*/ 0 h 9"/>
              <a:gd name="T8" fmla="*/ 1 w 18"/>
              <a:gd name="T9" fmla="*/ 3 h 9"/>
              <a:gd name="T10" fmla="*/ 3 w 18"/>
              <a:gd name="T11" fmla="*/ 7 h 9"/>
              <a:gd name="T12" fmla="*/ 13 w 1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" h="9">
                <a:moveTo>
                  <a:pt x="13" y="9"/>
                </a:moveTo>
                <a:cubicBezTo>
                  <a:pt x="15" y="9"/>
                  <a:pt x="17" y="8"/>
                  <a:pt x="18" y="6"/>
                </a:cubicBezTo>
                <a:cubicBezTo>
                  <a:pt x="18" y="4"/>
                  <a:pt x="17" y="2"/>
                  <a:pt x="15" y="2"/>
                </a:cubicBezTo>
                <a:cubicBezTo>
                  <a:pt x="5" y="0"/>
                  <a:pt x="5" y="0"/>
                  <a:pt x="5" y="0"/>
                </a:cubicBezTo>
                <a:cubicBezTo>
                  <a:pt x="3" y="0"/>
                  <a:pt x="1" y="1"/>
                  <a:pt x="1" y="3"/>
                </a:cubicBezTo>
                <a:cubicBezTo>
                  <a:pt x="0" y="5"/>
                  <a:pt x="2" y="7"/>
                  <a:pt x="3" y="7"/>
                </a:cubicBezTo>
                <a:lnTo>
                  <a:pt x="13" y="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9" name="Freeform 861">
            <a:extLst>
              <a:ext uri="{FF2B5EF4-FFF2-40B4-BE49-F238E27FC236}">
                <a16:creationId xmlns:a16="http://schemas.microsoft.com/office/drawing/2014/main" id="{06FB6846-9399-4FBE-9A65-36AE068F8FAE}"/>
              </a:ext>
            </a:extLst>
          </p:cNvPr>
          <p:cNvSpPr>
            <a:spLocks/>
          </p:cNvSpPr>
          <p:nvPr/>
        </p:nvSpPr>
        <p:spPr bwMode="auto">
          <a:xfrm>
            <a:off x="7720273" y="2711464"/>
            <a:ext cx="13775" cy="17531"/>
          </a:xfrm>
          <a:custGeom>
            <a:avLst/>
            <a:gdLst>
              <a:gd name="T0" fmla="*/ 4 w 28"/>
              <a:gd name="T1" fmla="*/ 33 h 36"/>
              <a:gd name="T2" fmla="*/ 0 w 28"/>
              <a:gd name="T3" fmla="*/ 29 h 36"/>
              <a:gd name="T4" fmla="*/ 4 w 28"/>
              <a:gd name="T5" fmla="*/ 4 h 36"/>
              <a:gd name="T6" fmla="*/ 9 w 28"/>
              <a:gd name="T7" fmla="*/ 1 h 36"/>
              <a:gd name="T8" fmla="*/ 24 w 28"/>
              <a:gd name="T9" fmla="*/ 3 h 36"/>
              <a:gd name="T10" fmla="*/ 28 w 28"/>
              <a:gd name="T11" fmla="*/ 8 h 36"/>
              <a:gd name="T12" fmla="*/ 24 w 28"/>
              <a:gd name="T13" fmla="*/ 32 h 36"/>
              <a:gd name="T14" fmla="*/ 19 w 28"/>
              <a:gd name="T15" fmla="*/ 36 h 36"/>
              <a:gd name="T16" fmla="*/ 4 w 28"/>
              <a:gd name="T17" fmla="*/ 33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" h="36">
                <a:moveTo>
                  <a:pt x="4" y="33"/>
                </a:moveTo>
                <a:cubicBezTo>
                  <a:pt x="1" y="33"/>
                  <a:pt x="0" y="31"/>
                  <a:pt x="0" y="29"/>
                </a:cubicBezTo>
                <a:cubicBezTo>
                  <a:pt x="4" y="4"/>
                  <a:pt x="4" y="4"/>
                  <a:pt x="4" y="4"/>
                </a:cubicBezTo>
                <a:cubicBezTo>
                  <a:pt x="4" y="2"/>
                  <a:pt x="6" y="0"/>
                  <a:pt x="9" y="1"/>
                </a:cubicBezTo>
                <a:cubicBezTo>
                  <a:pt x="24" y="3"/>
                  <a:pt x="24" y="3"/>
                  <a:pt x="24" y="3"/>
                </a:cubicBezTo>
                <a:cubicBezTo>
                  <a:pt x="27" y="3"/>
                  <a:pt x="28" y="5"/>
                  <a:pt x="28" y="8"/>
                </a:cubicBezTo>
                <a:cubicBezTo>
                  <a:pt x="24" y="32"/>
                  <a:pt x="24" y="32"/>
                  <a:pt x="24" y="32"/>
                </a:cubicBezTo>
                <a:cubicBezTo>
                  <a:pt x="24" y="35"/>
                  <a:pt x="22" y="36"/>
                  <a:pt x="19" y="36"/>
                </a:cubicBezTo>
                <a:lnTo>
                  <a:pt x="4" y="3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0" name="Freeform 862">
            <a:extLst>
              <a:ext uri="{FF2B5EF4-FFF2-40B4-BE49-F238E27FC236}">
                <a16:creationId xmlns:a16="http://schemas.microsoft.com/office/drawing/2014/main" id="{27098F09-D086-4429-9F0B-973413735637}"/>
              </a:ext>
            </a:extLst>
          </p:cNvPr>
          <p:cNvSpPr>
            <a:spLocks/>
          </p:cNvSpPr>
          <p:nvPr/>
        </p:nvSpPr>
        <p:spPr bwMode="auto">
          <a:xfrm>
            <a:off x="7727786" y="2711464"/>
            <a:ext cx="10018" cy="5009"/>
          </a:xfrm>
          <a:custGeom>
            <a:avLst/>
            <a:gdLst>
              <a:gd name="T0" fmla="*/ 14 w 18"/>
              <a:gd name="T1" fmla="*/ 9 h 9"/>
              <a:gd name="T2" fmla="*/ 18 w 18"/>
              <a:gd name="T3" fmla="*/ 6 h 9"/>
              <a:gd name="T4" fmla="*/ 15 w 18"/>
              <a:gd name="T5" fmla="*/ 2 h 9"/>
              <a:gd name="T6" fmla="*/ 5 w 18"/>
              <a:gd name="T7" fmla="*/ 0 h 9"/>
              <a:gd name="T8" fmla="*/ 1 w 18"/>
              <a:gd name="T9" fmla="*/ 3 h 9"/>
              <a:gd name="T10" fmla="*/ 4 w 18"/>
              <a:gd name="T11" fmla="*/ 7 h 9"/>
              <a:gd name="T12" fmla="*/ 14 w 1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" h="9">
                <a:moveTo>
                  <a:pt x="14" y="9"/>
                </a:moveTo>
                <a:cubicBezTo>
                  <a:pt x="15" y="9"/>
                  <a:pt x="17" y="8"/>
                  <a:pt x="18" y="6"/>
                </a:cubicBezTo>
                <a:cubicBezTo>
                  <a:pt x="18" y="4"/>
                  <a:pt x="17" y="2"/>
                  <a:pt x="15" y="2"/>
                </a:cubicBezTo>
                <a:cubicBezTo>
                  <a:pt x="5" y="0"/>
                  <a:pt x="5" y="0"/>
                  <a:pt x="5" y="0"/>
                </a:cubicBezTo>
                <a:cubicBezTo>
                  <a:pt x="3" y="0"/>
                  <a:pt x="1" y="1"/>
                  <a:pt x="1" y="3"/>
                </a:cubicBezTo>
                <a:cubicBezTo>
                  <a:pt x="0" y="5"/>
                  <a:pt x="2" y="7"/>
                  <a:pt x="4" y="7"/>
                </a:cubicBezTo>
                <a:lnTo>
                  <a:pt x="14" y="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1" name="Freeform 863">
            <a:extLst>
              <a:ext uri="{FF2B5EF4-FFF2-40B4-BE49-F238E27FC236}">
                <a16:creationId xmlns:a16="http://schemas.microsoft.com/office/drawing/2014/main" id="{CA23B420-BDD1-4F5C-8301-035FA3FB824C}"/>
              </a:ext>
            </a:extLst>
          </p:cNvPr>
          <p:cNvSpPr>
            <a:spLocks/>
          </p:cNvSpPr>
          <p:nvPr/>
        </p:nvSpPr>
        <p:spPr bwMode="auto">
          <a:xfrm>
            <a:off x="7727786" y="2716473"/>
            <a:ext cx="8766" cy="5009"/>
          </a:xfrm>
          <a:custGeom>
            <a:avLst/>
            <a:gdLst>
              <a:gd name="T0" fmla="*/ 13 w 18"/>
              <a:gd name="T1" fmla="*/ 9 h 9"/>
              <a:gd name="T2" fmla="*/ 17 w 18"/>
              <a:gd name="T3" fmla="*/ 6 h 9"/>
              <a:gd name="T4" fmla="*/ 14 w 18"/>
              <a:gd name="T5" fmla="*/ 2 h 9"/>
              <a:gd name="T6" fmla="*/ 4 w 18"/>
              <a:gd name="T7" fmla="*/ 0 h 9"/>
              <a:gd name="T8" fmla="*/ 0 w 18"/>
              <a:gd name="T9" fmla="*/ 3 h 9"/>
              <a:gd name="T10" fmla="*/ 3 w 18"/>
              <a:gd name="T11" fmla="*/ 7 h 9"/>
              <a:gd name="T12" fmla="*/ 13 w 1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" h="9">
                <a:moveTo>
                  <a:pt x="13" y="9"/>
                </a:moveTo>
                <a:cubicBezTo>
                  <a:pt x="15" y="9"/>
                  <a:pt x="17" y="8"/>
                  <a:pt x="17" y="6"/>
                </a:cubicBezTo>
                <a:cubicBezTo>
                  <a:pt x="18" y="4"/>
                  <a:pt x="16" y="2"/>
                  <a:pt x="14" y="2"/>
                </a:cubicBezTo>
                <a:cubicBezTo>
                  <a:pt x="4" y="0"/>
                  <a:pt x="4" y="0"/>
                  <a:pt x="4" y="0"/>
                </a:cubicBezTo>
                <a:cubicBezTo>
                  <a:pt x="2" y="0"/>
                  <a:pt x="1" y="1"/>
                  <a:pt x="0" y="3"/>
                </a:cubicBezTo>
                <a:cubicBezTo>
                  <a:pt x="0" y="5"/>
                  <a:pt x="1" y="7"/>
                  <a:pt x="3" y="7"/>
                </a:cubicBezTo>
                <a:lnTo>
                  <a:pt x="13" y="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2" name="Freeform 864">
            <a:extLst>
              <a:ext uri="{FF2B5EF4-FFF2-40B4-BE49-F238E27FC236}">
                <a16:creationId xmlns:a16="http://schemas.microsoft.com/office/drawing/2014/main" id="{045C0490-9E6D-477B-8070-A67EB9D106A5}"/>
              </a:ext>
            </a:extLst>
          </p:cNvPr>
          <p:cNvSpPr>
            <a:spLocks/>
          </p:cNvSpPr>
          <p:nvPr/>
        </p:nvSpPr>
        <p:spPr bwMode="auto">
          <a:xfrm>
            <a:off x="7726534" y="2720230"/>
            <a:ext cx="10018" cy="5009"/>
          </a:xfrm>
          <a:custGeom>
            <a:avLst/>
            <a:gdLst>
              <a:gd name="T0" fmla="*/ 13 w 17"/>
              <a:gd name="T1" fmla="*/ 9 h 9"/>
              <a:gd name="T2" fmla="*/ 17 w 17"/>
              <a:gd name="T3" fmla="*/ 6 h 9"/>
              <a:gd name="T4" fmla="*/ 14 w 17"/>
              <a:gd name="T5" fmla="*/ 2 h 9"/>
              <a:gd name="T6" fmla="*/ 4 w 17"/>
              <a:gd name="T7" fmla="*/ 1 h 9"/>
              <a:gd name="T8" fmla="*/ 0 w 17"/>
              <a:gd name="T9" fmla="*/ 4 h 9"/>
              <a:gd name="T10" fmla="*/ 3 w 17"/>
              <a:gd name="T11" fmla="*/ 8 h 9"/>
              <a:gd name="T12" fmla="*/ 13 w 17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" h="9">
                <a:moveTo>
                  <a:pt x="13" y="9"/>
                </a:moveTo>
                <a:cubicBezTo>
                  <a:pt x="15" y="9"/>
                  <a:pt x="17" y="8"/>
                  <a:pt x="17" y="6"/>
                </a:cubicBezTo>
                <a:cubicBezTo>
                  <a:pt x="17" y="4"/>
                  <a:pt x="16" y="2"/>
                  <a:pt x="14" y="2"/>
                </a:cubicBezTo>
                <a:cubicBezTo>
                  <a:pt x="4" y="1"/>
                  <a:pt x="4" y="1"/>
                  <a:pt x="4" y="1"/>
                </a:cubicBezTo>
                <a:cubicBezTo>
                  <a:pt x="2" y="0"/>
                  <a:pt x="0" y="2"/>
                  <a:pt x="0" y="4"/>
                </a:cubicBezTo>
                <a:cubicBezTo>
                  <a:pt x="0" y="5"/>
                  <a:pt x="1" y="7"/>
                  <a:pt x="3" y="8"/>
                </a:cubicBezTo>
                <a:lnTo>
                  <a:pt x="13" y="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3" name="Freeform 865">
            <a:extLst>
              <a:ext uri="{FF2B5EF4-FFF2-40B4-BE49-F238E27FC236}">
                <a16:creationId xmlns:a16="http://schemas.microsoft.com/office/drawing/2014/main" id="{AE4466A0-4D21-4104-8D80-8F9EA891652C}"/>
              </a:ext>
            </a:extLst>
          </p:cNvPr>
          <p:cNvSpPr>
            <a:spLocks/>
          </p:cNvSpPr>
          <p:nvPr/>
        </p:nvSpPr>
        <p:spPr bwMode="auto">
          <a:xfrm>
            <a:off x="7855514" y="2700194"/>
            <a:ext cx="5009" cy="214132"/>
          </a:xfrm>
          <a:custGeom>
            <a:avLst/>
            <a:gdLst>
              <a:gd name="T0" fmla="*/ 4 w 4"/>
              <a:gd name="T1" fmla="*/ 171 h 171"/>
              <a:gd name="T2" fmla="*/ 0 w 4"/>
              <a:gd name="T3" fmla="*/ 171 h 171"/>
              <a:gd name="T4" fmla="*/ 0 w 4"/>
              <a:gd name="T5" fmla="*/ 0 h 171"/>
              <a:gd name="T6" fmla="*/ 4 w 4"/>
              <a:gd name="T7" fmla="*/ 0 h 171"/>
              <a:gd name="T8" fmla="*/ 4 w 4"/>
              <a:gd name="T9" fmla="*/ 171 h 171"/>
              <a:gd name="T10" fmla="*/ 4 w 4"/>
              <a:gd name="T11" fmla="*/ 171 h 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171">
                <a:moveTo>
                  <a:pt x="4" y="171"/>
                </a:moveTo>
                <a:lnTo>
                  <a:pt x="0" y="171"/>
                </a:lnTo>
                <a:lnTo>
                  <a:pt x="0" y="0"/>
                </a:lnTo>
                <a:lnTo>
                  <a:pt x="4" y="0"/>
                </a:lnTo>
                <a:lnTo>
                  <a:pt x="4" y="171"/>
                </a:lnTo>
                <a:lnTo>
                  <a:pt x="4" y="171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4" name="Freeform 866">
            <a:extLst>
              <a:ext uri="{FF2B5EF4-FFF2-40B4-BE49-F238E27FC236}">
                <a16:creationId xmlns:a16="http://schemas.microsoft.com/office/drawing/2014/main" id="{B6CC03D4-511C-423D-B96A-B271518737F0}"/>
              </a:ext>
            </a:extLst>
          </p:cNvPr>
          <p:cNvSpPr>
            <a:spLocks/>
          </p:cNvSpPr>
          <p:nvPr/>
        </p:nvSpPr>
        <p:spPr bwMode="auto">
          <a:xfrm>
            <a:off x="7772867" y="2712716"/>
            <a:ext cx="86405" cy="202862"/>
          </a:xfrm>
          <a:custGeom>
            <a:avLst/>
            <a:gdLst>
              <a:gd name="T0" fmla="*/ 66 w 69"/>
              <a:gd name="T1" fmla="*/ 162 h 162"/>
              <a:gd name="T2" fmla="*/ 0 w 69"/>
              <a:gd name="T3" fmla="*/ 1 h 162"/>
              <a:gd name="T4" fmla="*/ 3 w 69"/>
              <a:gd name="T5" fmla="*/ 0 h 162"/>
              <a:gd name="T6" fmla="*/ 69 w 69"/>
              <a:gd name="T7" fmla="*/ 160 h 162"/>
              <a:gd name="T8" fmla="*/ 66 w 69"/>
              <a:gd name="T9" fmla="*/ 162 h 162"/>
              <a:gd name="T10" fmla="*/ 66 w 69"/>
              <a:gd name="T11" fmla="*/ 16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9" h="162">
                <a:moveTo>
                  <a:pt x="66" y="162"/>
                </a:moveTo>
                <a:lnTo>
                  <a:pt x="0" y="1"/>
                </a:lnTo>
                <a:lnTo>
                  <a:pt x="3" y="0"/>
                </a:lnTo>
                <a:lnTo>
                  <a:pt x="69" y="160"/>
                </a:lnTo>
                <a:lnTo>
                  <a:pt x="66" y="162"/>
                </a:lnTo>
                <a:lnTo>
                  <a:pt x="66" y="162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5" name="Freeform 867">
            <a:extLst>
              <a:ext uri="{FF2B5EF4-FFF2-40B4-BE49-F238E27FC236}">
                <a16:creationId xmlns:a16="http://schemas.microsoft.com/office/drawing/2014/main" id="{643C0E6C-4E44-4F05-825B-1DDD8D7D3669}"/>
              </a:ext>
            </a:extLst>
          </p:cNvPr>
          <p:cNvSpPr>
            <a:spLocks/>
          </p:cNvSpPr>
          <p:nvPr/>
        </p:nvSpPr>
        <p:spPr bwMode="auto">
          <a:xfrm>
            <a:off x="7487358" y="2786598"/>
            <a:ext cx="170304" cy="41324"/>
          </a:xfrm>
          <a:custGeom>
            <a:avLst/>
            <a:gdLst>
              <a:gd name="T0" fmla="*/ 0 w 327"/>
              <a:gd name="T1" fmla="*/ 79 h 79"/>
              <a:gd name="T2" fmla="*/ 287 w 327"/>
              <a:gd name="T3" fmla="*/ 79 h 79"/>
              <a:gd name="T4" fmla="*/ 327 w 327"/>
              <a:gd name="T5" fmla="*/ 40 h 79"/>
              <a:gd name="T6" fmla="*/ 287 w 327"/>
              <a:gd name="T7" fmla="*/ 0 h 79"/>
              <a:gd name="T8" fmla="*/ 0 w 327"/>
              <a:gd name="T9" fmla="*/ 0 h 79"/>
              <a:gd name="T10" fmla="*/ 0 w 327"/>
              <a:gd name="T11" fmla="*/ 79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27" h="79">
                <a:moveTo>
                  <a:pt x="0" y="79"/>
                </a:moveTo>
                <a:cubicBezTo>
                  <a:pt x="287" y="79"/>
                  <a:pt x="287" y="79"/>
                  <a:pt x="287" y="79"/>
                </a:cubicBezTo>
                <a:cubicBezTo>
                  <a:pt x="309" y="79"/>
                  <a:pt x="327" y="62"/>
                  <a:pt x="327" y="40"/>
                </a:cubicBezTo>
                <a:cubicBezTo>
                  <a:pt x="327" y="18"/>
                  <a:pt x="309" y="0"/>
                  <a:pt x="287" y="0"/>
                </a:cubicBezTo>
                <a:cubicBezTo>
                  <a:pt x="0" y="0"/>
                  <a:pt x="0" y="0"/>
                  <a:pt x="0" y="0"/>
                </a:cubicBezTo>
                <a:lnTo>
                  <a:pt x="0" y="79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6" name="Freeform 868">
            <a:extLst>
              <a:ext uri="{FF2B5EF4-FFF2-40B4-BE49-F238E27FC236}">
                <a16:creationId xmlns:a16="http://schemas.microsoft.com/office/drawing/2014/main" id="{D2000836-3B1C-4AA5-9588-F63FE583AB43}"/>
              </a:ext>
            </a:extLst>
          </p:cNvPr>
          <p:cNvSpPr>
            <a:spLocks/>
          </p:cNvSpPr>
          <p:nvPr/>
        </p:nvSpPr>
        <p:spPr bwMode="auto">
          <a:xfrm>
            <a:off x="7487358" y="2574970"/>
            <a:ext cx="56351" cy="252951"/>
          </a:xfrm>
          <a:custGeom>
            <a:avLst/>
            <a:gdLst>
              <a:gd name="T0" fmla="*/ 0 w 107"/>
              <a:gd name="T1" fmla="*/ 486 h 486"/>
              <a:gd name="T2" fmla="*/ 107 w 107"/>
              <a:gd name="T3" fmla="*/ 486 h 486"/>
              <a:gd name="T4" fmla="*/ 74 w 107"/>
              <a:gd name="T5" fmla="*/ 34 h 486"/>
              <a:gd name="T6" fmla="*/ 37 w 107"/>
              <a:gd name="T7" fmla="*/ 0 h 486"/>
              <a:gd name="T8" fmla="*/ 0 w 107"/>
              <a:gd name="T9" fmla="*/ 37 h 486"/>
              <a:gd name="T10" fmla="*/ 0 w 107"/>
              <a:gd name="T11" fmla="*/ 486 h 4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7" h="486">
                <a:moveTo>
                  <a:pt x="0" y="486"/>
                </a:moveTo>
                <a:cubicBezTo>
                  <a:pt x="107" y="486"/>
                  <a:pt x="107" y="486"/>
                  <a:pt x="107" y="486"/>
                </a:cubicBezTo>
                <a:cubicBezTo>
                  <a:pt x="74" y="34"/>
                  <a:pt x="74" y="34"/>
                  <a:pt x="74" y="34"/>
                </a:cubicBezTo>
                <a:cubicBezTo>
                  <a:pt x="72" y="15"/>
                  <a:pt x="56" y="0"/>
                  <a:pt x="37" y="0"/>
                </a:cubicBezTo>
                <a:cubicBezTo>
                  <a:pt x="16" y="0"/>
                  <a:pt x="0" y="16"/>
                  <a:pt x="0" y="37"/>
                </a:cubicBezTo>
                <a:lnTo>
                  <a:pt x="0" y="486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7" name="Freeform 869">
            <a:extLst>
              <a:ext uri="{FF2B5EF4-FFF2-40B4-BE49-F238E27FC236}">
                <a16:creationId xmlns:a16="http://schemas.microsoft.com/office/drawing/2014/main" id="{D12BB3CB-EEF4-4A57-9280-961BC6CE8417}"/>
              </a:ext>
            </a:extLst>
          </p:cNvPr>
          <p:cNvSpPr>
            <a:spLocks/>
          </p:cNvSpPr>
          <p:nvPr/>
        </p:nvSpPr>
        <p:spPr bwMode="auto">
          <a:xfrm>
            <a:off x="7503636" y="2827922"/>
            <a:ext cx="135241" cy="8766"/>
          </a:xfrm>
          <a:custGeom>
            <a:avLst/>
            <a:gdLst>
              <a:gd name="T0" fmla="*/ 108 w 108"/>
              <a:gd name="T1" fmla="*/ 7 h 7"/>
              <a:gd name="T2" fmla="*/ 0 w 108"/>
              <a:gd name="T3" fmla="*/ 7 h 7"/>
              <a:gd name="T4" fmla="*/ 5 w 108"/>
              <a:gd name="T5" fmla="*/ 0 h 7"/>
              <a:gd name="T6" fmla="*/ 103 w 108"/>
              <a:gd name="T7" fmla="*/ 0 h 7"/>
              <a:gd name="T8" fmla="*/ 108 w 108"/>
              <a:gd name="T9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8" h="7">
                <a:moveTo>
                  <a:pt x="108" y="7"/>
                </a:moveTo>
                <a:lnTo>
                  <a:pt x="0" y="7"/>
                </a:lnTo>
                <a:lnTo>
                  <a:pt x="5" y="0"/>
                </a:lnTo>
                <a:lnTo>
                  <a:pt x="103" y="0"/>
                </a:lnTo>
                <a:lnTo>
                  <a:pt x="108" y="7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8" name="Freeform 870">
            <a:extLst>
              <a:ext uri="{FF2B5EF4-FFF2-40B4-BE49-F238E27FC236}">
                <a16:creationId xmlns:a16="http://schemas.microsoft.com/office/drawing/2014/main" id="{8246D9FE-21F5-4926-A603-161438BBBC3E}"/>
              </a:ext>
            </a:extLst>
          </p:cNvPr>
          <p:cNvSpPr>
            <a:spLocks/>
          </p:cNvSpPr>
          <p:nvPr/>
        </p:nvSpPr>
        <p:spPr bwMode="auto">
          <a:xfrm>
            <a:off x="7503636" y="2836688"/>
            <a:ext cx="135241" cy="7513"/>
          </a:xfrm>
          <a:custGeom>
            <a:avLst/>
            <a:gdLst>
              <a:gd name="T0" fmla="*/ 108 w 108"/>
              <a:gd name="T1" fmla="*/ 0 h 6"/>
              <a:gd name="T2" fmla="*/ 0 w 108"/>
              <a:gd name="T3" fmla="*/ 0 h 6"/>
              <a:gd name="T4" fmla="*/ 5 w 108"/>
              <a:gd name="T5" fmla="*/ 6 h 6"/>
              <a:gd name="T6" fmla="*/ 103 w 108"/>
              <a:gd name="T7" fmla="*/ 6 h 6"/>
              <a:gd name="T8" fmla="*/ 108 w 108"/>
              <a:gd name="T9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8" h="6">
                <a:moveTo>
                  <a:pt x="108" y="0"/>
                </a:moveTo>
                <a:lnTo>
                  <a:pt x="0" y="0"/>
                </a:lnTo>
                <a:lnTo>
                  <a:pt x="5" y="6"/>
                </a:lnTo>
                <a:lnTo>
                  <a:pt x="103" y="6"/>
                </a:lnTo>
                <a:lnTo>
                  <a:pt x="108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9" name="Freeform 871">
            <a:extLst>
              <a:ext uri="{FF2B5EF4-FFF2-40B4-BE49-F238E27FC236}">
                <a16:creationId xmlns:a16="http://schemas.microsoft.com/office/drawing/2014/main" id="{A8AA7274-5609-42EB-96E6-5A5875FD70E0}"/>
              </a:ext>
            </a:extLst>
          </p:cNvPr>
          <p:cNvSpPr>
            <a:spLocks/>
          </p:cNvSpPr>
          <p:nvPr/>
        </p:nvSpPr>
        <p:spPr bwMode="auto">
          <a:xfrm>
            <a:off x="7503636" y="2844201"/>
            <a:ext cx="135241" cy="8766"/>
          </a:xfrm>
          <a:custGeom>
            <a:avLst/>
            <a:gdLst>
              <a:gd name="T0" fmla="*/ 108 w 108"/>
              <a:gd name="T1" fmla="*/ 7 h 7"/>
              <a:gd name="T2" fmla="*/ 0 w 108"/>
              <a:gd name="T3" fmla="*/ 7 h 7"/>
              <a:gd name="T4" fmla="*/ 5 w 108"/>
              <a:gd name="T5" fmla="*/ 0 h 7"/>
              <a:gd name="T6" fmla="*/ 103 w 108"/>
              <a:gd name="T7" fmla="*/ 0 h 7"/>
              <a:gd name="T8" fmla="*/ 108 w 108"/>
              <a:gd name="T9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8" h="7">
                <a:moveTo>
                  <a:pt x="108" y="7"/>
                </a:moveTo>
                <a:lnTo>
                  <a:pt x="0" y="7"/>
                </a:lnTo>
                <a:lnTo>
                  <a:pt x="5" y="0"/>
                </a:lnTo>
                <a:lnTo>
                  <a:pt x="103" y="0"/>
                </a:lnTo>
                <a:lnTo>
                  <a:pt x="108" y="7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0" name="Freeform 872">
            <a:extLst>
              <a:ext uri="{FF2B5EF4-FFF2-40B4-BE49-F238E27FC236}">
                <a16:creationId xmlns:a16="http://schemas.microsoft.com/office/drawing/2014/main" id="{32979DD4-B653-44A5-BCE8-DAFDD991B305}"/>
              </a:ext>
            </a:extLst>
          </p:cNvPr>
          <p:cNvSpPr>
            <a:spLocks/>
          </p:cNvSpPr>
          <p:nvPr/>
        </p:nvSpPr>
        <p:spPr bwMode="auto">
          <a:xfrm>
            <a:off x="7503636" y="2852966"/>
            <a:ext cx="135241" cy="8766"/>
          </a:xfrm>
          <a:custGeom>
            <a:avLst/>
            <a:gdLst>
              <a:gd name="T0" fmla="*/ 108 w 108"/>
              <a:gd name="T1" fmla="*/ 0 h 7"/>
              <a:gd name="T2" fmla="*/ 0 w 108"/>
              <a:gd name="T3" fmla="*/ 0 h 7"/>
              <a:gd name="T4" fmla="*/ 5 w 108"/>
              <a:gd name="T5" fmla="*/ 7 h 7"/>
              <a:gd name="T6" fmla="*/ 103 w 108"/>
              <a:gd name="T7" fmla="*/ 7 h 7"/>
              <a:gd name="T8" fmla="*/ 108 w 108"/>
              <a:gd name="T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8" h="7">
                <a:moveTo>
                  <a:pt x="108" y="0"/>
                </a:moveTo>
                <a:lnTo>
                  <a:pt x="0" y="0"/>
                </a:lnTo>
                <a:lnTo>
                  <a:pt x="5" y="7"/>
                </a:lnTo>
                <a:lnTo>
                  <a:pt x="103" y="7"/>
                </a:lnTo>
                <a:lnTo>
                  <a:pt x="108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1" name="Freeform 873">
            <a:extLst>
              <a:ext uri="{FF2B5EF4-FFF2-40B4-BE49-F238E27FC236}">
                <a16:creationId xmlns:a16="http://schemas.microsoft.com/office/drawing/2014/main" id="{CF26E1D4-CB99-4A59-B671-60A333149C88}"/>
              </a:ext>
            </a:extLst>
          </p:cNvPr>
          <p:cNvSpPr>
            <a:spLocks/>
          </p:cNvSpPr>
          <p:nvPr/>
        </p:nvSpPr>
        <p:spPr bwMode="auto">
          <a:xfrm>
            <a:off x="7503636" y="2861732"/>
            <a:ext cx="135241" cy="8766"/>
          </a:xfrm>
          <a:custGeom>
            <a:avLst/>
            <a:gdLst>
              <a:gd name="T0" fmla="*/ 108 w 108"/>
              <a:gd name="T1" fmla="*/ 7 h 7"/>
              <a:gd name="T2" fmla="*/ 0 w 108"/>
              <a:gd name="T3" fmla="*/ 7 h 7"/>
              <a:gd name="T4" fmla="*/ 5 w 108"/>
              <a:gd name="T5" fmla="*/ 0 h 7"/>
              <a:gd name="T6" fmla="*/ 103 w 108"/>
              <a:gd name="T7" fmla="*/ 0 h 7"/>
              <a:gd name="T8" fmla="*/ 108 w 108"/>
              <a:gd name="T9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8" h="7">
                <a:moveTo>
                  <a:pt x="108" y="7"/>
                </a:moveTo>
                <a:lnTo>
                  <a:pt x="0" y="7"/>
                </a:lnTo>
                <a:lnTo>
                  <a:pt x="5" y="0"/>
                </a:lnTo>
                <a:lnTo>
                  <a:pt x="103" y="0"/>
                </a:lnTo>
                <a:lnTo>
                  <a:pt x="108" y="7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2" name="Freeform 874">
            <a:extLst>
              <a:ext uri="{FF2B5EF4-FFF2-40B4-BE49-F238E27FC236}">
                <a16:creationId xmlns:a16="http://schemas.microsoft.com/office/drawing/2014/main" id="{72B20DB7-0B9B-40CF-B73B-76B853D74448}"/>
              </a:ext>
            </a:extLst>
          </p:cNvPr>
          <p:cNvSpPr>
            <a:spLocks/>
          </p:cNvSpPr>
          <p:nvPr/>
        </p:nvSpPr>
        <p:spPr bwMode="auto">
          <a:xfrm>
            <a:off x="7503636" y="2870498"/>
            <a:ext cx="135241" cy="8766"/>
          </a:xfrm>
          <a:custGeom>
            <a:avLst/>
            <a:gdLst>
              <a:gd name="T0" fmla="*/ 108 w 108"/>
              <a:gd name="T1" fmla="*/ 0 h 7"/>
              <a:gd name="T2" fmla="*/ 0 w 108"/>
              <a:gd name="T3" fmla="*/ 0 h 7"/>
              <a:gd name="T4" fmla="*/ 5 w 108"/>
              <a:gd name="T5" fmla="*/ 7 h 7"/>
              <a:gd name="T6" fmla="*/ 103 w 108"/>
              <a:gd name="T7" fmla="*/ 7 h 7"/>
              <a:gd name="T8" fmla="*/ 108 w 108"/>
              <a:gd name="T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8" h="7">
                <a:moveTo>
                  <a:pt x="108" y="0"/>
                </a:moveTo>
                <a:lnTo>
                  <a:pt x="0" y="0"/>
                </a:lnTo>
                <a:lnTo>
                  <a:pt x="5" y="7"/>
                </a:lnTo>
                <a:lnTo>
                  <a:pt x="103" y="7"/>
                </a:lnTo>
                <a:lnTo>
                  <a:pt x="108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3" name="Freeform 875">
            <a:extLst>
              <a:ext uri="{FF2B5EF4-FFF2-40B4-BE49-F238E27FC236}">
                <a16:creationId xmlns:a16="http://schemas.microsoft.com/office/drawing/2014/main" id="{5044615C-E042-44CB-81BB-8A59A3ED1086}"/>
              </a:ext>
            </a:extLst>
          </p:cNvPr>
          <p:cNvSpPr>
            <a:spLocks/>
          </p:cNvSpPr>
          <p:nvPr/>
        </p:nvSpPr>
        <p:spPr bwMode="auto">
          <a:xfrm>
            <a:off x="7503636" y="2879264"/>
            <a:ext cx="135241" cy="8766"/>
          </a:xfrm>
          <a:custGeom>
            <a:avLst/>
            <a:gdLst>
              <a:gd name="T0" fmla="*/ 108 w 108"/>
              <a:gd name="T1" fmla="*/ 7 h 7"/>
              <a:gd name="T2" fmla="*/ 0 w 108"/>
              <a:gd name="T3" fmla="*/ 7 h 7"/>
              <a:gd name="T4" fmla="*/ 5 w 108"/>
              <a:gd name="T5" fmla="*/ 0 h 7"/>
              <a:gd name="T6" fmla="*/ 103 w 108"/>
              <a:gd name="T7" fmla="*/ 0 h 7"/>
              <a:gd name="T8" fmla="*/ 108 w 108"/>
              <a:gd name="T9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8" h="7">
                <a:moveTo>
                  <a:pt x="108" y="7"/>
                </a:moveTo>
                <a:lnTo>
                  <a:pt x="0" y="7"/>
                </a:lnTo>
                <a:lnTo>
                  <a:pt x="5" y="0"/>
                </a:lnTo>
                <a:lnTo>
                  <a:pt x="103" y="0"/>
                </a:lnTo>
                <a:lnTo>
                  <a:pt x="108" y="7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4" name="Freeform 876">
            <a:extLst>
              <a:ext uri="{FF2B5EF4-FFF2-40B4-BE49-F238E27FC236}">
                <a16:creationId xmlns:a16="http://schemas.microsoft.com/office/drawing/2014/main" id="{C08423A4-0783-4FE0-AB29-3F3B3024BCDC}"/>
              </a:ext>
            </a:extLst>
          </p:cNvPr>
          <p:cNvSpPr>
            <a:spLocks/>
          </p:cNvSpPr>
          <p:nvPr/>
        </p:nvSpPr>
        <p:spPr bwMode="auto">
          <a:xfrm>
            <a:off x="7503636" y="2888029"/>
            <a:ext cx="135241" cy="8766"/>
          </a:xfrm>
          <a:custGeom>
            <a:avLst/>
            <a:gdLst>
              <a:gd name="T0" fmla="*/ 108 w 108"/>
              <a:gd name="T1" fmla="*/ 0 h 7"/>
              <a:gd name="T2" fmla="*/ 0 w 108"/>
              <a:gd name="T3" fmla="*/ 0 h 7"/>
              <a:gd name="T4" fmla="*/ 5 w 108"/>
              <a:gd name="T5" fmla="*/ 7 h 7"/>
              <a:gd name="T6" fmla="*/ 103 w 108"/>
              <a:gd name="T7" fmla="*/ 7 h 7"/>
              <a:gd name="T8" fmla="*/ 108 w 108"/>
              <a:gd name="T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8" h="7">
                <a:moveTo>
                  <a:pt x="108" y="0"/>
                </a:moveTo>
                <a:lnTo>
                  <a:pt x="0" y="0"/>
                </a:lnTo>
                <a:lnTo>
                  <a:pt x="5" y="7"/>
                </a:lnTo>
                <a:lnTo>
                  <a:pt x="103" y="7"/>
                </a:lnTo>
                <a:lnTo>
                  <a:pt x="108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5" name="Freeform 877">
            <a:extLst>
              <a:ext uri="{FF2B5EF4-FFF2-40B4-BE49-F238E27FC236}">
                <a16:creationId xmlns:a16="http://schemas.microsoft.com/office/drawing/2014/main" id="{9B81715F-881E-43EF-8860-02EAD65644B4}"/>
              </a:ext>
            </a:extLst>
          </p:cNvPr>
          <p:cNvSpPr>
            <a:spLocks/>
          </p:cNvSpPr>
          <p:nvPr/>
        </p:nvSpPr>
        <p:spPr bwMode="auto">
          <a:xfrm>
            <a:off x="7503636" y="2896795"/>
            <a:ext cx="135241" cy="7513"/>
          </a:xfrm>
          <a:custGeom>
            <a:avLst/>
            <a:gdLst>
              <a:gd name="T0" fmla="*/ 108 w 108"/>
              <a:gd name="T1" fmla="*/ 6 h 6"/>
              <a:gd name="T2" fmla="*/ 0 w 108"/>
              <a:gd name="T3" fmla="*/ 6 h 6"/>
              <a:gd name="T4" fmla="*/ 5 w 108"/>
              <a:gd name="T5" fmla="*/ 0 h 6"/>
              <a:gd name="T6" fmla="*/ 103 w 108"/>
              <a:gd name="T7" fmla="*/ 0 h 6"/>
              <a:gd name="T8" fmla="*/ 108 w 108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8" h="6">
                <a:moveTo>
                  <a:pt x="108" y="6"/>
                </a:moveTo>
                <a:lnTo>
                  <a:pt x="0" y="6"/>
                </a:lnTo>
                <a:lnTo>
                  <a:pt x="5" y="0"/>
                </a:lnTo>
                <a:lnTo>
                  <a:pt x="103" y="0"/>
                </a:lnTo>
                <a:lnTo>
                  <a:pt x="108" y="6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6" name="Freeform 878">
            <a:extLst>
              <a:ext uri="{FF2B5EF4-FFF2-40B4-BE49-F238E27FC236}">
                <a16:creationId xmlns:a16="http://schemas.microsoft.com/office/drawing/2014/main" id="{E77D1863-7C70-4242-8721-801548E176E9}"/>
              </a:ext>
            </a:extLst>
          </p:cNvPr>
          <p:cNvSpPr>
            <a:spLocks/>
          </p:cNvSpPr>
          <p:nvPr/>
        </p:nvSpPr>
        <p:spPr bwMode="auto">
          <a:xfrm>
            <a:off x="7503636" y="2904308"/>
            <a:ext cx="135241" cy="8766"/>
          </a:xfrm>
          <a:custGeom>
            <a:avLst/>
            <a:gdLst>
              <a:gd name="T0" fmla="*/ 108 w 108"/>
              <a:gd name="T1" fmla="*/ 0 h 7"/>
              <a:gd name="T2" fmla="*/ 0 w 108"/>
              <a:gd name="T3" fmla="*/ 0 h 7"/>
              <a:gd name="T4" fmla="*/ 5 w 108"/>
              <a:gd name="T5" fmla="*/ 7 h 7"/>
              <a:gd name="T6" fmla="*/ 103 w 108"/>
              <a:gd name="T7" fmla="*/ 7 h 7"/>
              <a:gd name="T8" fmla="*/ 108 w 108"/>
              <a:gd name="T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8" h="7">
                <a:moveTo>
                  <a:pt x="108" y="0"/>
                </a:moveTo>
                <a:lnTo>
                  <a:pt x="0" y="0"/>
                </a:lnTo>
                <a:lnTo>
                  <a:pt x="5" y="7"/>
                </a:lnTo>
                <a:lnTo>
                  <a:pt x="103" y="7"/>
                </a:lnTo>
                <a:lnTo>
                  <a:pt x="108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7" name="Freeform 879">
            <a:extLst>
              <a:ext uri="{FF2B5EF4-FFF2-40B4-BE49-F238E27FC236}">
                <a16:creationId xmlns:a16="http://schemas.microsoft.com/office/drawing/2014/main" id="{764E9186-D59B-4F76-A447-8AAFBD8873E0}"/>
              </a:ext>
            </a:extLst>
          </p:cNvPr>
          <p:cNvSpPr>
            <a:spLocks/>
          </p:cNvSpPr>
          <p:nvPr/>
        </p:nvSpPr>
        <p:spPr bwMode="auto">
          <a:xfrm>
            <a:off x="7802921" y="2864237"/>
            <a:ext cx="107692" cy="53846"/>
          </a:xfrm>
          <a:custGeom>
            <a:avLst/>
            <a:gdLst>
              <a:gd name="T0" fmla="*/ 104 w 207"/>
              <a:gd name="T1" fmla="*/ 0 h 103"/>
              <a:gd name="T2" fmla="*/ 207 w 207"/>
              <a:gd name="T3" fmla="*/ 103 h 103"/>
              <a:gd name="T4" fmla="*/ 0 w 207"/>
              <a:gd name="T5" fmla="*/ 103 h 103"/>
              <a:gd name="T6" fmla="*/ 104 w 207"/>
              <a:gd name="T7" fmla="*/ 0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07" h="103">
                <a:moveTo>
                  <a:pt x="104" y="0"/>
                </a:moveTo>
                <a:cubicBezTo>
                  <a:pt x="161" y="0"/>
                  <a:pt x="207" y="46"/>
                  <a:pt x="207" y="103"/>
                </a:cubicBezTo>
                <a:cubicBezTo>
                  <a:pt x="0" y="103"/>
                  <a:pt x="0" y="103"/>
                  <a:pt x="0" y="103"/>
                </a:cubicBezTo>
                <a:cubicBezTo>
                  <a:pt x="0" y="46"/>
                  <a:pt x="47" y="0"/>
                  <a:pt x="104" y="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8" name="Freeform 880">
            <a:extLst>
              <a:ext uri="{FF2B5EF4-FFF2-40B4-BE49-F238E27FC236}">
                <a16:creationId xmlns:a16="http://schemas.microsoft.com/office/drawing/2014/main" id="{ECFCC138-CA0D-47FE-B35A-D408321CCCFD}"/>
              </a:ext>
            </a:extLst>
          </p:cNvPr>
          <p:cNvSpPr>
            <a:spLocks/>
          </p:cNvSpPr>
          <p:nvPr/>
        </p:nvSpPr>
        <p:spPr bwMode="auto">
          <a:xfrm>
            <a:off x="7506141" y="2556187"/>
            <a:ext cx="226655" cy="271735"/>
          </a:xfrm>
          <a:custGeom>
            <a:avLst/>
            <a:gdLst>
              <a:gd name="T0" fmla="*/ 109 w 436"/>
              <a:gd name="T1" fmla="*/ 4 h 521"/>
              <a:gd name="T2" fmla="*/ 155 w 436"/>
              <a:gd name="T3" fmla="*/ 10 h 521"/>
              <a:gd name="T4" fmla="*/ 188 w 436"/>
              <a:gd name="T5" fmla="*/ 185 h 521"/>
              <a:gd name="T6" fmla="*/ 264 w 436"/>
              <a:gd name="T7" fmla="*/ 37 h 521"/>
              <a:gd name="T8" fmla="*/ 319 w 436"/>
              <a:gd name="T9" fmla="*/ 67 h 521"/>
              <a:gd name="T10" fmla="*/ 261 w 436"/>
              <a:gd name="T11" fmla="*/ 344 h 521"/>
              <a:gd name="T12" fmla="*/ 436 w 436"/>
              <a:gd name="T13" fmla="*/ 490 h 521"/>
              <a:gd name="T14" fmla="*/ 382 w 436"/>
              <a:gd name="T15" fmla="*/ 500 h 521"/>
              <a:gd name="T16" fmla="*/ 350 w 436"/>
              <a:gd name="T17" fmla="*/ 447 h 521"/>
              <a:gd name="T18" fmla="*/ 366 w 436"/>
              <a:gd name="T19" fmla="*/ 504 h 521"/>
              <a:gd name="T20" fmla="*/ 285 w 436"/>
              <a:gd name="T21" fmla="*/ 521 h 521"/>
              <a:gd name="T22" fmla="*/ 36 w 436"/>
              <a:gd name="T23" fmla="*/ 443 h 521"/>
              <a:gd name="T24" fmla="*/ 109 w 436"/>
              <a:gd name="T25" fmla="*/ 4 h 5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36" h="521">
                <a:moveTo>
                  <a:pt x="109" y="4"/>
                </a:moveTo>
                <a:cubicBezTo>
                  <a:pt x="123" y="5"/>
                  <a:pt x="139" y="7"/>
                  <a:pt x="155" y="10"/>
                </a:cubicBezTo>
                <a:cubicBezTo>
                  <a:pt x="179" y="76"/>
                  <a:pt x="188" y="185"/>
                  <a:pt x="188" y="185"/>
                </a:cubicBezTo>
                <a:cubicBezTo>
                  <a:pt x="188" y="185"/>
                  <a:pt x="243" y="80"/>
                  <a:pt x="264" y="37"/>
                </a:cubicBezTo>
                <a:cubicBezTo>
                  <a:pt x="292" y="47"/>
                  <a:pt x="312" y="57"/>
                  <a:pt x="319" y="67"/>
                </a:cubicBezTo>
                <a:cubicBezTo>
                  <a:pt x="346" y="103"/>
                  <a:pt x="267" y="230"/>
                  <a:pt x="261" y="344"/>
                </a:cubicBezTo>
                <a:cubicBezTo>
                  <a:pt x="315" y="362"/>
                  <a:pt x="401" y="414"/>
                  <a:pt x="436" y="490"/>
                </a:cubicBezTo>
                <a:cubicBezTo>
                  <a:pt x="428" y="491"/>
                  <a:pt x="382" y="500"/>
                  <a:pt x="382" y="500"/>
                </a:cubicBezTo>
                <a:cubicBezTo>
                  <a:pt x="350" y="447"/>
                  <a:pt x="350" y="447"/>
                  <a:pt x="350" y="447"/>
                </a:cubicBezTo>
                <a:cubicBezTo>
                  <a:pt x="366" y="504"/>
                  <a:pt x="366" y="504"/>
                  <a:pt x="366" y="504"/>
                </a:cubicBezTo>
                <a:cubicBezTo>
                  <a:pt x="366" y="504"/>
                  <a:pt x="295" y="519"/>
                  <a:pt x="285" y="521"/>
                </a:cubicBezTo>
                <a:cubicBezTo>
                  <a:pt x="244" y="450"/>
                  <a:pt x="57" y="443"/>
                  <a:pt x="36" y="443"/>
                </a:cubicBezTo>
                <a:cubicBezTo>
                  <a:pt x="0" y="272"/>
                  <a:pt x="45" y="0"/>
                  <a:pt x="109" y="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9" name="Freeform 881">
            <a:extLst>
              <a:ext uri="{FF2B5EF4-FFF2-40B4-BE49-F238E27FC236}">
                <a16:creationId xmlns:a16="http://schemas.microsoft.com/office/drawing/2014/main" id="{AF70C344-C3FC-40F4-8A32-1B0FC2526D05}"/>
              </a:ext>
            </a:extLst>
          </p:cNvPr>
          <p:cNvSpPr>
            <a:spLocks/>
          </p:cNvSpPr>
          <p:nvPr/>
        </p:nvSpPr>
        <p:spPr bwMode="auto">
          <a:xfrm>
            <a:off x="7537447" y="2557439"/>
            <a:ext cx="116458" cy="151521"/>
          </a:xfrm>
          <a:custGeom>
            <a:avLst/>
            <a:gdLst>
              <a:gd name="T0" fmla="*/ 17 w 223"/>
              <a:gd name="T1" fmla="*/ 72 h 293"/>
              <a:gd name="T2" fmla="*/ 100 w 223"/>
              <a:gd name="T3" fmla="*/ 50 h 293"/>
              <a:gd name="T4" fmla="*/ 223 w 223"/>
              <a:gd name="T5" fmla="*/ 229 h 293"/>
              <a:gd name="T6" fmla="*/ 207 w 223"/>
              <a:gd name="T7" fmla="*/ 293 h 293"/>
              <a:gd name="T8" fmla="*/ 17 w 223"/>
              <a:gd name="T9" fmla="*/ 72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3" h="293">
                <a:moveTo>
                  <a:pt x="17" y="72"/>
                </a:moveTo>
                <a:cubicBezTo>
                  <a:pt x="0" y="28"/>
                  <a:pt x="85" y="0"/>
                  <a:pt x="100" y="50"/>
                </a:cubicBezTo>
                <a:cubicBezTo>
                  <a:pt x="121" y="119"/>
                  <a:pt x="169" y="194"/>
                  <a:pt x="223" y="229"/>
                </a:cubicBezTo>
                <a:cubicBezTo>
                  <a:pt x="217" y="250"/>
                  <a:pt x="211" y="271"/>
                  <a:pt x="207" y="293"/>
                </a:cubicBezTo>
                <a:cubicBezTo>
                  <a:pt x="96" y="242"/>
                  <a:pt x="59" y="180"/>
                  <a:pt x="17" y="72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0" name="Freeform 882">
            <a:extLst>
              <a:ext uri="{FF2B5EF4-FFF2-40B4-BE49-F238E27FC236}">
                <a16:creationId xmlns:a16="http://schemas.microsoft.com/office/drawing/2014/main" id="{9E0121B1-7A4F-4E14-9368-BE95536DDF63}"/>
              </a:ext>
            </a:extLst>
          </p:cNvPr>
          <p:cNvSpPr>
            <a:spLocks/>
          </p:cNvSpPr>
          <p:nvPr/>
        </p:nvSpPr>
        <p:spPr bwMode="auto">
          <a:xfrm>
            <a:off x="7529934" y="2551178"/>
            <a:ext cx="189088" cy="174061"/>
          </a:xfrm>
          <a:custGeom>
            <a:avLst/>
            <a:gdLst>
              <a:gd name="T0" fmla="*/ 32 w 363"/>
              <a:gd name="T1" fmla="*/ 83 h 334"/>
              <a:gd name="T2" fmla="*/ 115 w 363"/>
              <a:gd name="T3" fmla="*/ 61 h 334"/>
              <a:gd name="T4" fmla="*/ 363 w 363"/>
              <a:gd name="T5" fmla="*/ 310 h 334"/>
              <a:gd name="T6" fmla="*/ 359 w 363"/>
              <a:gd name="T7" fmla="*/ 334 h 334"/>
              <a:gd name="T8" fmla="*/ 32 w 363"/>
              <a:gd name="T9" fmla="*/ 83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3" h="334">
                <a:moveTo>
                  <a:pt x="32" y="83"/>
                </a:moveTo>
                <a:cubicBezTo>
                  <a:pt x="0" y="8"/>
                  <a:pt x="94" y="0"/>
                  <a:pt x="115" y="61"/>
                </a:cubicBezTo>
                <a:cubicBezTo>
                  <a:pt x="161" y="188"/>
                  <a:pt x="190" y="247"/>
                  <a:pt x="363" y="310"/>
                </a:cubicBezTo>
                <a:cubicBezTo>
                  <a:pt x="359" y="334"/>
                  <a:pt x="359" y="334"/>
                  <a:pt x="359" y="334"/>
                </a:cubicBezTo>
                <a:cubicBezTo>
                  <a:pt x="142" y="290"/>
                  <a:pt x="93" y="225"/>
                  <a:pt x="32" y="8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1" name="Rectangle 883">
            <a:extLst>
              <a:ext uri="{FF2B5EF4-FFF2-40B4-BE49-F238E27FC236}">
                <a16:creationId xmlns:a16="http://schemas.microsoft.com/office/drawing/2014/main" id="{7781315A-E7AA-482E-A87E-060E91456C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29040" y="5407523"/>
            <a:ext cx="47585" cy="162790"/>
          </a:xfrm>
          <a:prstGeom prst="rect">
            <a:avLst/>
          </a:pr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2" name="Rectangle 884">
            <a:extLst>
              <a:ext uri="{FF2B5EF4-FFF2-40B4-BE49-F238E27FC236}">
                <a16:creationId xmlns:a16="http://schemas.microsoft.com/office/drawing/2014/main" id="{71832C6B-BBF3-48BB-BBB7-00579DDE7B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29040" y="5570313"/>
            <a:ext cx="47585" cy="10018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3" name="Rectangle 885">
            <a:extLst>
              <a:ext uri="{FF2B5EF4-FFF2-40B4-BE49-F238E27FC236}">
                <a16:creationId xmlns:a16="http://schemas.microsoft.com/office/drawing/2014/main" id="{DDCAAB68-35D9-4570-9808-2137CE8882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7805" y="5518972"/>
            <a:ext cx="31306" cy="33811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4" name="Rectangle 886">
            <a:extLst>
              <a:ext uri="{FF2B5EF4-FFF2-40B4-BE49-F238E27FC236}">
                <a16:creationId xmlns:a16="http://schemas.microsoft.com/office/drawing/2014/main" id="{93156C8F-9A04-40E8-BD00-884EF6CA91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7805" y="5515215"/>
            <a:ext cx="31306" cy="3506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5" name="Rectangle 887">
            <a:extLst>
              <a:ext uri="{FF2B5EF4-FFF2-40B4-BE49-F238E27FC236}">
                <a16:creationId xmlns:a16="http://schemas.microsoft.com/office/drawing/2014/main" id="{4B413B87-FB51-4678-8920-061F06D603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41562" y="5518972"/>
            <a:ext cx="6262" cy="5009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6" name="Rectangle 888">
            <a:extLst>
              <a:ext uri="{FF2B5EF4-FFF2-40B4-BE49-F238E27FC236}">
                <a16:creationId xmlns:a16="http://schemas.microsoft.com/office/drawing/2014/main" id="{6C2B6D33-739A-4E1E-B762-8531A88E5D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0328" y="5518972"/>
            <a:ext cx="6262" cy="5009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7" name="Rectangle 889">
            <a:extLst>
              <a:ext uri="{FF2B5EF4-FFF2-40B4-BE49-F238E27FC236}">
                <a16:creationId xmlns:a16="http://schemas.microsoft.com/office/drawing/2014/main" id="{02C0D749-84E9-4D44-8616-AF37427B04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9094" y="5518972"/>
            <a:ext cx="6262" cy="5009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8" name="Rectangle 890">
            <a:extLst>
              <a:ext uri="{FF2B5EF4-FFF2-40B4-BE49-F238E27FC236}">
                <a16:creationId xmlns:a16="http://schemas.microsoft.com/office/drawing/2014/main" id="{EBFC4DA4-3913-40F1-903F-0B47CAE463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41562" y="5526486"/>
            <a:ext cx="6262" cy="5009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9" name="Rectangle 891">
            <a:extLst>
              <a:ext uri="{FF2B5EF4-FFF2-40B4-BE49-F238E27FC236}">
                <a16:creationId xmlns:a16="http://schemas.microsoft.com/office/drawing/2014/main" id="{7AD3D4D3-5134-4F37-AA13-6ED3CF081C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0328" y="5526486"/>
            <a:ext cx="6262" cy="5009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0" name="Rectangle 892">
            <a:extLst>
              <a:ext uri="{FF2B5EF4-FFF2-40B4-BE49-F238E27FC236}">
                <a16:creationId xmlns:a16="http://schemas.microsoft.com/office/drawing/2014/main" id="{E9639F75-0689-4FB4-81FC-6082C7A2F7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9094" y="5526486"/>
            <a:ext cx="6262" cy="5009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1" name="Rectangle 893">
            <a:extLst>
              <a:ext uri="{FF2B5EF4-FFF2-40B4-BE49-F238E27FC236}">
                <a16:creationId xmlns:a16="http://schemas.microsoft.com/office/drawing/2014/main" id="{CE8F3E09-BD01-4ABE-A1AF-1346722D99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41562" y="5533999"/>
            <a:ext cx="6262" cy="5009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2" name="Rectangle 894">
            <a:extLst>
              <a:ext uri="{FF2B5EF4-FFF2-40B4-BE49-F238E27FC236}">
                <a16:creationId xmlns:a16="http://schemas.microsoft.com/office/drawing/2014/main" id="{610A357A-6B55-4631-AA09-9C6F43564F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0328" y="5533999"/>
            <a:ext cx="6262" cy="5009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3" name="Rectangle 895">
            <a:extLst>
              <a:ext uri="{FF2B5EF4-FFF2-40B4-BE49-F238E27FC236}">
                <a16:creationId xmlns:a16="http://schemas.microsoft.com/office/drawing/2014/main" id="{F44CFC15-167B-4AFB-9050-B415ADE92A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9094" y="5533999"/>
            <a:ext cx="6262" cy="5009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4" name="Rectangle 896">
            <a:extLst>
              <a:ext uri="{FF2B5EF4-FFF2-40B4-BE49-F238E27FC236}">
                <a16:creationId xmlns:a16="http://schemas.microsoft.com/office/drawing/2014/main" id="{3496964D-0432-455B-859C-221B1AF35C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41562" y="5541512"/>
            <a:ext cx="6262" cy="5009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5" name="Rectangle 897">
            <a:extLst>
              <a:ext uri="{FF2B5EF4-FFF2-40B4-BE49-F238E27FC236}">
                <a16:creationId xmlns:a16="http://schemas.microsoft.com/office/drawing/2014/main" id="{80509C2A-69BB-4347-808E-D485D64EBE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0328" y="5541512"/>
            <a:ext cx="6262" cy="5009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6" name="Rectangle 898">
            <a:extLst>
              <a:ext uri="{FF2B5EF4-FFF2-40B4-BE49-F238E27FC236}">
                <a16:creationId xmlns:a16="http://schemas.microsoft.com/office/drawing/2014/main" id="{495DD4E4-2ED7-48F2-B22F-FF4729E5A4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9094" y="5541512"/>
            <a:ext cx="6262" cy="5009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7" name="Oval 899">
            <a:extLst>
              <a:ext uri="{FF2B5EF4-FFF2-40B4-BE49-F238E27FC236}">
                <a16:creationId xmlns:a16="http://schemas.microsoft.com/office/drawing/2014/main" id="{E229D284-6813-42F6-97C2-3174D96796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42814" y="5437577"/>
            <a:ext cx="20036" cy="20036"/>
          </a:xfrm>
          <a:prstGeom prst="ellipse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8" name="Oval 900">
            <a:extLst>
              <a:ext uri="{FF2B5EF4-FFF2-40B4-BE49-F238E27FC236}">
                <a16:creationId xmlns:a16="http://schemas.microsoft.com/office/drawing/2014/main" id="{8BCF6EC4-D2A3-45D5-9E89-26129BED1C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42814" y="5435072"/>
            <a:ext cx="20036" cy="2128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9" name="Freeform 901">
            <a:extLst>
              <a:ext uri="{FF2B5EF4-FFF2-40B4-BE49-F238E27FC236}">
                <a16:creationId xmlns:a16="http://schemas.microsoft.com/office/drawing/2014/main" id="{48BC47E8-DA79-442E-98C5-14B8E7C5BC3A}"/>
              </a:ext>
            </a:extLst>
          </p:cNvPr>
          <p:cNvSpPr>
            <a:spLocks/>
          </p:cNvSpPr>
          <p:nvPr/>
        </p:nvSpPr>
        <p:spPr bwMode="auto">
          <a:xfrm>
            <a:off x="7047823" y="5438829"/>
            <a:ext cx="12522" cy="11270"/>
          </a:xfrm>
          <a:custGeom>
            <a:avLst/>
            <a:gdLst>
              <a:gd name="T0" fmla="*/ 0 w 10"/>
              <a:gd name="T1" fmla="*/ 9 h 9"/>
              <a:gd name="T2" fmla="*/ 5 w 10"/>
              <a:gd name="T3" fmla="*/ 0 h 9"/>
              <a:gd name="T4" fmla="*/ 10 w 10"/>
              <a:gd name="T5" fmla="*/ 9 h 9"/>
              <a:gd name="T6" fmla="*/ 0 w 10"/>
              <a:gd name="T7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" h="9">
                <a:moveTo>
                  <a:pt x="0" y="9"/>
                </a:moveTo>
                <a:lnTo>
                  <a:pt x="5" y="0"/>
                </a:lnTo>
                <a:lnTo>
                  <a:pt x="10" y="9"/>
                </a:lnTo>
                <a:lnTo>
                  <a:pt x="0" y="9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0" name="Oval 902">
            <a:extLst>
              <a:ext uri="{FF2B5EF4-FFF2-40B4-BE49-F238E27FC236}">
                <a16:creationId xmlns:a16="http://schemas.microsoft.com/office/drawing/2014/main" id="{D38D961A-AFE9-42B5-9CBB-8F1402EB1F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42814" y="5467630"/>
            <a:ext cx="20036" cy="20036"/>
          </a:xfrm>
          <a:prstGeom prst="ellipse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1" name="Oval 903">
            <a:extLst>
              <a:ext uri="{FF2B5EF4-FFF2-40B4-BE49-F238E27FC236}">
                <a16:creationId xmlns:a16="http://schemas.microsoft.com/office/drawing/2014/main" id="{A74A4985-3949-486F-8FC9-399C4BA65F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42814" y="5465126"/>
            <a:ext cx="20036" cy="20036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2" name="Freeform 904">
            <a:extLst>
              <a:ext uri="{FF2B5EF4-FFF2-40B4-BE49-F238E27FC236}">
                <a16:creationId xmlns:a16="http://schemas.microsoft.com/office/drawing/2014/main" id="{5070952C-601C-4597-83D4-A280137B87C7}"/>
              </a:ext>
            </a:extLst>
          </p:cNvPr>
          <p:cNvSpPr>
            <a:spLocks/>
          </p:cNvSpPr>
          <p:nvPr/>
        </p:nvSpPr>
        <p:spPr bwMode="auto">
          <a:xfrm>
            <a:off x="7047823" y="5471387"/>
            <a:ext cx="12522" cy="10018"/>
          </a:xfrm>
          <a:custGeom>
            <a:avLst/>
            <a:gdLst>
              <a:gd name="T0" fmla="*/ 10 w 10"/>
              <a:gd name="T1" fmla="*/ 0 h 8"/>
              <a:gd name="T2" fmla="*/ 5 w 10"/>
              <a:gd name="T3" fmla="*/ 8 h 8"/>
              <a:gd name="T4" fmla="*/ 0 w 10"/>
              <a:gd name="T5" fmla="*/ 0 h 8"/>
              <a:gd name="T6" fmla="*/ 10 w 10"/>
              <a:gd name="T7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" h="8">
                <a:moveTo>
                  <a:pt x="10" y="0"/>
                </a:moveTo>
                <a:lnTo>
                  <a:pt x="5" y="8"/>
                </a:lnTo>
                <a:lnTo>
                  <a:pt x="0" y="0"/>
                </a:lnTo>
                <a:lnTo>
                  <a:pt x="10" y="0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3" name="Freeform 905">
            <a:extLst>
              <a:ext uri="{FF2B5EF4-FFF2-40B4-BE49-F238E27FC236}">
                <a16:creationId xmlns:a16="http://schemas.microsoft.com/office/drawing/2014/main" id="{73DAA3BF-0AFC-402E-BE67-905D76A43AFD}"/>
              </a:ext>
            </a:extLst>
          </p:cNvPr>
          <p:cNvSpPr>
            <a:spLocks/>
          </p:cNvSpPr>
          <p:nvPr/>
        </p:nvSpPr>
        <p:spPr bwMode="auto">
          <a:xfrm>
            <a:off x="8848535" y="6340437"/>
            <a:ext cx="136494" cy="370661"/>
          </a:xfrm>
          <a:custGeom>
            <a:avLst/>
            <a:gdLst>
              <a:gd name="T0" fmla="*/ 109 w 109"/>
              <a:gd name="T1" fmla="*/ 125 h 296"/>
              <a:gd name="T2" fmla="*/ 109 w 109"/>
              <a:gd name="T3" fmla="*/ 296 h 296"/>
              <a:gd name="T4" fmla="*/ 0 w 109"/>
              <a:gd name="T5" fmla="*/ 296 h 296"/>
              <a:gd name="T6" fmla="*/ 0 w 109"/>
              <a:gd name="T7" fmla="*/ 0 h 296"/>
              <a:gd name="T8" fmla="*/ 54 w 109"/>
              <a:gd name="T9" fmla="*/ 0 h 296"/>
              <a:gd name="T10" fmla="*/ 109 w 109"/>
              <a:gd name="T11" fmla="*/ 125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9" h="296">
                <a:moveTo>
                  <a:pt x="109" y="125"/>
                </a:moveTo>
                <a:lnTo>
                  <a:pt x="109" y="296"/>
                </a:lnTo>
                <a:lnTo>
                  <a:pt x="0" y="296"/>
                </a:lnTo>
                <a:lnTo>
                  <a:pt x="0" y="0"/>
                </a:lnTo>
                <a:lnTo>
                  <a:pt x="54" y="0"/>
                </a:lnTo>
                <a:lnTo>
                  <a:pt x="109" y="125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4" name="Rectangle 906">
            <a:extLst>
              <a:ext uri="{FF2B5EF4-FFF2-40B4-BE49-F238E27FC236}">
                <a16:creationId xmlns:a16="http://schemas.microsoft.com/office/drawing/2014/main" id="{E8682EA6-1700-4A62-8A9C-ADF0DA624F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85029" y="6496966"/>
            <a:ext cx="433273" cy="214132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5" name="Freeform 907">
            <a:extLst>
              <a:ext uri="{FF2B5EF4-FFF2-40B4-BE49-F238E27FC236}">
                <a16:creationId xmlns:a16="http://schemas.microsoft.com/office/drawing/2014/main" id="{DF9117AB-127D-434D-B06C-2BC384D963B0}"/>
              </a:ext>
            </a:extLst>
          </p:cNvPr>
          <p:cNvSpPr>
            <a:spLocks/>
          </p:cNvSpPr>
          <p:nvPr/>
        </p:nvSpPr>
        <p:spPr bwMode="auto">
          <a:xfrm>
            <a:off x="8916156" y="6340437"/>
            <a:ext cx="502146" cy="156530"/>
          </a:xfrm>
          <a:custGeom>
            <a:avLst/>
            <a:gdLst>
              <a:gd name="T0" fmla="*/ 401 w 401"/>
              <a:gd name="T1" fmla="*/ 125 h 125"/>
              <a:gd name="T2" fmla="*/ 55 w 401"/>
              <a:gd name="T3" fmla="*/ 125 h 125"/>
              <a:gd name="T4" fmla="*/ 0 w 401"/>
              <a:gd name="T5" fmla="*/ 0 h 125"/>
              <a:gd name="T6" fmla="*/ 347 w 401"/>
              <a:gd name="T7" fmla="*/ 0 h 125"/>
              <a:gd name="T8" fmla="*/ 401 w 401"/>
              <a:gd name="T9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1" h="125">
                <a:moveTo>
                  <a:pt x="401" y="125"/>
                </a:moveTo>
                <a:lnTo>
                  <a:pt x="55" y="125"/>
                </a:lnTo>
                <a:lnTo>
                  <a:pt x="0" y="0"/>
                </a:lnTo>
                <a:lnTo>
                  <a:pt x="347" y="0"/>
                </a:lnTo>
                <a:lnTo>
                  <a:pt x="401" y="1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6" name="Freeform 908">
            <a:extLst>
              <a:ext uri="{FF2B5EF4-FFF2-40B4-BE49-F238E27FC236}">
                <a16:creationId xmlns:a16="http://schemas.microsoft.com/office/drawing/2014/main" id="{882584B8-3544-48DF-AB6D-73C613F30F2F}"/>
              </a:ext>
            </a:extLst>
          </p:cNvPr>
          <p:cNvSpPr>
            <a:spLocks/>
          </p:cNvSpPr>
          <p:nvPr/>
        </p:nvSpPr>
        <p:spPr bwMode="auto">
          <a:xfrm>
            <a:off x="8968750" y="6376752"/>
            <a:ext cx="212880" cy="83900"/>
          </a:xfrm>
          <a:custGeom>
            <a:avLst/>
            <a:gdLst>
              <a:gd name="T0" fmla="*/ 170 w 170"/>
              <a:gd name="T1" fmla="*/ 67 h 67"/>
              <a:gd name="T2" fmla="*/ 29 w 170"/>
              <a:gd name="T3" fmla="*/ 67 h 67"/>
              <a:gd name="T4" fmla="*/ 0 w 170"/>
              <a:gd name="T5" fmla="*/ 0 h 67"/>
              <a:gd name="T6" fmla="*/ 141 w 170"/>
              <a:gd name="T7" fmla="*/ 0 h 67"/>
              <a:gd name="T8" fmla="*/ 170 w 170"/>
              <a:gd name="T9" fmla="*/ 67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0" h="67">
                <a:moveTo>
                  <a:pt x="170" y="67"/>
                </a:moveTo>
                <a:lnTo>
                  <a:pt x="29" y="67"/>
                </a:lnTo>
                <a:lnTo>
                  <a:pt x="0" y="0"/>
                </a:lnTo>
                <a:lnTo>
                  <a:pt x="141" y="0"/>
                </a:lnTo>
                <a:lnTo>
                  <a:pt x="170" y="67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7" name="Freeform 909">
            <a:extLst>
              <a:ext uri="{FF2B5EF4-FFF2-40B4-BE49-F238E27FC236}">
                <a16:creationId xmlns:a16="http://schemas.microsoft.com/office/drawing/2014/main" id="{E9680F03-28A6-42C5-B897-C682DCA9A5BD}"/>
              </a:ext>
            </a:extLst>
          </p:cNvPr>
          <p:cNvSpPr>
            <a:spLocks/>
          </p:cNvSpPr>
          <p:nvPr/>
        </p:nvSpPr>
        <p:spPr bwMode="auto">
          <a:xfrm>
            <a:off x="8971254" y="6383013"/>
            <a:ext cx="200357" cy="77638"/>
          </a:xfrm>
          <a:custGeom>
            <a:avLst/>
            <a:gdLst>
              <a:gd name="T0" fmla="*/ 160 w 160"/>
              <a:gd name="T1" fmla="*/ 62 h 62"/>
              <a:gd name="T2" fmla="*/ 27 w 160"/>
              <a:gd name="T3" fmla="*/ 62 h 62"/>
              <a:gd name="T4" fmla="*/ 0 w 160"/>
              <a:gd name="T5" fmla="*/ 0 h 62"/>
              <a:gd name="T6" fmla="*/ 133 w 160"/>
              <a:gd name="T7" fmla="*/ 0 h 62"/>
              <a:gd name="T8" fmla="*/ 160 w 160"/>
              <a:gd name="T9" fmla="*/ 62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0" h="62">
                <a:moveTo>
                  <a:pt x="160" y="62"/>
                </a:moveTo>
                <a:lnTo>
                  <a:pt x="27" y="62"/>
                </a:lnTo>
                <a:lnTo>
                  <a:pt x="0" y="0"/>
                </a:lnTo>
                <a:lnTo>
                  <a:pt x="133" y="0"/>
                </a:lnTo>
                <a:lnTo>
                  <a:pt x="160" y="62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8" name="Freeform 910">
            <a:extLst>
              <a:ext uri="{FF2B5EF4-FFF2-40B4-BE49-F238E27FC236}">
                <a16:creationId xmlns:a16="http://schemas.microsoft.com/office/drawing/2014/main" id="{EEBE07BF-CF46-4A17-B983-39AB88D3F414}"/>
              </a:ext>
            </a:extLst>
          </p:cNvPr>
          <p:cNvSpPr>
            <a:spLocks/>
          </p:cNvSpPr>
          <p:nvPr/>
        </p:nvSpPr>
        <p:spPr bwMode="auto">
          <a:xfrm>
            <a:off x="8987534" y="6391779"/>
            <a:ext cx="97674" cy="5009"/>
          </a:xfrm>
          <a:custGeom>
            <a:avLst/>
            <a:gdLst>
              <a:gd name="T0" fmla="*/ 78 w 78"/>
              <a:gd name="T1" fmla="*/ 4 h 4"/>
              <a:gd name="T2" fmla="*/ 2 w 78"/>
              <a:gd name="T3" fmla="*/ 4 h 4"/>
              <a:gd name="T4" fmla="*/ 0 w 78"/>
              <a:gd name="T5" fmla="*/ 0 h 4"/>
              <a:gd name="T6" fmla="*/ 76 w 78"/>
              <a:gd name="T7" fmla="*/ 0 h 4"/>
              <a:gd name="T8" fmla="*/ 78 w 78"/>
              <a:gd name="T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8" h="4">
                <a:moveTo>
                  <a:pt x="78" y="4"/>
                </a:moveTo>
                <a:lnTo>
                  <a:pt x="2" y="4"/>
                </a:lnTo>
                <a:lnTo>
                  <a:pt x="0" y="0"/>
                </a:lnTo>
                <a:lnTo>
                  <a:pt x="76" y="0"/>
                </a:lnTo>
                <a:lnTo>
                  <a:pt x="78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9" name="Freeform 911">
            <a:extLst>
              <a:ext uri="{FF2B5EF4-FFF2-40B4-BE49-F238E27FC236}">
                <a16:creationId xmlns:a16="http://schemas.microsoft.com/office/drawing/2014/main" id="{2538BA8A-F55C-4214-9EEE-753E9C2DCEC8}"/>
              </a:ext>
            </a:extLst>
          </p:cNvPr>
          <p:cNvSpPr>
            <a:spLocks/>
          </p:cNvSpPr>
          <p:nvPr/>
        </p:nvSpPr>
        <p:spPr bwMode="auto">
          <a:xfrm>
            <a:off x="8992543" y="6400545"/>
            <a:ext cx="111449" cy="5009"/>
          </a:xfrm>
          <a:custGeom>
            <a:avLst/>
            <a:gdLst>
              <a:gd name="T0" fmla="*/ 89 w 89"/>
              <a:gd name="T1" fmla="*/ 4 h 4"/>
              <a:gd name="T2" fmla="*/ 1 w 89"/>
              <a:gd name="T3" fmla="*/ 4 h 4"/>
              <a:gd name="T4" fmla="*/ 0 w 89"/>
              <a:gd name="T5" fmla="*/ 0 h 4"/>
              <a:gd name="T6" fmla="*/ 87 w 89"/>
              <a:gd name="T7" fmla="*/ 0 h 4"/>
              <a:gd name="T8" fmla="*/ 89 w 89"/>
              <a:gd name="T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" h="4">
                <a:moveTo>
                  <a:pt x="89" y="4"/>
                </a:moveTo>
                <a:lnTo>
                  <a:pt x="1" y="4"/>
                </a:lnTo>
                <a:lnTo>
                  <a:pt x="0" y="0"/>
                </a:lnTo>
                <a:lnTo>
                  <a:pt x="87" y="0"/>
                </a:lnTo>
                <a:lnTo>
                  <a:pt x="89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0" name="Freeform 912">
            <a:extLst>
              <a:ext uri="{FF2B5EF4-FFF2-40B4-BE49-F238E27FC236}">
                <a16:creationId xmlns:a16="http://schemas.microsoft.com/office/drawing/2014/main" id="{EA3E77F2-D43D-4532-BF9B-3315F4D2CDC8}"/>
              </a:ext>
            </a:extLst>
          </p:cNvPr>
          <p:cNvSpPr>
            <a:spLocks/>
          </p:cNvSpPr>
          <p:nvPr/>
        </p:nvSpPr>
        <p:spPr bwMode="auto">
          <a:xfrm>
            <a:off x="8996299" y="6410562"/>
            <a:ext cx="72630" cy="5009"/>
          </a:xfrm>
          <a:custGeom>
            <a:avLst/>
            <a:gdLst>
              <a:gd name="T0" fmla="*/ 58 w 58"/>
              <a:gd name="T1" fmla="*/ 4 h 4"/>
              <a:gd name="T2" fmla="*/ 2 w 58"/>
              <a:gd name="T3" fmla="*/ 4 h 4"/>
              <a:gd name="T4" fmla="*/ 0 w 58"/>
              <a:gd name="T5" fmla="*/ 0 h 4"/>
              <a:gd name="T6" fmla="*/ 56 w 58"/>
              <a:gd name="T7" fmla="*/ 0 h 4"/>
              <a:gd name="T8" fmla="*/ 58 w 58"/>
              <a:gd name="T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" h="4">
                <a:moveTo>
                  <a:pt x="58" y="4"/>
                </a:moveTo>
                <a:lnTo>
                  <a:pt x="2" y="4"/>
                </a:lnTo>
                <a:lnTo>
                  <a:pt x="0" y="0"/>
                </a:lnTo>
                <a:lnTo>
                  <a:pt x="56" y="0"/>
                </a:lnTo>
                <a:lnTo>
                  <a:pt x="58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1" name="Freeform 913">
            <a:extLst>
              <a:ext uri="{FF2B5EF4-FFF2-40B4-BE49-F238E27FC236}">
                <a16:creationId xmlns:a16="http://schemas.microsoft.com/office/drawing/2014/main" id="{4C080E4D-B324-475F-8B3A-1B5AF590E6E0}"/>
              </a:ext>
            </a:extLst>
          </p:cNvPr>
          <p:cNvSpPr>
            <a:spLocks/>
          </p:cNvSpPr>
          <p:nvPr/>
        </p:nvSpPr>
        <p:spPr bwMode="auto">
          <a:xfrm>
            <a:off x="9000056" y="6419328"/>
            <a:ext cx="126476" cy="5009"/>
          </a:xfrm>
          <a:custGeom>
            <a:avLst/>
            <a:gdLst>
              <a:gd name="T0" fmla="*/ 101 w 101"/>
              <a:gd name="T1" fmla="*/ 4 h 4"/>
              <a:gd name="T2" fmla="*/ 2 w 101"/>
              <a:gd name="T3" fmla="*/ 4 h 4"/>
              <a:gd name="T4" fmla="*/ 0 w 101"/>
              <a:gd name="T5" fmla="*/ 0 h 4"/>
              <a:gd name="T6" fmla="*/ 99 w 101"/>
              <a:gd name="T7" fmla="*/ 0 h 4"/>
              <a:gd name="T8" fmla="*/ 101 w 101"/>
              <a:gd name="T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" h="4">
                <a:moveTo>
                  <a:pt x="101" y="4"/>
                </a:moveTo>
                <a:lnTo>
                  <a:pt x="2" y="4"/>
                </a:lnTo>
                <a:lnTo>
                  <a:pt x="0" y="0"/>
                </a:lnTo>
                <a:lnTo>
                  <a:pt x="99" y="0"/>
                </a:lnTo>
                <a:lnTo>
                  <a:pt x="101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2" name="Freeform 914">
            <a:extLst>
              <a:ext uri="{FF2B5EF4-FFF2-40B4-BE49-F238E27FC236}">
                <a16:creationId xmlns:a16="http://schemas.microsoft.com/office/drawing/2014/main" id="{7A686C86-C869-4EB6-A0E9-E9FDCF59DA17}"/>
              </a:ext>
            </a:extLst>
          </p:cNvPr>
          <p:cNvSpPr>
            <a:spLocks/>
          </p:cNvSpPr>
          <p:nvPr/>
        </p:nvSpPr>
        <p:spPr bwMode="auto">
          <a:xfrm>
            <a:off x="9005065" y="6429346"/>
            <a:ext cx="40071" cy="5009"/>
          </a:xfrm>
          <a:custGeom>
            <a:avLst/>
            <a:gdLst>
              <a:gd name="T0" fmla="*/ 32 w 32"/>
              <a:gd name="T1" fmla="*/ 4 h 4"/>
              <a:gd name="T2" fmla="*/ 1 w 32"/>
              <a:gd name="T3" fmla="*/ 4 h 4"/>
              <a:gd name="T4" fmla="*/ 0 w 32"/>
              <a:gd name="T5" fmla="*/ 0 h 4"/>
              <a:gd name="T6" fmla="*/ 31 w 32"/>
              <a:gd name="T7" fmla="*/ 0 h 4"/>
              <a:gd name="T8" fmla="*/ 32 w 32"/>
              <a:gd name="T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" h="4">
                <a:moveTo>
                  <a:pt x="32" y="4"/>
                </a:moveTo>
                <a:lnTo>
                  <a:pt x="1" y="4"/>
                </a:lnTo>
                <a:lnTo>
                  <a:pt x="0" y="0"/>
                </a:lnTo>
                <a:lnTo>
                  <a:pt x="31" y="0"/>
                </a:lnTo>
                <a:lnTo>
                  <a:pt x="32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3" name="Freeform 915">
            <a:extLst>
              <a:ext uri="{FF2B5EF4-FFF2-40B4-BE49-F238E27FC236}">
                <a16:creationId xmlns:a16="http://schemas.microsoft.com/office/drawing/2014/main" id="{A7429AFB-C641-4937-87E1-4C1F46E18124}"/>
              </a:ext>
            </a:extLst>
          </p:cNvPr>
          <p:cNvSpPr>
            <a:spLocks/>
          </p:cNvSpPr>
          <p:nvPr/>
        </p:nvSpPr>
        <p:spPr bwMode="auto">
          <a:xfrm>
            <a:off x="9008821" y="6438112"/>
            <a:ext cx="138998" cy="5009"/>
          </a:xfrm>
          <a:custGeom>
            <a:avLst/>
            <a:gdLst>
              <a:gd name="T0" fmla="*/ 111 w 111"/>
              <a:gd name="T1" fmla="*/ 4 h 4"/>
              <a:gd name="T2" fmla="*/ 1 w 111"/>
              <a:gd name="T3" fmla="*/ 4 h 4"/>
              <a:gd name="T4" fmla="*/ 0 w 111"/>
              <a:gd name="T5" fmla="*/ 0 h 4"/>
              <a:gd name="T6" fmla="*/ 110 w 111"/>
              <a:gd name="T7" fmla="*/ 0 h 4"/>
              <a:gd name="T8" fmla="*/ 111 w 111"/>
              <a:gd name="T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1" h="4">
                <a:moveTo>
                  <a:pt x="111" y="4"/>
                </a:moveTo>
                <a:lnTo>
                  <a:pt x="1" y="4"/>
                </a:lnTo>
                <a:lnTo>
                  <a:pt x="0" y="0"/>
                </a:lnTo>
                <a:lnTo>
                  <a:pt x="110" y="0"/>
                </a:lnTo>
                <a:lnTo>
                  <a:pt x="111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4" name="Freeform 916">
            <a:extLst>
              <a:ext uri="{FF2B5EF4-FFF2-40B4-BE49-F238E27FC236}">
                <a16:creationId xmlns:a16="http://schemas.microsoft.com/office/drawing/2014/main" id="{AACFE16A-D4B3-49FE-906B-D8A97CAA9978}"/>
              </a:ext>
            </a:extLst>
          </p:cNvPr>
          <p:cNvSpPr>
            <a:spLocks/>
          </p:cNvSpPr>
          <p:nvPr/>
        </p:nvSpPr>
        <p:spPr bwMode="auto">
          <a:xfrm>
            <a:off x="9012578" y="6448129"/>
            <a:ext cx="83900" cy="3757"/>
          </a:xfrm>
          <a:custGeom>
            <a:avLst/>
            <a:gdLst>
              <a:gd name="T0" fmla="*/ 67 w 67"/>
              <a:gd name="T1" fmla="*/ 3 h 3"/>
              <a:gd name="T2" fmla="*/ 1 w 67"/>
              <a:gd name="T3" fmla="*/ 3 h 3"/>
              <a:gd name="T4" fmla="*/ 0 w 67"/>
              <a:gd name="T5" fmla="*/ 0 h 3"/>
              <a:gd name="T6" fmla="*/ 65 w 67"/>
              <a:gd name="T7" fmla="*/ 0 h 3"/>
              <a:gd name="T8" fmla="*/ 67 w 67"/>
              <a:gd name="T9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" h="3">
                <a:moveTo>
                  <a:pt x="67" y="3"/>
                </a:moveTo>
                <a:lnTo>
                  <a:pt x="1" y="3"/>
                </a:lnTo>
                <a:lnTo>
                  <a:pt x="0" y="0"/>
                </a:lnTo>
                <a:lnTo>
                  <a:pt x="65" y="0"/>
                </a:lnTo>
                <a:lnTo>
                  <a:pt x="67" y="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5" name="Freeform 917">
            <a:extLst>
              <a:ext uri="{FF2B5EF4-FFF2-40B4-BE49-F238E27FC236}">
                <a16:creationId xmlns:a16="http://schemas.microsoft.com/office/drawing/2014/main" id="{178636F0-72E7-4941-B1FA-8F1BEA91C2B3}"/>
              </a:ext>
            </a:extLst>
          </p:cNvPr>
          <p:cNvSpPr>
            <a:spLocks/>
          </p:cNvSpPr>
          <p:nvPr/>
        </p:nvSpPr>
        <p:spPr bwMode="auto">
          <a:xfrm>
            <a:off x="9159089" y="6375500"/>
            <a:ext cx="23793" cy="18784"/>
          </a:xfrm>
          <a:custGeom>
            <a:avLst/>
            <a:gdLst>
              <a:gd name="T0" fmla="*/ 40 w 44"/>
              <a:gd name="T1" fmla="*/ 18 h 36"/>
              <a:gd name="T2" fmla="*/ 29 w 44"/>
              <a:gd name="T3" fmla="*/ 36 h 36"/>
              <a:gd name="T4" fmla="*/ 4 w 44"/>
              <a:gd name="T5" fmla="*/ 18 h 36"/>
              <a:gd name="T6" fmla="*/ 15 w 44"/>
              <a:gd name="T7" fmla="*/ 0 h 36"/>
              <a:gd name="T8" fmla="*/ 40 w 44"/>
              <a:gd name="T9" fmla="*/ 18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" h="36">
                <a:moveTo>
                  <a:pt x="40" y="18"/>
                </a:moveTo>
                <a:cubicBezTo>
                  <a:pt x="44" y="28"/>
                  <a:pt x="39" y="36"/>
                  <a:pt x="29" y="36"/>
                </a:cubicBezTo>
                <a:cubicBezTo>
                  <a:pt x="19" y="36"/>
                  <a:pt x="8" y="28"/>
                  <a:pt x="4" y="18"/>
                </a:cubicBezTo>
                <a:cubicBezTo>
                  <a:pt x="0" y="8"/>
                  <a:pt x="5" y="0"/>
                  <a:pt x="15" y="0"/>
                </a:cubicBezTo>
                <a:cubicBezTo>
                  <a:pt x="24" y="0"/>
                  <a:pt x="36" y="8"/>
                  <a:pt x="40" y="18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6" name="Freeform 918">
            <a:extLst>
              <a:ext uri="{FF2B5EF4-FFF2-40B4-BE49-F238E27FC236}">
                <a16:creationId xmlns:a16="http://schemas.microsoft.com/office/drawing/2014/main" id="{8773D292-6C39-4D68-A979-554125C2D250}"/>
              </a:ext>
            </a:extLst>
          </p:cNvPr>
          <p:cNvSpPr>
            <a:spLocks/>
          </p:cNvSpPr>
          <p:nvPr/>
        </p:nvSpPr>
        <p:spPr bwMode="auto">
          <a:xfrm>
            <a:off x="9164098" y="6371743"/>
            <a:ext cx="18784" cy="21288"/>
          </a:xfrm>
          <a:custGeom>
            <a:avLst/>
            <a:gdLst>
              <a:gd name="T0" fmla="*/ 3 w 15"/>
              <a:gd name="T1" fmla="*/ 0 h 17"/>
              <a:gd name="T2" fmla="*/ 0 w 15"/>
              <a:gd name="T3" fmla="*/ 3 h 17"/>
              <a:gd name="T4" fmla="*/ 12 w 15"/>
              <a:gd name="T5" fmla="*/ 17 h 17"/>
              <a:gd name="T6" fmla="*/ 15 w 15"/>
              <a:gd name="T7" fmla="*/ 13 h 17"/>
              <a:gd name="T8" fmla="*/ 3 w 15"/>
              <a:gd name="T9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17">
                <a:moveTo>
                  <a:pt x="3" y="0"/>
                </a:moveTo>
                <a:lnTo>
                  <a:pt x="0" y="3"/>
                </a:lnTo>
                <a:lnTo>
                  <a:pt x="12" y="17"/>
                </a:lnTo>
                <a:lnTo>
                  <a:pt x="15" y="13"/>
                </a:lnTo>
                <a:lnTo>
                  <a:pt x="3" y="0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7" name="Freeform 919">
            <a:extLst>
              <a:ext uri="{FF2B5EF4-FFF2-40B4-BE49-F238E27FC236}">
                <a16:creationId xmlns:a16="http://schemas.microsoft.com/office/drawing/2014/main" id="{9B777D04-A280-4429-8669-90CE0BCD55FC}"/>
              </a:ext>
            </a:extLst>
          </p:cNvPr>
          <p:cNvSpPr>
            <a:spLocks/>
          </p:cNvSpPr>
          <p:nvPr/>
        </p:nvSpPr>
        <p:spPr bwMode="auto">
          <a:xfrm>
            <a:off x="9164098" y="6370491"/>
            <a:ext cx="22540" cy="18784"/>
          </a:xfrm>
          <a:custGeom>
            <a:avLst/>
            <a:gdLst>
              <a:gd name="T0" fmla="*/ 39 w 43"/>
              <a:gd name="T1" fmla="*/ 18 h 36"/>
              <a:gd name="T2" fmla="*/ 29 w 43"/>
              <a:gd name="T3" fmla="*/ 36 h 36"/>
              <a:gd name="T4" fmla="*/ 4 w 43"/>
              <a:gd name="T5" fmla="*/ 18 h 36"/>
              <a:gd name="T6" fmla="*/ 14 w 43"/>
              <a:gd name="T7" fmla="*/ 0 h 36"/>
              <a:gd name="T8" fmla="*/ 39 w 43"/>
              <a:gd name="T9" fmla="*/ 18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" h="36">
                <a:moveTo>
                  <a:pt x="39" y="18"/>
                </a:moveTo>
                <a:cubicBezTo>
                  <a:pt x="43" y="28"/>
                  <a:pt x="39" y="36"/>
                  <a:pt x="29" y="36"/>
                </a:cubicBezTo>
                <a:cubicBezTo>
                  <a:pt x="19" y="36"/>
                  <a:pt x="8" y="28"/>
                  <a:pt x="4" y="18"/>
                </a:cubicBezTo>
                <a:cubicBezTo>
                  <a:pt x="0" y="8"/>
                  <a:pt x="4" y="0"/>
                  <a:pt x="14" y="0"/>
                </a:cubicBezTo>
                <a:cubicBezTo>
                  <a:pt x="24" y="0"/>
                  <a:pt x="35" y="8"/>
                  <a:pt x="39" y="18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8" name="Freeform 920">
            <a:extLst>
              <a:ext uri="{FF2B5EF4-FFF2-40B4-BE49-F238E27FC236}">
                <a16:creationId xmlns:a16="http://schemas.microsoft.com/office/drawing/2014/main" id="{F9CE03E1-EC33-4B74-A58F-A191350006F1}"/>
              </a:ext>
            </a:extLst>
          </p:cNvPr>
          <p:cNvSpPr>
            <a:spLocks/>
          </p:cNvSpPr>
          <p:nvPr/>
        </p:nvSpPr>
        <p:spPr bwMode="auto">
          <a:xfrm>
            <a:off x="9175369" y="6409310"/>
            <a:ext cx="22540" cy="17531"/>
          </a:xfrm>
          <a:custGeom>
            <a:avLst/>
            <a:gdLst>
              <a:gd name="T0" fmla="*/ 40 w 44"/>
              <a:gd name="T1" fmla="*/ 17 h 35"/>
              <a:gd name="T2" fmla="*/ 30 w 44"/>
              <a:gd name="T3" fmla="*/ 35 h 35"/>
              <a:gd name="T4" fmla="*/ 4 w 44"/>
              <a:gd name="T5" fmla="*/ 17 h 35"/>
              <a:gd name="T6" fmla="*/ 15 w 44"/>
              <a:gd name="T7" fmla="*/ 0 h 35"/>
              <a:gd name="T8" fmla="*/ 40 w 44"/>
              <a:gd name="T9" fmla="*/ 17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" h="35">
                <a:moveTo>
                  <a:pt x="40" y="17"/>
                </a:moveTo>
                <a:cubicBezTo>
                  <a:pt x="44" y="27"/>
                  <a:pt x="39" y="35"/>
                  <a:pt x="30" y="35"/>
                </a:cubicBezTo>
                <a:cubicBezTo>
                  <a:pt x="20" y="35"/>
                  <a:pt x="8" y="27"/>
                  <a:pt x="4" y="17"/>
                </a:cubicBezTo>
                <a:cubicBezTo>
                  <a:pt x="0" y="8"/>
                  <a:pt x="5" y="0"/>
                  <a:pt x="15" y="0"/>
                </a:cubicBezTo>
                <a:cubicBezTo>
                  <a:pt x="25" y="0"/>
                  <a:pt x="36" y="8"/>
                  <a:pt x="40" y="17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9" name="Freeform 921">
            <a:extLst>
              <a:ext uri="{FF2B5EF4-FFF2-40B4-BE49-F238E27FC236}">
                <a16:creationId xmlns:a16="http://schemas.microsoft.com/office/drawing/2014/main" id="{0F7B1BBC-3EC4-4E1D-BA7B-1A551117EF0E}"/>
              </a:ext>
            </a:extLst>
          </p:cNvPr>
          <p:cNvSpPr>
            <a:spLocks/>
          </p:cNvSpPr>
          <p:nvPr/>
        </p:nvSpPr>
        <p:spPr bwMode="auto">
          <a:xfrm>
            <a:off x="9179125" y="6405553"/>
            <a:ext cx="20036" cy="20036"/>
          </a:xfrm>
          <a:custGeom>
            <a:avLst/>
            <a:gdLst>
              <a:gd name="T0" fmla="*/ 3 w 16"/>
              <a:gd name="T1" fmla="*/ 0 h 16"/>
              <a:gd name="T2" fmla="*/ 0 w 16"/>
              <a:gd name="T3" fmla="*/ 3 h 16"/>
              <a:gd name="T4" fmla="*/ 12 w 16"/>
              <a:gd name="T5" fmla="*/ 16 h 16"/>
              <a:gd name="T6" fmla="*/ 16 w 16"/>
              <a:gd name="T7" fmla="*/ 13 h 16"/>
              <a:gd name="T8" fmla="*/ 3 w 16"/>
              <a:gd name="T9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16">
                <a:moveTo>
                  <a:pt x="3" y="0"/>
                </a:moveTo>
                <a:lnTo>
                  <a:pt x="0" y="3"/>
                </a:lnTo>
                <a:lnTo>
                  <a:pt x="12" y="16"/>
                </a:lnTo>
                <a:lnTo>
                  <a:pt x="16" y="13"/>
                </a:lnTo>
                <a:lnTo>
                  <a:pt x="3" y="0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0" name="Freeform 922">
            <a:extLst>
              <a:ext uri="{FF2B5EF4-FFF2-40B4-BE49-F238E27FC236}">
                <a16:creationId xmlns:a16="http://schemas.microsoft.com/office/drawing/2014/main" id="{9A06ECF1-51EA-4389-B2AB-0E043817CEDF}"/>
              </a:ext>
            </a:extLst>
          </p:cNvPr>
          <p:cNvSpPr>
            <a:spLocks/>
          </p:cNvSpPr>
          <p:nvPr/>
        </p:nvSpPr>
        <p:spPr bwMode="auto">
          <a:xfrm>
            <a:off x="9179125" y="6404301"/>
            <a:ext cx="23793" cy="18784"/>
          </a:xfrm>
          <a:custGeom>
            <a:avLst/>
            <a:gdLst>
              <a:gd name="T0" fmla="*/ 40 w 44"/>
              <a:gd name="T1" fmla="*/ 18 h 36"/>
              <a:gd name="T2" fmla="*/ 29 w 44"/>
              <a:gd name="T3" fmla="*/ 36 h 36"/>
              <a:gd name="T4" fmla="*/ 4 w 44"/>
              <a:gd name="T5" fmla="*/ 18 h 36"/>
              <a:gd name="T6" fmla="*/ 15 w 44"/>
              <a:gd name="T7" fmla="*/ 0 h 36"/>
              <a:gd name="T8" fmla="*/ 40 w 44"/>
              <a:gd name="T9" fmla="*/ 18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" h="36">
                <a:moveTo>
                  <a:pt x="40" y="18"/>
                </a:moveTo>
                <a:cubicBezTo>
                  <a:pt x="44" y="28"/>
                  <a:pt x="39" y="36"/>
                  <a:pt x="29" y="36"/>
                </a:cubicBezTo>
                <a:cubicBezTo>
                  <a:pt x="19" y="36"/>
                  <a:pt x="8" y="28"/>
                  <a:pt x="4" y="18"/>
                </a:cubicBezTo>
                <a:cubicBezTo>
                  <a:pt x="0" y="8"/>
                  <a:pt x="5" y="0"/>
                  <a:pt x="15" y="0"/>
                </a:cubicBezTo>
                <a:cubicBezTo>
                  <a:pt x="24" y="0"/>
                  <a:pt x="36" y="8"/>
                  <a:pt x="40" y="18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1" name="Freeform 923">
            <a:extLst>
              <a:ext uri="{FF2B5EF4-FFF2-40B4-BE49-F238E27FC236}">
                <a16:creationId xmlns:a16="http://schemas.microsoft.com/office/drawing/2014/main" id="{F7156ABC-4674-41A4-B848-98FFEF88489F}"/>
              </a:ext>
            </a:extLst>
          </p:cNvPr>
          <p:cNvSpPr>
            <a:spLocks/>
          </p:cNvSpPr>
          <p:nvPr/>
        </p:nvSpPr>
        <p:spPr bwMode="auto">
          <a:xfrm>
            <a:off x="9191647" y="6441868"/>
            <a:ext cx="21288" cy="18784"/>
          </a:xfrm>
          <a:custGeom>
            <a:avLst/>
            <a:gdLst>
              <a:gd name="T0" fmla="*/ 39 w 43"/>
              <a:gd name="T1" fmla="*/ 18 h 35"/>
              <a:gd name="T2" fmla="*/ 29 w 43"/>
              <a:gd name="T3" fmla="*/ 35 h 35"/>
              <a:gd name="T4" fmla="*/ 4 w 43"/>
              <a:gd name="T5" fmla="*/ 18 h 35"/>
              <a:gd name="T6" fmla="*/ 14 w 43"/>
              <a:gd name="T7" fmla="*/ 0 h 35"/>
              <a:gd name="T8" fmla="*/ 39 w 43"/>
              <a:gd name="T9" fmla="*/ 18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" h="35">
                <a:moveTo>
                  <a:pt x="39" y="18"/>
                </a:moveTo>
                <a:cubicBezTo>
                  <a:pt x="43" y="27"/>
                  <a:pt x="39" y="35"/>
                  <a:pt x="29" y="35"/>
                </a:cubicBezTo>
                <a:cubicBezTo>
                  <a:pt x="19" y="35"/>
                  <a:pt x="8" y="27"/>
                  <a:pt x="4" y="18"/>
                </a:cubicBezTo>
                <a:cubicBezTo>
                  <a:pt x="0" y="8"/>
                  <a:pt x="4" y="0"/>
                  <a:pt x="14" y="0"/>
                </a:cubicBezTo>
                <a:cubicBezTo>
                  <a:pt x="24" y="0"/>
                  <a:pt x="35" y="8"/>
                  <a:pt x="39" y="18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2" name="Freeform 924">
            <a:extLst>
              <a:ext uri="{FF2B5EF4-FFF2-40B4-BE49-F238E27FC236}">
                <a16:creationId xmlns:a16="http://schemas.microsoft.com/office/drawing/2014/main" id="{49A31F67-3BEC-4433-87CC-A044FE91E647}"/>
              </a:ext>
            </a:extLst>
          </p:cNvPr>
          <p:cNvSpPr>
            <a:spLocks/>
          </p:cNvSpPr>
          <p:nvPr/>
        </p:nvSpPr>
        <p:spPr bwMode="auto">
          <a:xfrm>
            <a:off x="9195404" y="6438112"/>
            <a:ext cx="18784" cy="21288"/>
          </a:xfrm>
          <a:custGeom>
            <a:avLst/>
            <a:gdLst>
              <a:gd name="T0" fmla="*/ 3 w 15"/>
              <a:gd name="T1" fmla="*/ 0 h 17"/>
              <a:gd name="T2" fmla="*/ 0 w 15"/>
              <a:gd name="T3" fmla="*/ 4 h 17"/>
              <a:gd name="T4" fmla="*/ 12 w 15"/>
              <a:gd name="T5" fmla="*/ 17 h 17"/>
              <a:gd name="T6" fmla="*/ 15 w 15"/>
              <a:gd name="T7" fmla="*/ 14 h 17"/>
              <a:gd name="T8" fmla="*/ 3 w 15"/>
              <a:gd name="T9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17">
                <a:moveTo>
                  <a:pt x="3" y="0"/>
                </a:moveTo>
                <a:lnTo>
                  <a:pt x="0" y="4"/>
                </a:lnTo>
                <a:lnTo>
                  <a:pt x="12" y="17"/>
                </a:lnTo>
                <a:lnTo>
                  <a:pt x="15" y="14"/>
                </a:lnTo>
                <a:lnTo>
                  <a:pt x="3" y="0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" name="Freeform 925">
            <a:extLst>
              <a:ext uri="{FF2B5EF4-FFF2-40B4-BE49-F238E27FC236}">
                <a16:creationId xmlns:a16="http://schemas.microsoft.com/office/drawing/2014/main" id="{F8DC4F4E-D516-4E8D-8256-0A8CB4806D68}"/>
              </a:ext>
            </a:extLst>
          </p:cNvPr>
          <p:cNvSpPr>
            <a:spLocks/>
          </p:cNvSpPr>
          <p:nvPr/>
        </p:nvSpPr>
        <p:spPr bwMode="auto">
          <a:xfrm>
            <a:off x="9195404" y="6436859"/>
            <a:ext cx="22540" cy="18784"/>
          </a:xfrm>
          <a:custGeom>
            <a:avLst/>
            <a:gdLst>
              <a:gd name="T0" fmla="*/ 40 w 44"/>
              <a:gd name="T1" fmla="*/ 18 h 36"/>
              <a:gd name="T2" fmla="*/ 30 w 44"/>
              <a:gd name="T3" fmla="*/ 36 h 36"/>
              <a:gd name="T4" fmla="*/ 4 w 44"/>
              <a:gd name="T5" fmla="*/ 18 h 36"/>
              <a:gd name="T6" fmla="*/ 15 w 44"/>
              <a:gd name="T7" fmla="*/ 0 h 36"/>
              <a:gd name="T8" fmla="*/ 40 w 44"/>
              <a:gd name="T9" fmla="*/ 18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" h="36">
                <a:moveTo>
                  <a:pt x="40" y="18"/>
                </a:moveTo>
                <a:cubicBezTo>
                  <a:pt x="44" y="28"/>
                  <a:pt x="39" y="36"/>
                  <a:pt x="30" y="36"/>
                </a:cubicBezTo>
                <a:cubicBezTo>
                  <a:pt x="20" y="36"/>
                  <a:pt x="8" y="28"/>
                  <a:pt x="4" y="18"/>
                </a:cubicBezTo>
                <a:cubicBezTo>
                  <a:pt x="0" y="8"/>
                  <a:pt x="5" y="0"/>
                  <a:pt x="15" y="0"/>
                </a:cubicBezTo>
                <a:cubicBezTo>
                  <a:pt x="25" y="0"/>
                  <a:pt x="36" y="8"/>
                  <a:pt x="40" y="18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4" name="Freeform 926">
            <a:extLst>
              <a:ext uri="{FF2B5EF4-FFF2-40B4-BE49-F238E27FC236}">
                <a16:creationId xmlns:a16="http://schemas.microsoft.com/office/drawing/2014/main" id="{FC633302-4DC5-4D81-B4BE-8BFA3E5C2D18}"/>
              </a:ext>
            </a:extLst>
          </p:cNvPr>
          <p:cNvSpPr>
            <a:spLocks/>
          </p:cNvSpPr>
          <p:nvPr/>
        </p:nvSpPr>
        <p:spPr bwMode="auto">
          <a:xfrm>
            <a:off x="9239232" y="6371743"/>
            <a:ext cx="92665" cy="37567"/>
          </a:xfrm>
          <a:custGeom>
            <a:avLst/>
            <a:gdLst>
              <a:gd name="T0" fmla="*/ 0 w 179"/>
              <a:gd name="T1" fmla="*/ 44 h 74"/>
              <a:gd name="T2" fmla="*/ 71 w 179"/>
              <a:gd name="T3" fmla="*/ 0 h 74"/>
              <a:gd name="T4" fmla="*/ 179 w 179"/>
              <a:gd name="T5" fmla="*/ 41 h 74"/>
              <a:gd name="T6" fmla="*/ 155 w 179"/>
              <a:gd name="T7" fmla="*/ 72 h 74"/>
              <a:gd name="T8" fmla="*/ 92 w 179"/>
              <a:gd name="T9" fmla="*/ 48 h 74"/>
              <a:gd name="T10" fmla="*/ 50 w 179"/>
              <a:gd name="T11" fmla="*/ 74 h 74"/>
              <a:gd name="T12" fmla="*/ 0 w 179"/>
              <a:gd name="T13" fmla="*/ 4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9" h="74">
                <a:moveTo>
                  <a:pt x="0" y="44"/>
                </a:moveTo>
                <a:cubicBezTo>
                  <a:pt x="11" y="18"/>
                  <a:pt x="35" y="1"/>
                  <a:pt x="71" y="0"/>
                </a:cubicBezTo>
                <a:cubicBezTo>
                  <a:pt x="107" y="0"/>
                  <a:pt x="146" y="16"/>
                  <a:pt x="179" y="41"/>
                </a:cubicBezTo>
                <a:cubicBezTo>
                  <a:pt x="155" y="72"/>
                  <a:pt x="155" y="72"/>
                  <a:pt x="155" y="72"/>
                </a:cubicBezTo>
                <a:cubicBezTo>
                  <a:pt x="136" y="57"/>
                  <a:pt x="113" y="48"/>
                  <a:pt x="92" y="48"/>
                </a:cubicBezTo>
                <a:cubicBezTo>
                  <a:pt x="71" y="49"/>
                  <a:pt x="56" y="59"/>
                  <a:pt x="50" y="74"/>
                </a:cubicBezTo>
                <a:lnTo>
                  <a:pt x="0" y="44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5" name="Freeform 927">
            <a:extLst>
              <a:ext uri="{FF2B5EF4-FFF2-40B4-BE49-F238E27FC236}">
                <a16:creationId xmlns:a16="http://schemas.microsoft.com/office/drawing/2014/main" id="{A82A95E7-2CE7-49CA-BC1C-4F9D8D543DFC}"/>
              </a:ext>
            </a:extLst>
          </p:cNvPr>
          <p:cNvSpPr>
            <a:spLocks/>
          </p:cNvSpPr>
          <p:nvPr/>
        </p:nvSpPr>
        <p:spPr bwMode="auto">
          <a:xfrm>
            <a:off x="9239232" y="6371743"/>
            <a:ext cx="92665" cy="23793"/>
          </a:xfrm>
          <a:custGeom>
            <a:avLst/>
            <a:gdLst>
              <a:gd name="T0" fmla="*/ 71 w 179"/>
              <a:gd name="T1" fmla="*/ 10 h 47"/>
              <a:gd name="T2" fmla="*/ 174 w 179"/>
              <a:gd name="T3" fmla="*/ 47 h 47"/>
              <a:gd name="T4" fmla="*/ 179 w 179"/>
              <a:gd name="T5" fmla="*/ 41 h 47"/>
              <a:gd name="T6" fmla="*/ 71 w 179"/>
              <a:gd name="T7" fmla="*/ 0 h 47"/>
              <a:gd name="T8" fmla="*/ 0 w 179"/>
              <a:gd name="T9" fmla="*/ 44 h 47"/>
              <a:gd name="T10" fmla="*/ 4 w 179"/>
              <a:gd name="T11" fmla="*/ 46 h 47"/>
              <a:gd name="T12" fmla="*/ 71 w 179"/>
              <a:gd name="T13" fmla="*/ 10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9" h="47">
                <a:moveTo>
                  <a:pt x="71" y="10"/>
                </a:moveTo>
                <a:cubicBezTo>
                  <a:pt x="105" y="9"/>
                  <a:pt x="143" y="24"/>
                  <a:pt x="174" y="47"/>
                </a:cubicBezTo>
                <a:cubicBezTo>
                  <a:pt x="179" y="41"/>
                  <a:pt x="179" y="41"/>
                  <a:pt x="179" y="41"/>
                </a:cubicBezTo>
                <a:cubicBezTo>
                  <a:pt x="146" y="16"/>
                  <a:pt x="107" y="0"/>
                  <a:pt x="71" y="0"/>
                </a:cubicBezTo>
                <a:cubicBezTo>
                  <a:pt x="35" y="1"/>
                  <a:pt x="11" y="18"/>
                  <a:pt x="0" y="44"/>
                </a:cubicBezTo>
                <a:cubicBezTo>
                  <a:pt x="4" y="46"/>
                  <a:pt x="4" y="46"/>
                  <a:pt x="4" y="46"/>
                </a:cubicBezTo>
                <a:cubicBezTo>
                  <a:pt x="15" y="24"/>
                  <a:pt x="39" y="10"/>
                  <a:pt x="71" y="10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6" name="Freeform 928">
            <a:extLst>
              <a:ext uri="{FF2B5EF4-FFF2-40B4-BE49-F238E27FC236}">
                <a16:creationId xmlns:a16="http://schemas.microsoft.com/office/drawing/2014/main" id="{045FE366-C5C0-46AB-909B-2E81118AAB62}"/>
              </a:ext>
            </a:extLst>
          </p:cNvPr>
          <p:cNvSpPr>
            <a:spLocks/>
          </p:cNvSpPr>
          <p:nvPr/>
        </p:nvSpPr>
        <p:spPr bwMode="auto">
          <a:xfrm>
            <a:off x="9280556" y="6379256"/>
            <a:ext cx="12522" cy="17531"/>
          </a:xfrm>
          <a:custGeom>
            <a:avLst/>
            <a:gdLst>
              <a:gd name="T0" fmla="*/ 24 w 24"/>
              <a:gd name="T1" fmla="*/ 33 h 34"/>
              <a:gd name="T2" fmla="*/ 4 w 24"/>
              <a:gd name="T3" fmla="*/ 0 h 34"/>
              <a:gd name="T4" fmla="*/ 0 w 24"/>
              <a:gd name="T5" fmla="*/ 34 h 34"/>
              <a:gd name="T6" fmla="*/ 12 w 24"/>
              <a:gd name="T7" fmla="*/ 32 h 34"/>
              <a:gd name="T8" fmla="*/ 24 w 24"/>
              <a:gd name="T9" fmla="*/ 3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" h="34">
                <a:moveTo>
                  <a:pt x="24" y="33"/>
                </a:moveTo>
                <a:cubicBezTo>
                  <a:pt x="4" y="0"/>
                  <a:pt x="4" y="0"/>
                  <a:pt x="4" y="0"/>
                </a:cubicBezTo>
                <a:cubicBezTo>
                  <a:pt x="0" y="34"/>
                  <a:pt x="0" y="34"/>
                  <a:pt x="0" y="34"/>
                </a:cubicBezTo>
                <a:cubicBezTo>
                  <a:pt x="4" y="33"/>
                  <a:pt x="8" y="32"/>
                  <a:pt x="12" y="32"/>
                </a:cubicBezTo>
                <a:cubicBezTo>
                  <a:pt x="16" y="32"/>
                  <a:pt x="20" y="33"/>
                  <a:pt x="24" y="33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7" name="Freeform 929">
            <a:extLst>
              <a:ext uri="{FF2B5EF4-FFF2-40B4-BE49-F238E27FC236}">
                <a16:creationId xmlns:a16="http://schemas.microsoft.com/office/drawing/2014/main" id="{B3ED590E-1178-4753-BC2E-F9159C7B3645}"/>
              </a:ext>
            </a:extLst>
          </p:cNvPr>
          <p:cNvSpPr>
            <a:spLocks/>
          </p:cNvSpPr>
          <p:nvPr/>
        </p:nvSpPr>
        <p:spPr bwMode="auto">
          <a:xfrm>
            <a:off x="9261772" y="6421832"/>
            <a:ext cx="92665" cy="38820"/>
          </a:xfrm>
          <a:custGeom>
            <a:avLst/>
            <a:gdLst>
              <a:gd name="T0" fmla="*/ 0 w 178"/>
              <a:gd name="T1" fmla="*/ 44 h 74"/>
              <a:gd name="T2" fmla="*/ 70 w 178"/>
              <a:gd name="T3" fmla="*/ 1 h 74"/>
              <a:gd name="T4" fmla="*/ 178 w 178"/>
              <a:gd name="T5" fmla="*/ 41 h 74"/>
              <a:gd name="T6" fmla="*/ 154 w 178"/>
              <a:gd name="T7" fmla="*/ 73 h 74"/>
              <a:gd name="T8" fmla="*/ 91 w 178"/>
              <a:gd name="T9" fmla="*/ 49 h 74"/>
              <a:gd name="T10" fmla="*/ 50 w 178"/>
              <a:gd name="T11" fmla="*/ 74 h 74"/>
              <a:gd name="T12" fmla="*/ 0 w 178"/>
              <a:gd name="T13" fmla="*/ 4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8" h="74">
                <a:moveTo>
                  <a:pt x="0" y="44"/>
                </a:moveTo>
                <a:cubicBezTo>
                  <a:pt x="10" y="18"/>
                  <a:pt x="35" y="1"/>
                  <a:pt x="70" y="1"/>
                </a:cubicBezTo>
                <a:cubicBezTo>
                  <a:pt x="106" y="0"/>
                  <a:pt x="146" y="16"/>
                  <a:pt x="178" y="41"/>
                </a:cubicBezTo>
                <a:cubicBezTo>
                  <a:pt x="154" y="73"/>
                  <a:pt x="154" y="73"/>
                  <a:pt x="154" y="73"/>
                </a:cubicBezTo>
                <a:cubicBezTo>
                  <a:pt x="135" y="58"/>
                  <a:pt x="112" y="48"/>
                  <a:pt x="91" y="49"/>
                </a:cubicBezTo>
                <a:cubicBezTo>
                  <a:pt x="70" y="49"/>
                  <a:pt x="56" y="59"/>
                  <a:pt x="50" y="74"/>
                </a:cubicBezTo>
                <a:lnTo>
                  <a:pt x="0" y="44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8" name="Freeform 930">
            <a:extLst>
              <a:ext uri="{FF2B5EF4-FFF2-40B4-BE49-F238E27FC236}">
                <a16:creationId xmlns:a16="http://schemas.microsoft.com/office/drawing/2014/main" id="{5A5969B7-105E-4D23-9242-87F6A56E70C4}"/>
              </a:ext>
            </a:extLst>
          </p:cNvPr>
          <p:cNvSpPr>
            <a:spLocks/>
          </p:cNvSpPr>
          <p:nvPr/>
        </p:nvSpPr>
        <p:spPr bwMode="auto">
          <a:xfrm>
            <a:off x="9261772" y="6421832"/>
            <a:ext cx="92665" cy="25045"/>
          </a:xfrm>
          <a:custGeom>
            <a:avLst/>
            <a:gdLst>
              <a:gd name="T0" fmla="*/ 70 w 178"/>
              <a:gd name="T1" fmla="*/ 10 h 47"/>
              <a:gd name="T2" fmla="*/ 174 w 178"/>
              <a:gd name="T3" fmla="*/ 47 h 47"/>
              <a:gd name="T4" fmla="*/ 178 w 178"/>
              <a:gd name="T5" fmla="*/ 41 h 47"/>
              <a:gd name="T6" fmla="*/ 70 w 178"/>
              <a:gd name="T7" fmla="*/ 1 h 47"/>
              <a:gd name="T8" fmla="*/ 0 w 178"/>
              <a:gd name="T9" fmla="*/ 44 h 47"/>
              <a:gd name="T10" fmla="*/ 3 w 178"/>
              <a:gd name="T11" fmla="*/ 46 h 47"/>
              <a:gd name="T12" fmla="*/ 70 w 178"/>
              <a:gd name="T13" fmla="*/ 10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8" h="47">
                <a:moveTo>
                  <a:pt x="70" y="10"/>
                </a:moveTo>
                <a:cubicBezTo>
                  <a:pt x="105" y="9"/>
                  <a:pt x="142" y="24"/>
                  <a:pt x="174" y="47"/>
                </a:cubicBezTo>
                <a:cubicBezTo>
                  <a:pt x="178" y="41"/>
                  <a:pt x="178" y="41"/>
                  <a:pt x="178" y="41"/>
                </a:cubicBezTo>
                <a:cubicBezTo>
                  <a:pt x="146" y="16"/>
                  <a:pt x="106" y="0"/>
                  <a:pt x="70" y="1"/>
                </a:cubicBezTo>
                <a:cubicBezTo>
                  <a:pt x="35" y="1"/>
                  <a:pt x="10" y="18"/>
                  <a:pt x="0" y="44"/>
                </a:cubicBezTo>
                <a:cubicBezTo>
                  <a:pt x="3" y="46"/>
                  <a:pt x="3" y="46"/>
                  <a:pt x="3" y="46"/>
                </a:cubicBezTo>
                <a:cubicBezTo>
                  <a:pt x="15" y="24"/>
                  <a:pt x="38" y="10"/>
                  <a:pt x="70" y="10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9" name="Freeform 931">
            <a:extLst>
              <a:ext uri="{FF2B5EF4-FFF2-40B4-BE49-F238E27FC236}">
                <a16:creationId xmlns:a16="http://schemas.microsoft.com/office/drawing/2014/main" id="{245116F3-8390-46A2-8644-C7E1D77605BD}"/>
              </a:ext>
            </a:extLst>
          </p:cNvPr>
          <p:cNvSpPr>
            <a:spLocks/>
          </p:cNvSpPr>
          <p:nvPr/>
        </p:nvSpPr>
        <p:spPr bwMode="auto">
          <a:xfrm>
            <a:off x="9285565" y="6439363"/>
            <a:ext cx="16279" cy="15027"/>
          </a:xfrm>
          <a:custGeom>
            <a:avLst/>
            <a:gdLst>
              <a:gd name="T0" fmla="*/ 30 w 30"/>
              <a:gd name="T1" fmla="*/ 17 h 28"/>
              <a:gd name="T2" fmla="*/ 0 w 30"/>
              <a:gd name="T3" fmla="*/ 0 h 28"/>
              <a:gd name="T4" fmla="*/ 12 w 30"/>
              <a:gd name="T5" fmla="*/ 28 h 28"/>
              <a:gd name="T6" fmla="*/ 30 w 30"/>
              <a:gd name="T7" fmla="*/ 17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28">
                <a:moveTo>
                  <a:pt x="30" y="17"/>
                </a:moveTo>
                <a:cubicBezTo>
                  <a:pt x="0" y="0"/>
                  <a:pt x="0" y="0"/>
                  <a:pt x="0" y="0"/>
                </a:cubicBezTo>
                <a:cubicBezTo>
                  <a:pt x="12" y="28"/>
                  <a:pt x="12" y="28"/>
                  <a:pt x="12" y="28"/>
                </a:cubicBezTo>
                <a:cubicBezTo>
                  <a:pt x="17" y="23"/>
                  <a:pt x="23" y="19"/>
                  <a:pt x="30" y="17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0" name="Freeform 932">
            <a:extLst>
              <a:ext uri="{FF2B5EF4-FFF2-40B4-BE49-F238E27FC236}">
                <a16:creationId xmlns:a16="http://schemas.microsoft.com/office/drawing/2014/main" id="{E140E00B-47B3-431E-93CE-11A0126D81E9}"/>
              </a:ext>
            </a:extLst>
          </p:cNvPr>
          <p:cNvSpPr>
            <a:spLocks/>
          </p:cNvSpPr>
          <p:nvPr/>
        </p:nvSpPr>
        <p:spPr bwMode="auto">
          <a:xfrm>
            <a:off x="9358195" y="6259042"/>
            <a:ext cx="63864" cy="67621"/>
          </a:xfrm>
          <a:custGeom>
            <a:avLst/>
            <a:gdLst>
              <a:gd name="T0" fmla="*/ 13 w 122"/>
              <a:gd name="T1" fmla="*/ 75 h 130"/>
              <a:gd name="T2" fmla="*/ 7 w 122"/>
              <a:gd name="T3" fmla="*/ 79 h 130"/>
              <a:gd name="T4" fmla="*/ 2 w 122"/>
              <a:gd name="T5" fmla="*/ 49 h 130"/>
              <a:gd name="T6" fmla="*/ 25 w 122"/>
              <a:gd name="T7" fmla="*/ 11 h 130"/>
              <a:gd name="T8" fmla="*/ 94 w 122"/>
              <a:gd name="T9" fmla="*/ 54 h 130"/>
              <a:gd name="T10" fmla="*/ 122 w 122"/>
              <a:gd name="T11" fmla="*/ 111 h 130"/>
              <a:gd name="T12" fmla="*/ 34 w 122"/>
              <a:gd name="T13" fmla="*/ 130 h 130"/>
              <a:gd name="T14" fmla="*/ 13 w 122"/>
              <a:gd name="T15" fmla="*/ 75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" h="130">
                <a:moveTo>
                  <a:pt x="13" y="75"/>
                </a:moveTo>
                <a:cubicBezTo>
                  <a:pt x="10" y="77"/>
                  <a:pt x="7" y="79"/>
                  <a:pt x="7" y="79"/>
                </a:cubicBezTo>
                <a:cubicBezTo>
                  <a:pt x="7" y="79"/>
                  <a:pt x="4" y="66"/>
                  <a:pt x="2" y="49"/>
                </a:cubicBezTo>
                <a:cubicBezTo>
                  <a:pt x="0" y="33"/>
                  <a:pt x="8" y="22"/>
                  <a:pt x="25" y="11"/>
                </a:cubicBezTo>
                <a:cubicBezTo>
                  <a:pt x="45" y="0"/>
                  <a:pt x="89" y="40"/>
                  <a:pt x="94" y="54"/>
                </a:cubicBezTo>
                <a:cubicBezTo>
                  <a:pt x="101" y="76"/>
                  <a:pt x="112" y="95"/>
                  <a:pt x="122" y="111"/>
                </a:cubicBezTo>
                <a:cubicBezTo>
                  <a:pt x="34" y="130"/>
                  <a:pt x="34" y="130"/>
                  <a:pt x="34" y="130"/>
                </a:cubicBezTo>
                <a:cubicBezTo>
                  <a:pt x="26" y="109"/>
                  <a:pt x="22" y="96"/>
                  <a:pt x="13" y="75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1" name="Freeform 933">
            <a:extLst>
              <a:ext uri="{FF2B5EF4-FFF2-40B4-BE49-F238E27FC236}">
                <a16:creationId xmlns:a16="http://schemas.microsoft.com/office/drawing/2014/main" id="{C8BB0EFE-BA69-4CD4-A306-106909F8C0E2}"/>
              </a:ext>
            </a:extLst>
          </p:cNvPr>
          <p:cNvSpPr>
            <a:spLocks/>
          </p:cNvSpPr>
          <p:nvPr/>
        </p:nvSpPr>
        <p:spPr bwMode="auto">
          <a:xfrm>
            <a:off x="9348177" y="6249024"/>
            <a:ext cx="60107" cy="46333"/>
          </a:xfrm>
          <a:custGeom>
            <a:avLst/>
            <a:gdLst>
              <a:gd name="T0" fmla="*/ 39 w 116"/>
              <a:gd name="T1" fmla="*/ 87 h 89"/>
              <a:gd name="T2" fmla="*/ 21 w 116"/>
              <a:gd name="T3" fmla="*/ 67 h 89"/>
              <a:gd name="T4" fmla="*/ 3 w 116"/>
              <a:gd name="T5" fmla="*/ 40 h 89"/>
              <a:gd name="T6" fmla="*/ 70 w 116"/>
              <a:gd name="T7" fmla="*/ 7 h 89"/>
              <a:gd name="T8" fmla="*/ 115 w 116"/>
              <a:gd name="T9" fmla="*/ 75 h 89"/>
              <a:gd name="T10" fmla="*/ 75 w 116"/>
              <a:gd name="T11" fmla="*/ 86 h 89"/>
              <a:gd name="T12" fmla="*/ 44 w 116"/>
              <a:gd name="T13" fmla="*/ 68 h 89"/>
              <a:gd name="T14" fmla="*/ 42 w 116"/>
              <a:gd name="T15" fmla="*/ 83 h 89"/>
              <a:gd name="T16" fmla="*/ 39 w 116"/>
              <a:gd name="T17" fmla="*/ 87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6" h="89">
                <a:moveTo>
                  <a:pt x="39" y="87"/>
                </a:moveTo>
                <a:cubicBezTo>
                  <a:pt x="34" y="83"/>
                  <a:pt x="25" y="72"/>
                  <a:pt x="21" y="67"/>
                </a:cubicBezTo>
                <a:cubicBezTo>
                  <a:pt x="13" y="68"/>
                  <a:pt x="0" y="54"/>
                  <a:pt x="3" y="40"/>
                </a:cubicBezTo>
                <a:cubicBezTo>
                  <a:pt x="13" y="46"/>
                  <a:pt x="35" y="0"/>
                  <a:pt x="70" y="7"/>
                </a:cubicBezTo>
                <a:cubicBezTo>
                  <a:pt x="96" y="13"/>
                  <a:pt x="112" y="47"/>
                  <a:pt x="115" y="75"/>
                </a:cubicBezTo>
                <a:cubicBezTo>
                  <a:pt x="116" y="86"/>
                  <a:pt x="86" y="89"/>
                  <a:pt x="75" y="86"/>
                </a:cubicBezTo>
                <a:cubicBezTo>
                  <a:pt x="64" y="84"/>
                  <a:pt x="51" y="69"/>
                  <a:pt x="44" y="68"/>
                </a:cubicBezTo>
                <a:cubicBezTo>
                  <a:pt x="37" y="66"/>
                  <a:pt x="37" y="78"/>
                  <a:pt x="42" y="83"/>
                </a:cubicBezTo>
                <a:cubicBezTo>
                  <a:pt x="41" y="84"/>
                  <a:pt x="40" y="86"/>
                  <a:pt x="39" y="87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2" name="Freeform 934">
            <a:extLst>
              <a:ext uri="{FF2B5EF4-FFF2-40B4-BE49-F238E27FC236}">
                <a16:creationId xmlns:a16="http://schemas.microsoft.com/office/drawing/2014/main" id="{70E2ED32-2043-4F67-819C-ECA56C57A47A}"/>
              </a:ext>
            </a:extLst>
          </p:cNvPr>
          <p:cNvSpPr>
            <a:spLocks/>
          </p:cNvSpPr>
          <p:nvPr/>
        </p:nvSpPr>
        <p:spPr bwMode="auto">
          <a:xfrm>
            <a:off x="9458373" y="6481939"/>
            <a:ext cx="23793" cy="23793"/>
          </a:xfrm>
          <a:custGeom>
            <a:avLst/>
            <a:gdLst>
              <a:gd name="T0" fmla="*/ 44 w 46"/>
              <a:gd name="T1" fmla="*/ 31 h 47"/>
              <a:gd name="T2" fmla="*/ 44 w 46"/>
              <a:gd name="T3" fmla="*/ 24 h 47"/>
              <a:gd name="T4" fmla="*/ 23 w 46"/>
              <a:gd name="T5" fmla="*/ 2 h 47"/>
              <a:gd name="T6" fmla="*/ 15 w 46"/>
              <a:gd name="T7" fmla="*/ 2 h 47"/>
              <a:gd name="T8" fmla="*/ 2 w 46"/>
              <a:gd name="T9" fmla="*/ 16 h 47"/>
              <a:gd name="T10" fmla="*/ 2 w 46"/>
              <a:gd name="T11" fmla="*/ 23 h 47"/>
              <a:gd name="T12" fmla="*/ 23 w 46"/>
              <a:gd name="T13" fmla="*/ 45 h 47"/>
              <a:gd name="T14" fmla="*/ 31 w 46"/>
              <a:gd name="T15" fmla="*/ 45 h 47"/>
              <a:gd name="T16" fmla="*/ 44 w 46"/>
              <a:gd name="T17" fmla="*/ 31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6" h="47">
                <a:moveTo>
                  <a:pt x="44" y="31"/>
                </a:moveTo>
                <a:cubicBezTo>
                  <a:pt x="46" y="29"/>
                  <a:pt x="46" y="26"/>
                  <a:pt x="44" y="24"/>
                </a:cubicBezTo>
                <a:cubicBezTo>
                  <a:pt x="23" y="2"/>
                  <a:pt x="23" y="2"/>
                  <a:pt x="23" y="2"/>
                </a:cubicBezTo>
                <a:cubicBezTo>
                  <a:pt x="21" y="0"/>
                  <a:pt x="17" y="0"/>
                  <a:pt x="15" y="2"/>
                </a:cubicBezTo>
                <a:cubicBezTo>
                  <a:pt x="2" y="16"/>
                  <a:pt x="2" y="16"/>
                  <a:pt x="2" y="16"/>
                </a:cubicBezTo>
                <a:cubicBezTo>
                  <a:pt x="0" y="18"/>
                  <a:pt x="0" y="21"/>
                  <a:pt x="2" y="23"/>
                </a:cubicBezTo>
                <a:cubicBezTo>
                  <a:pt x="23" y="45"/>
                  <a:pt x="23" y="45"/>
                  <a:pt x="23" y="45"/>
                </a:cubicBezTo>
                <a:cubicBezTo>
                  <a:pt x="25" y="47"/>
                  <a:pt x="29" y="47"/>
                  <a:pt x="31" y="45"/>
                </a:cubicBezTo>
                <a:lnTo>
                  <a:pt x="44" y="31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3" name="Freeform 935">
            <a:extLst>
              <a:ext uri="{FF2B5EF4-FFF2-40B4-BE49-F238E27FC236}">
                <a16:creationId xmlns:a16="http://schemas.microsoft.com/office/drawing/2014/main" id="{A7DE47C4-6477-40E8-8E89-383AB5E2DCE2}"/>
              </a:ext>
            </a:extLst>
          </p:cNvPr>
          <p:cNvSpPr>
            <a:spLocks/>
          </p:cNvSpPr>
          <p:nvPr/>
        </p:nvSpPr>
        <p:spPr bwMode="auto">
          <a:xfrm>
            <a:off x="9458373" y="6481939"/>
            <a:ext cx="12522" cy="3757"/>
          </a:xfrm>
          <a:custGeom>
            <a:avLst/>
            <a:gdLst>
              <a:gd name="T0" fmla="*/ 5 w 25"/>
              <a:gd name="T1" fmla="*/ 8 h 8"/>
              <a:gd name="T2" fmla="*/ 0 w 25"/>
              <a:gd name="T3" fmla="*/ 4 h 8"/>
              <a:gd name="T4" fmla="*/ 5 w 25"/>
              <a:gd name="T5" fmla="*/ 0 h 8"/>
              <a:gd name="T6" fmla="*/ 20 w 25"/>
              <a:gd name="T7" fmla="*/ 0 h 8"/>
              <a:gd name="T8" fmla="*/ 25 w 25"/>
              <a:gd name="T9" fmla="*/ 4 h 8"/>
              <a:gd name="T10" fmla="*/ 20 w 25"/>
              <a:gd name="T11" fmla="*/ 8 h 8"/>
              <a:gd name="T12" fmla="*/ 5 w 25"/>
              <a:gd name="T13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5" h="8">
                <a:moveTo>
                  <a:pt x="5" y="8"/>
                </a:moveTo>
                <a:cubicBezTo>
                  <a:pt x="2" y="8"/>
                  <a:pt x="0" y="7"/>
                  <a:pt x="0" y="4"/>
                </a:cubicBezTo>
                <a:cubicBezTo>
                  <a:pt x="0" y="2"/>
                  <a:pt x="2" y="0"/>
                  <a:pt x="5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3" y="0"/>
                  <a:pt x="25" y="2"/>
                  <a:pt x="25" y="4"/>
                </a:cubicBezTo>
                <a:cubicBezTo>
                  <a:pt x="25" y="6"/>
                  <a:pt x="23" y="8"/>
                  <a:pt x="20" y="8"/>
                </a:cubicBezTo>
                <a:lnTo>
                  <a:pt x="5" y="8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4" name="Freeform 936">
            <a:extLst>
              <a:ext uri="{FF2B5EF4-FFF2-40B4-BE49-F238E27FC236}">
                <a16:creationId xmlns:a16="http://schemas.microsoft.com/office/drawing/2014/main" id="{1F0E2F3F-0F7D-4BD9-B94A-966B78B7AE1D}"/>
              </a:ext>
            </a:extLst>
          </p:cNvPr>
          <p:cNvSpPr>
            <a:spLocks/>
          </p:cNvSpPr>
          <p:nvPr/>
        </p:nvSpPr>
        <p:spPr bwMode="auto">
          <a:xfrm>
            <a:off x="9425815" y="6301618"/>
            <a:ext cx="136494" cy="192844"/>
          </a:xfrm>
          <a:custGeom>
            <a:avLst/>
            <a:gdLst>
              <a:gd name="T0" fmla="*/ 58 w 264"/>
              <a:gd name="T1" fmla="*/ 17 h 369"/>
              <a:gd name="T2" fmla="*/ 108 w 264"/>
              <a:gd name="T3" fmla="*/ 369 h 369"/>
              <a:gd name="T4" fmla="*/ 87 w 264"/>
              <a:gd name="T5" fmla="*/ 347 h 369"/>
              <a:gd name="T6" fmla="*/ 46 w 264"/>
              <a:gd name="T7" fmla="*/ 96 h 369"/>
              <a:gd name="T8" fmla="*/ 58 w 264"/>
              <a:gd name="T9" fmla="*/ 17 h 3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4" h="369">
                <a:moveTo>
                  <a:pt x="58" y="17"/>
                </a:moveTo>
                <a:cubicBezTo>
                  <a:pt x="264" y="140"/>
                  <a:pt x="211" y="296"/>
                  <a:pt x="108" y="369"/>
                </a:cubicBezTo>
                <a:cubicBezTo>
                  <a:pt x="87" y="347"/>
                  <a:pt x="87" y="347"/>
                  <a:pt x="87" y="347"/>
                </a:cubicBezTo>
                <a:cubicBezTo>
                  <a:pt x="172" y="260"/>
                  <a:pt x="183" y="180"/>
                  <a:pt x="46" y="96"/>
                </a:cubicBezTo>
                <a:cubicBezTo>
                  <a:pt x="0" y="68"/>
                  <a:pt x="28" y="0"/>
                  <a:pt x="58" y="1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5" name="Freeform 937">
            <a:extLst>
              <a:ext uri="{FF2B5EF4-FFF2-40B4-BE49-F238E27FC236}">
                <a16:creationId xmlns:a16="http://schemas.microsoft.com/office/drawing/2014/main" id="{278936CA-EBB4-4DA6-A460-16F27385D899}"/>
              </a:ext>
            </a:extLst>
          </p:cNvPr>
          <p:cNvSpPr>
            <a:spLocks/>
          </p:cNvSpPr>
          <p:nvPr/>
        </p:nvSpPr>
        <p:spPr bwMode="auto">
          <a:xfrm>
            <a:off x="9433329" y="6413067"/>
            <a:ext cx="122719" cy="122719"/>
          </a:xfrm>
          <a:custGeom>
            <a:avLst/>
            <a:gdLst>
              <a:gd name="T0" fmla="*/ 98 w 98"/>
              <a:gd name="T1" fmla="*/ 53 h 98"/>
              <a:gd name="T2" fmla="*/ 54 w 98"/>
              <a:gd name="T3" fmla="*/ 98 h 98"/>
              <a:gd name="T4" fmla="*/ 0 w 98"/>
              <a:gd name="T5" fmla="*/ 44 h 98"/>
              <a:gd name="T6" fmla="*/ 44 w 98"/>
              <a:gd name="T7" fmla="*/ 0 h 98"/>
              <a:gd name="T8" fmla="*/ 98 w 98"/>
              <a:gd name="T9" fmla="*/ 5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8" h="98">
                <a:moveTo>
                  <a:pt x="98" y="53"/>
                </a:moveTo>
                <a:lnTo>
                  <a:pt x="54" y="98"/>
                </a:lnTo>
                <a:lnTo>
                  <a:pt x="0" y="44"/>
                </a:lnTo>
                <a:lnTo>
                  <a:pt x="44" y="0"/>
                </a:lnTo>
                <a:lnTo>
                  <a:pt x="98" y="5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Freeform 938">
            <a:extLst>
              <a:ext uri="{FF2B5EF4-FFF2-40B4-BE49-F238E27FC236}">
                <a16:creationId xmlns:a16="http://schemas.microsoft.com/office/drawing/2014/main" id="{7928FD57-FA3E-4485-B1F0-81B3675CF77F}"/>
              </a:ext>
            </a:extLst>
          </p:cNvPr>
          <p:cNvSpPr>
            <a:spLocks/>
          </p:cNvSpPr>
          <p:nvPr/>
        </p:nvSpPr>
        <p:spPr bwMode="auto">
          <a:xfrm>
            <a:off x="9445851" y="6424337"/>
            <a:ext cx="97674" cy="98927"/>
          </a:xfrm>
          <a:custGeom>
            <a:avLst/>
            <a:gdLst>
              <a:gd name="T0" fmla="*/ 44 w 78"/>
              <a:gd name="T1" fmla="*/ 79 h 79"/>
              <a:gd name="T2" fmla="*/ 0 w 78"/>
              <a:gd name="T3" fmla="*/ 35 h 79"/>
              <a:gd name="T4" fmla="*/ 34 w 78"/>
              <a:gd name="T5" fmla="*/ 0 h 79"/>
              <a:gd name="T6" fmla="*/ 78 w 78"/>
              <a:gd name="T7" fmla="*/ 44 h 79"/>
              <a:gd name="T8" fmla="*/ 44 w 78"/>
              <a:gd name="T9" fmla="*/ 79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8" h="79">
                <a:moveTo>
                  <a:pt x="44" y="79"/>
                </a:moveTo>
                <a:lnTo>
                  <a:pt x="0" y="35"/>
                </a:lnTo>
                <a:lnTo>
                  <a:pt x="34" y="0"/>
                </a:lnTo>
                <a:lnTo>
                  <a:pt x="78" y="44"/>
                </a:lnTo>
                <a:lnTo>
                  <a:pt x="44" y="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Freeform 939">
            <a:extLst>
              <a:ext uri="{FF2B5EF4-FFF2-40B4-BE49-F238E27FC236}">
                <a16:creationId xmlns:a16="http://schemas.microsoft.com/office/drawing/2014/main" id="{F90D17BD-5F1B-4D71-964E-720FDEA243D0}"/>
              </a:ext>
            </a:extLst>
          </p:cNvPr>
          <p:cNvSpPr>
            <a:spLocks/>
          </p:cNvSpPr>
          <p:nvPr/>
        </p:nvSpPr>
        <p:spPr bwMode="auto">
          <a:xfrm>
            <a:off x="9445851" y="6424337"/>
            <a:ext cx="36315" cy="38820"/>
          </a:xfrm>
          <a:custGeom>
            <a:avLst/>
            <a:gdLst>
              <a:gd name="T0" fmla="*/ 10 w 29"/>
              <a:gd name="T1" fmla="*/ 31 h 31"/>
              <a:gd name="T2" fmla="*/ 0 w 29"/>
              <a:gd name="T3" fmla="*/ 20 h 31"/>
              <a:gd name="T4" fmla="*/ 19 w 29"/>
              <a:gd name="T5" fmla="*/ 0 h 31"/>
              <a:gd name="T6" fmla="*/ 29 w 29"/>
              <a:gd name="T7" fmla="*/ 10 h 31"/>
              <a:gd name="T8" fmla="*/ 10 w 29"/>
              <a:gd name="T9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" h="31">
                <a:moveTo>
                  <a:pt x="10" y="31"/>
                </a:moveTo>
                <a:lnTo>
                  <a:pt x="0" y="20"/>
                </a:lnTo>
                <a:lnTo>
                  <a:pt x="19" y="0"/>
                </a:lnTo>
                <a:lnTo>
                  <a:pt x="29" y="10"/>
                </a:lnTo>
                <a:lnTo>
                  <a:pt x="10" y="31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Freeform 940">
            <a:extLst>
              <a:ext uri="{FF2B5EF4-FFF2-40B4-BE49-F238E27FC236}">
                <a16:creationId xmlns:a16="http://schemas.microsoft.com/office/drawing/2014/main" id="{D9F3E388-5793-43D1-83E9-9F21AB2DA730}"/>
              </a:ext>
            </a:extLst>
          </p:cNvPr>
          <p:cNvSpPr>
            <a:spLocks/>
          </p:cNvSpPr>
          <p:nvPr/>
        </p:nvSpPr>
        <p:spPr bwMode="auto">
          <a:xfrm>
            <a:off x="9465887" y="6445625"/>
            <a:ext cx="36315" cy="36315"/>
          </a:xfrm>
          <a:custGeom>
            <a:avLst/>
            <a:gdLst>
              <a:gd name="T0" fmla="*/ 3 w 29"/>
              <a:gd name="T1" fmla="*/ 29 h 29"/>
              <a:gd name="T2" fmla="*/ 0 w 29"/>
              <a:gd name="T3" fmla="*/ 26 h 29"/>
              <a:gd name="T4" fmla="*/ 26 w 29"/>
              <a:gd name="T5" fmla="*/ 0 h 29"/>
              <a:gd name="T6" fmla="*/ 29 w 29"/>
              <a:gd name="T7" fmla="*/ 3 h 29"/>
              <a:gd name="T8" fmla="*/ 3 w 29"/>
              <a:gd name="T9" fmla="*/ 2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" h="29">
                <a:moveTo>
                  <a:pt x="3" y="29"/>
                </a:moveTo>
                <a:lnTo>
                  <a:pt x="0" y="26"/>
                </a:lnTo>
                <a:lnTo>
                  <a:pt x="26" y="0"/>
                </a:lnTo>
                <a:lnTo>
                  <a:pt x="29" y="3"/>
                </a:lnTo>
                <a:lnTo>
                  <a:pt x="3" y="29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9" name="Freeform 941">
            <a:extLst>
              <a:ext uri="{FF2B5EF4-FFF2-40B4-BE49-F238E27FC236}">
                <a16:creationId xmlns:a16="http://schemas.microsoft.com/office/drawing/2014/main" id="{BD7548DB-C0C8-4E7F-8CD1-055D04C28B39}"/>
              </a:ext>
            </a:extLst>
          </p:cNvPr>
          <p:cNvSpPr>
            <a:spLocks/>
          </p:cNvSpPr>
          <p:nvPr/>
        </p:nvSpPr>
        <p:spPr bwMode="auto">
          <a:xfrm>
            <a:off x="9478409" y="6458147"/>
            <a:ext cx="36315" cy="36315"/>
          </a:xfrm>
          <a:custGeom>
            <a:avLst/>
            <a:gdLst>
              <a:gd name="T0" fmla="*/ 3 w 29"/>
              <a:gd name="T1" fmla="*/ 29 h 29"/>
              <a:gd name="T2" fmla="*/ 0 w 29"/>
              <a:gd name="T3" fmla="*/ 26 h 29"/>
              <a:gd name="T4" fmla="*/ 26 w 29"/>
              <a:gd name="T5" fmla="*/ 0 h 29"/>
              <a:gd name="T6" fmla="*/ 29 w 29"/>
              <a:gd name="T7" fmla="*/ 3 h 29"/>
              <a:gd name="T8" fmla="*/ 3 w 29"/>
              <a:gd name="T9" fmla="*/ 2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" h="29">
                <a:moveTo>
                  <a:pt x="3" y="29"/>
                </a:moveTo>
                <a:lnTo>
                  <a:pt x="0" y="26"/>
                </a:lnTo>
                <a:lnTo>
                  <a:pt x="26" y="0"/>
                </a:lnTo>
                <a:lnTo>
                  <a:pt x="29" y="3"/>
                </a:lnTo>
                <a:lnTo>
                  <a:pt x="3" y="29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Freeform 942">
            <a:extLst>
              <a:ext uri="{FF2B5EF4-FFF2-40B4-BE49-F238E27FC236}">
                <a16:creationId xmlns:a16="http://schemas.microsoft.com/office/drawing/2014/main" id="{E627D434-B43F-4065-9E32-9A2D30D8E161}"/>
              </a:ext>
            </a:extLst>
          </p:cNvPr>
          <p:cNvSpPr>
            <a:spLocks/>
          </p:cNvSpPr>
          <p:nvPr/>
        </p:nvSpPr>
        <p:spPr bwMode="auto">
          <a:xfrm>
            <a:off x="9490932" y="6470670"/>
            <a:ext cx="36315" cy="37567"/>
          </a:xfrm>
          <a:custGeom>
            <a:avLst/>
            <a:gdLst>
              <a:gd name="T0" fmla="*/ 3 w 29"/>
              <a:gd name="T1" fmla="*/ 30 h 30"/>
              <a:gd name="T2" fmla="*/ 0 w 29"/>
              <a:gd name="T3" fmla="*/ 26 h 30"/>
              <a:gd name="T4" fmla="*/ 26 w 29"/>
              <a:gd name="T5" fmla="*/ 0 h 30"/>
              <a:gd name="T6" fmla="*/ 29 w 29"/>
              <a:gd name="T7" fmla="*/ 3 h 30"/>
              <a:gd name="T8" fmla="*/ 3 w 29"/>
              <a:gd name="T9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" h="30">
                <a:moveTo>
                  <a:pt x="3" y="30"/>
                </a:moveTo>
                <a:lnTo>
                  <a:pt x="0" y="26"/>
                </a:lnTo>
                <a:lnTo>
                  <a:pt x="26" y="0"/>
                </a:lnTo>
                <a:lnTo>
                  <a:pt x="29" y="3"/>
                </a:lnTo>
                <a:lnTo>
                  <a:pt x="3" y="3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1" name="Freeform 943">
            <a:extLst>
              <a:ext uri="{FF2B5EF4-FFF2-40B4-BE49-F238E27FC236}">
                <a16:creationId xmlns:a16="http://schemas.microsoft.com/office/drawing/2014/main" id="{1F4F8850-D156-4F29-9356-274624FA8AD7}"/>
              </a:ext>
            </a:extLst>
          </p:cNvPr>
          <p:cNvSpPr>
            <a:spLocks/>
          </p:cNvSpPr>
          <p:nvPr/>
        </p:nvSpPr>
        <p:spPr bwMode="auto">
          <a:xfrm>
            <a:off x="9465887" y="6500723"/>
            <a:ext cx="10018" cy="10018"/>
          </a:xfrm>
          <a:custGeom>
            <a:avLst/>
            <a:gdLst>
              <a:gd name="T0" fmla="*/ 8 w 18"/>
              <a:gd name="T1" fmla="*/ 16 h 18"/>
              <a:gd name="T2" fmla="*/ 2 w 18"/>
              <a:gd name="T3" fmla="*/ 17 h 18"/>
              <a:gd name="T4" fmla="*/ 2 w 18"/>
              <a:gd name="T5" fmla="*/ 10 h 18"/>
              <a:gd name="T6" fmla="*/ 11 w 18"/>
              <a:gd name="T7" fmla="*/ 1 h 18"/>
              <a:gd name="T8" fmla="*/ 17 w 18"/>
              <a:gd name="T9" fmla="*/ 1 h 18"/>
              <a:gd name="T10" fmla="*/ 17 w 18"/>
              <a:gd name="T11" fmla="*/ 8 h 18"/>
              <a:gd name="T12" fmla="*/ 8 w 18"/>
              <a:gd name="T13" fmla="*/ 16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" h="18">
                <a:moveTo>
                  <a:pt x="8" y="16"/>
                </a:moveTo>
                <a:cubicBezTo>
                  <a:pt x="6" y="18"/>
                  <a:pt x="3" y="18"/>
                  <a:pt x="2" y="17"/>
                </a:cubicBezTo>
                <a:cubicBezTo>
                  <a:pt x="0" y="15"/>
                  <a:pt x="0" y="12"/>
                  <a:pt x="2" y="10"/>
                </a:cubicBezTo>
                <a:cubicBezTo>
                  <a:pt x="11" y="1"/>
                  <a:pt x="11" y="1"/>
                  <a:pt x="11" y="1"/>
                </a:cubicBezTo>
                <a:cubicBezTo>
                  <a:pt x="12" y="0"/>
                  <a:pt x="15" y="0"/>
                  <a:pt x="17" y="1"/>
                </a:cubicBezTo>
                <a:cubicBezTo>
                  <a:pt x="18" y="3"/>
                  <a:pt x="18" y="6"/>
                  <a:pt x="17" y="8"/>
                </a:cubicBezTo>
                <a:lnTo>
                  <a:pt x="8" y="16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2" name="Freeform 944">
            <a:extLst>
              <a:ext uri="{FF2B5EF4-FFF2-40B4-BE49-F238E27FC236}">
                <a16:creationId xmlns:a16="http://schemas.microsoft.com/office/drawing/2014/main" id="{A9E8C7C2-B3EF-47C9-AF98-EAA984F3CD4F}"/>
              </a:ext>
            </a:extLst>
          </p:cNvPr>
          <p:cNvSpPr>
            <a:spLocks/>
          </p:cNvSpPr>
          <p:nvPr/>
        </p:nvSpPr>
        <p:spPr bwMode="auto">
          <a:xfrm>
            <a:off x="9454616" y="6489453"/>
            <a:ext cx="10018" cy="8766"/>
          </a:xfrm>
          <a:custGeom>
            <a:avLst/>
            <a:gdLst>
              <a:gd name="T0" fmla="*/ 8 w 19"/>
              <a:gd name="T1" fmla="*/ 17 h 19"/>
              <a:gd name="T2" fmla="*/ 2 w 19"/>
              <a:gd name="T3" fmla="*/ 17 h 19"/>
              <a:gd name="T4" fmla="*/ 2 w 19"/>
              <a:gd name="T5" fmla="*/ 11 h 19"/>
              <a:gd name="T6" fmla="*/ 11 w 19"/>
              <a:gd name="T7" fmla="*/ 2 h 19"/>
              <a:gd name="T8" fmla="*/ 17 w 19"/>
              <a:gd name="T9" fmla="*/ 2 h 19"/>
              <a:gd name="T10" fmla="*/ 17 w 19"/>
              <a:gd name="T11" fmla="*/ 8 h 19"/>
              <a:gd name="T12" fmla="*/ 8 w 19"/>
              <a:gd name="T13" fmla="*/ 17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" h="19">
                <a:moveTo>
                  <a:pt x="8" y="17"/>
                </a:moveTo>
                <a:cubicBezTo>
                  <a:pt x="6" y="19"/>
                  <a:pt x="4" y="19"/>
                  <a:pt x="2" y="17"/>
                </a:cubicBezTo>
                <a:cubicBezTo>
                  <a:pt x="0" y="15"/>
                  <a:pt x="0" y="13"/>
                  <a:pt x="2" y="11"/>
                </a:cubicBezTo>
                <a:cubicBezTo>
                  <a:pt x="11" y="2"/>
                  <a:pt x="11" y="2"/>
                  <a:pt x="11" y="2"/>
                </a:cubicBezTo>
                <a:cubicBezTo>
                  <a:pt x="13" y="0"/>
                  <a:pt x="15" y="0"/>
                  <a:pt x="17" y="2"/>
                </a:cubicBezTo>
                <a:cubicBezTo>
                  <a:pt x="19" y="4"/>
                  <a:pt x="19" y="6"/>
                  <a:pt x="17" y="8"/>
                </a:cubicBezTo>
                <a:lnTo>
                  <a:pt x="8" y="17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3" name="Freeform 945">
            <a:extLst>
              <a:ext uri="{FF2B5EF4-FFF2-40B4-BE49-F238E27FC236}">
                <a16:creationId xmlns:a16="http://schemas.microsoft.com/office/drawing/2014/main" id="{E9A7472E-59AD-476B-A579-1EC36E82010C}"/>
              </a:ext>
            </a:extLst>
          </p:cNvPr>
          <p:cNvSpPr>
            <a:spLocks/>
          </p:cNvSpPr>
          <p:nvPr/>
        </p:nvSpPr>
        <p:spPr bwMode="auto">
          <a:xfrm>
            <a:off x="9458373" y="6493210"/>
            <a:ext cx="8766" cy="8766"/>
          </a:xfrm>
          <a:custGeom>
            <a:avLst/>
            <a:gdLst>
              <a:gd name="T0" fmla="*/ 8 w 18"/>
              <a:gd name="T1" fmla="*/ 17 h 18"/>
              <a:gd name="T2" fmla="*/ 2 w 18"/>
              <a:gd name="T3" fmla="*/ 17 h 18"/>
              <a:gd name="T4" fmla="*/ 2 w 18"/>
              <a:gd name="T5" fmla="*/ 10 h 18"/>
              <a:gd name="T6" fmla="*/ 10 w 18"/>
              <a:gd name="T7" fmla="*/ 1 h 18"/>
              <a:gd name="T8" fmla="*/ 17 w 18"/>
              <a:gd name="T9" fmla="*/ 1 h 18"/>
              <a:gd name="T10" fmla="*/ 17 w 18"/>
              <a:gd name="T11" fmla="*/ 8 h 18"/>
              <a:gd name="T12" fmla="*/ 8 w 18"/>
              <a:gd name="T13" fmla="*/ 17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" h="18">
                <a:moveTo>
                  <a:pt x="8" y="17"/>
                </a:moveTo>
                <a:cubicBezTo>
                  <a:pt x="6" y="18"/>
                  <a:pt x="3" y="18"/>
                  <a:pt x="2" y="17"/>
                </a:cubicBezTo>
                <a:cubicBezTo>
                  <a:pt x="0" y="15"/>
                  <a:pt x="0" y="12"/>
                  <a:pt x="2" y="10"/>
                </a:cubicBezTo>
                <a:cubicBezTo>
                  <a:pt x="10" y="1"/>
                  <a:pt x="10" y="1"/>
                  <a:pt x="10" y="1"/>
                </a:cubicBezTo>
                <a:cubicBezTo>
                  <a:pt x="12" y="0"/>
                  <a:pt x="15" y="0"/>
                  <a:pt x="17" y="1"/>
                </a:cubicBezTo>
                <a:cubicBezTo>
                  <a:pt x="18" y="3"/>
                  <a:pt x="18" y="6"/>
                  <a:pt x="17" y="8"/>
                </a:cubicBezTo>
                <a:lnTo>
                  <a:pt x="8" y="17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4" name="Freeform 946">
            <a:extLst>
              <a:ext uri="{FF2B5EF4-FFF2-40B4-BE49-F238E27FC236}">
                <a16:creationId xmlns:a16="http://schemas.microsoft.com/office/drawing/2014/main" id="{A1437494-1A04-4B65-A0D9-74730AB0043E}"/>
              </a:ext>
            </a:extLst>
          </p:cNvPr>
          <p:cNvSpPr>
            <a:spLocks/>
          </p:cNvSpPr>
          <p:nvPr/>
        </p:nvSpPr>
        <p:spPr bwMode="auto">
          <a:xfrm>
            <a:off x="9462130" y="6496966"/>
            <a:ext cx="10018" cy="10018"/>
          </a:xfrm>
          <a:custGeom>
            <a:avLst/>
            <a:gdLst>
              <a:gd name="T0" fmla="*/ 8 w 19"/>
              <a:gd name="T1" fmla="*/ 17 h 19"/>
              <a:gd name="T2" fmla="*/ 2 w 19"/>
              <a:gd name="T3" fmla="*/ 17 h 19"/>
              <a:gd name="T4" fmla="*/ 2 w 19"/>
              <a:gd name="T5" fmla="*/ 11 h 19"/>
              <a:gd name="T6" fmla="*/ 11 w 19"/>
              <a:gd name="T7" fmla="*/ 2 h 19"/>
              <a:gd name="T8" fmla="*/ 17 w 19"/>
              <a:gd name="T9" fmla="*/ 2 h 19"/>
              <a:gd name="T10" fmla="*/ 17 w 19"/>
              <a:gd name="T11" fmla="*/ 8 h 19"/>
              <a:gd name="T12" fmla="*/ 8 w 19"/>
              <a:gd name="T13" fmla="*/ 17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" h="19">
                <a:moveTo>
                  <a:pt x="8" y="17"/>
                </a:moveTo>
                <a:cubicBezTo>
                  <a:pt x="7" y="19"/>
                  <a:pt x="4" y="19"/>
                  <a:pt x="2" y="17"/>
                </a:cubicBezTo>
                <a:cubicBezTo>
                  <a:pt x="0" y="15"/>
                  <a:pt x="0" y="13"/>
                  <a:pt x="2" y="11"/>
                </a:cubicBezTo>
                <a:cubicBezTo>
                  <a:pt x="11" y="2"/>
                  <a:pt x="11" y="2"/>
                  <a:pt x="11" y="2"/>
                </a:cubicBezTo>
                <a:cubicBezTo>
                  <a:pt x="13" y="0"/>
                  <a:pt x="15" y="0"/>
                  <a:pt x="17" y="2"/>
                </a:cubicBezTo>
                <a:cubicBezTo>
                  <a:pt x="19" y="4"/>
                  <a:pt x="19" y="6"/>
                  <a:pt x="17" y="8"/>
                </a:cubicBezTo>
                <a:lnTo>
                  <a:pt x="8" y="17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5" name="Freeform 947">
            <a:extLst>
              <a:ext uri="{FF2B5EF4-FFF2-40B4-BE49-F238E27FC236}">
                <a16:creationId xmlns:a16="http://schemas.microsoft.com/office/drawing/2014/main" id="{F6281454-4FC7-40B8-8EB0-2D8619A6C086}"/>
              </a:ext>
            </a:extLst>
          </p:cNvPr>
          <p:cNvSpPr>
            <a:spLocks/>
          </p:cNvSpPr>
          <p:nvPr/>
        </p:nvSpPr>
        <p:spPr bwMode="auto">
          <a:xfrm>
            <a:off x="9354438" y="6726125"/>
            <a:ext cx="42576" cy="12522"/>
          </a:xfrm>
          <a:custGeom>
            <a:avLst/>
            <a:gdLst>
              <a:gd name="T0" fmla="*/ 49 w 81"/>
              <a:gd name="T1" fmla="*/ 0 h 26"/>
              <a:gd name="T2" fmla="*/ 23 w 81"/>
              <a:gd name="T3" fmla="*/ 7 h 26"/>
              <a:gd name="T4" fmla="*/ 12 w 81"/>
              <a:gd name="T5" fmla="*/ 18 h 26"/>
              <a:gd name="T6" fmla="*/ 59 w 81"/>
              <a:gd name="T7" fmla="*/ 16 h 26"/>
              <a:gd name="T8" fmla="*/ 59 w 81"/>
              <a:gd name="T9" fmla="*/ 22 h 26"/>
              <a:gd name="T10" fmla="*/ 81 w 81"/>
              <a:gd name="T11" fmla="*/ 22 h 26"/>
              <a:gd name="T12" fmla="*/ 78 w 81"/>
              <a:gd name="T13" fmla="*/ 0 h 26"/>
              <a:gd name="T14" fmla="*/ 49 w 81"/>
              <a:gd name="T15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1" h="26">
                <a:moveTo>
                  <a:pt x="49" y="0"/>
                </a:moveTo>
                <a:cubicBezTo>
                  <a:pt x="46" y="5"/>
                  <a:pt x="30" y="11"/>
                  <a:pt x="23" y="7"/>
                </a:cubicBezTo>
                <a:cubicBezTo>
                  <a:pt x="15" y="3"/>
                  <a:pt x="0" y="10"/>
                  <a:pt x="12" y="18"/>
                </a:cubicBezTo>
                <a:cubicBezTo>
                  <a:pt x="25" y="26"/>
                  <a:pt x="53" y="23"/>
                  <a:pt x="59" y="16"/>
                </a:cubicBezTo>
                <a:cubicBezTo>
                  <a:pt x="59" y="19"/>
                  <a:pt x="59" y="22"/>
                  <a:pt x="59" y="22"/>
                </a:cubicBezTo>
                <a:cubicBezTo>
                  <a:pt x="81" y="22"/>
                  <a:pt x="81" y="22"/>
                  <a:pt x="81" y="22"/>
                </a:cubicBezTo>
                <a:cubicBezTo>
                  <a:pt x="78" y="0"/>
                  <a:pt x="78" y="0"/>
                  <a:pt x="78" y="0"/>
                </a:cubicBezTo>
                <a:lnTo>
                  <a:pt x="49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6" name="Freeform 948">
            <a:extLst>
              <a:ext uri="{FF2B5EF4-FFF2-40B4-BE49-F238E27FC236}">
                <a16:creationId xmlns:a16="http://schemas.microsoft.com/office/drawing/2014/main" id="{CB15A5AE-1C3D-43E0-A08C-656FBEE53B98}"/>
              </a:ext>
            </a:extLst>
          </p:cNvPr>
          <p:cNvSpPr>
            <a:spLocks/>
          </p:cNvSpPr>
          <p:nvPr/>
        </p:nvSpPr>
        <p:spPr bwMode="auto">
          <a:xfrm>
            <a:off x="9375726" y="6479435"/>
            <a:ext cx="70125" cy="237924"/>
          </a:xfrm>
          <a:custGeom>
            <a:avLst/>
            <a:gdLst>
              <a:gd name="T0" fmla="*/ 7 w 136"/>
              <a:gd name="T1" fmla="*/ 80 h 458"/>
              <a:gd name="T2" fmla="*/ 117 w 136"/>
              <a:gd name="T3" fmla="*/ 80 h 458"/>
              <a:gd name="T4" fmla="*/ 36 w 136"/>
              <a:gd name="T5" fmla="*/ 458 h 458"/>
              <a:gd name="T6" fmla="*/ 10 w 136"/>
              <a:gd name="T7" fmla="*/ 458 h 458"/>
              <a:gd name="T8" fmla="*/ 7 w 136"/>
              <a:gd name="T9" fmla="*/ 80 h 4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6" h="458">
                <a:moveTo>
                  <a:pt x="7" y="80"/>
                </a:moveTo>
                <a:cubicBezTo>
                  <a:pt x="13" y="0"/>
                  <a:pt x="136" y="2"/>
                  <a:pt x="117" y="80"/>
                </a:cubicBezTo>
                <a:cubicBezTo>
                  <a:pt x="88" y="196"/>
                  <a:pt x="58" y="327"/>
                  <a:pt x="36" y="458"/>
                </a:cubicBezTo>
                <a:cubicBezTo>
                  <a:pt x="10" y="458"/>
                  <a:pt x="10" y="458"/>
                  <a:pt x="10" y="458"/>
                </a:cubicBezTo>
                <a:cubicBezTo>
                  <a:pt x="16" y="331"/>
                  <a:pt x="0" y="179"/>
                  <a:pt x="7" y="8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7" name="Freeform 949">
            <a:extLst>
              <a:ext uri="{FF2B5EF4-FFF2-40B4-BE49-F238E27FC236}">
                <a16:creationId xmlns:a16="http://schemas.microsoft.com/office/drawing/2014/main" id="{34BD0EC8-AD58-4643-99BF-0FE7664D8010}"/>
              </a:ext>
            </a:extLst>
          </p:cNvPr>
          <p:cNvSpPr>
            <a:spLocks/>
          </p:cNvSpPr>
          <p:nvPr/>
        </p:nvSpPr>
        <p:spPr bwMode="auto">
          <a:xfrm>
            <a:off x="9444598" y="6726125"/>
            <a:ext cx="42576" cy="12522"/>
          </a:xfrm>
          <a:custGeom>
            <a:avLst/>
            <a:gdLst>
              <a:gd name="T0" fmla="*/ 50 w 81"/>
              <a:gd name="T1" fmla="*/ 0 h 26"/>
              <a:gd name="T2" fmla="*/ 23 w 81"/>
              <a:gd name="T3" fmla="*/ 7 h 26"/>
              <a:gd name="T4" fmla="*/ 13 w 81"/>
              <a:gd name="T5" fmla="*/ 18 h 26"/>
              <a:gd name="T6" fmla="*/ 59 w 81"/>
              <a:gd name="T7" fmla="*/ 16 h 26"/>
              <a:gd name="T8" fmla="*/ 59 w 81"/>
              <a:gd name="T9" fmla="*/ 22 h 26"/>
              <a:gd name="T10" fmla="*/ 81 w 81"/>
              <a:gd name="T11" fmla="*/ 22 h 26"/>
              <a:gd name="T12" fmla="*/ 79 w 81"/>
              <a:gd name="T13" fmla="*/ 0 h 26"/>
              <a:gd name="T14" fmla="*/ 50 w 81"/>
              <a:gd name="T15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1" h="26">
                <a:moveTo>
                  <a:pt x="50" y="0"/>
                </a:moveTo>
                <a:cubicBezTo>
                  <a:pt x="47" y="5"/>
                  <a:pt x="31" y="11"/>
                  <a:pt x="23" y="7"/>
                </a:cubicBezTo>
                <a:cubicBezTo>
                  <a:pt x="16" y="3"/>
                  <a:pt x="0" y="10"/>
                  <a:pt x="13" y="18"/>
                </a:cubicBezTo>
                <a:cubicBezTo>
                  <a:pt x="26" y="26"/>
                  <a:pt x="54" y="23"/>
                  <a:pt x="59" y="16"/>
                </a:cubicBezTo>
                <a:cubicBezTo>
                  <a:pt x="59" y="19"/>
                  <a:pt x="59" y="22"/>
                  <a:pt x="59" y="22"/>
                </a:cubicBezTo>
                <a:cubicBezTo>
                  <a:pt x="81" y="22"/>
                  <a:pt x="81" y="22"/>
                  <a:pt x="81" y="22"/>
                </a:cubicBezTo>
                <a:cubicBezTo>
                  <a:pt x="79" y="0"/>
                  <a:pt x="79" y="0"/>
                  <a:pt x="79" y="0"/>
                </a:cubicBezTo>
                <a:lnTo>
                  <a:pt x="50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8" name="Freeform 950">
            <a:extLst>
              <a:ext uri="{FF2B5EF4-FFF2-40B4-BE49-F238E27FC236}">
                <a16:creationId xmlns:a16="http://schemas.microsoft.com/office/drawing/2014/main" id="{67D0F80C-4425-4946-8D9A-0AF1F8E5EE74}"/>
              </a:ext>
            </a:extLst>
          </p:cNvPr>
          <p:cNvSpPr>
            <a:spLocks/>
          </p:cNvSpPr>
          <p:nvPr/>
        </p:nvSpPr>
        <p:spPr bwMode="auto">
          <a:xfrm>
            <a:off x="9427067" y="6476930"/>
            <a:ext cx="62612" cy="240429"/>
          </a:xfrm>
          <a:custGeom>
            <a:avLst/>
            <a:gdLst>
              <a:gd name="T0" fmla="*/ 7 w 122"/>
              <a:gd name="T1" fmla="*/ 83 h 461"/>
              <a:gd name="T2" fmla="*/ 113 w 122"/>
              <a:gd name="T3" fmla="*/ 80 h 461"/>
              <a:gd name="T4" fmla="*/ 113 w 122"/>
              <a:gd name="T5" fmla="*/ 461 h 461"/>
              <a:gd name="T6" fmla="*/ 86 w 122"/>
              <a:gd name="T7" fmla="*/ 461 h 461"/>
              <a:gd name="T8" fmla="*/ 7 w 122"/>
              <a:gd name="T9" fmla="*/ 83 h 4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2" h="461">
                <a:moveTo>
                  <a:pt x="7" y="83"/>
                </a:moveTo>
                <a:cubicBezTo>
                  <a:pt x="13" y="3"/>
                  <a:pt x="122" y="0"/>
                  <a:pt x="113" y="80"/>
                </a:cubicBezTo>
                <a:cubicBezTo>
                  <a:pt x="100" y="203"/>
                  <a:pt x="110" y="312"/>
                  <a:pt x="113" y="461"/>
                </a:cubicBezTo>
                <a:cubicBezTo>
                  <a:pt x="86" y="461"/>
                  <a:pt x="86" y="461"/>
                  <a:pt x="86" y="461"/>
                </a:cubicBezTo>
                <a:cubicBezTo>
                  <a:pt x="60" y="317"/>
                  <a:pt x="0" y="182"/>
                  <a:pt x="7" y="83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9" name="Freeform 951">
            <a:extLst>
              <a:ext uri="{FF2B5EF4-FFF2-40B4-BE49-F238E27FC236}">
                <a16:creationId xmlns:a16="http://schemas.microsoft.com/office/drawing/2014/main" id="{17880F5F-F774-4B76-888D-ED99D130D601}"/>
              </a:ext>
            </a:extLst>
          </p:cNvPr>
          <p:cNvSpPr>
            <a:spLocks/>
          </p:cNvSpPr>
          <p:nvPr/>
        </p:nvSpPr>
        <p:spPr bwMode="auto">
          <a:xfrm>
            <a:off x="9239232" y="6340437"/>
            <a:ext cx="179070" cy="320572"/>
          </a:xfrm>
          <a:custGeom>
            <a:avLst/>
            <a:gdLst>
              <a:gd name="T0" fmla="*/ 213 w 344"/>
              <a:gd name="T1" fmla="*/ 0 h 618"/>
              <a:gd name="T2" fmla="*/ 195 w 344"/>
              <a:gd name="T3" fmla="*/ 0 h 618"/>
              <a:gd name="T4" fmla="*/ 175 w 344"/>
              <a:gd name="T5" fmla="*/ 57 h 618"/>
              <a:gd name="T6" fmla="*/ 67 w 344"/>
              <a:gd name="T7" fmla="*/ 223 h 618"/>
              <a:gd name="T8" fmla="*/ 67 w 344"/>
              <a:gd name="T9" fmla="*/ 223 h 618"/>
              <a:gd name="T10" fmla="*/ 22 w 344"/>
              <a:gd name="T11" fmla="*/ 205 h 618"/>
              <a:gd name="T12" fmla="*/ 18 w 344"/>
              <a:gd name="T13" fmla="*/ 203 h 618"/>
              <a:gd name="T14" fmla="*/ 0 w 344"/>
              <a:gd name="T15" fmla="*/ 232 h 618"/>
              <a:gd name="T16" fmla="*/ 2 w 344"/>
              <a:gd name="T17" fmla="*/ 234 h 618"/>
              <a:gd name="T18" fmla="*/ 77 w 344"/>
              <a:gd name="T19" fmla="*/ 274 h 618"/>
              <a:gd name="T20" fmla="*/ 215 w 344"/>
              <a:gd name="T21" fmla="*/ 148 h 618"/>
              <a:gd name="T22" fmla="*/ 244 w 344"/>
              <a:gd name="T23" fmla="*/ 614 h 618"/>
              <a:gd name="T24" fmla="*/ 244 w 344"/>
              <a:gd name="T25" fmla="*/ 618 h 618"/>
              <a:gd name="T26" fmla="*/ 344 w 344"/>
              <a:gd name="T27" fmla="*/ 618 h 618"/>
              <a:gd name="T28" fmla="*/ 344 w 344"/>
              <a:gd name="T29" fmla="*/ 301 h 618"/>
              <a:gd name="T30" fmla="*/ 213 w 344"/>
              <a:gd name="T31" fmla="*/ 0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44" h="618">
                <a:moveTo>
                  <a:pt x="213" y="0"/>
                </a:moveTo>
                <a:cubicBezTo>
                  <a:pt x="195" y="0"/>
                  <a:pt x="195" y="0"/>
                  <a:pt x="195" y="0"/>
                </a:cubicBezTo>
                <a:cubicBezTo>
                  <a:pt x="188" y="15"/>
                  <a:pt x="182" y="35"/>
                  <a:pt x="175" y="57"/>
                </a:cubicBezTo>
                <a:cubicBezTo>
                  <a:pt x="153" y="127"/>
                  <a:pt x="123" y="223"/>
                  <a:pt x="67" y="223"/>
                </a:cubicBezTo>
                <a:cubicBezTo>
                  <a:pt x="67" y="223"/>
                  <a:pt x="67" y="223"/>
                  <a:pt x="67" y="223"/>
                </a:cubicBezTo>
                <a:cubicBezTo>
                  <a:pt x="54" y="223"/>
                  <a:pt x="38" y="217"/>
                  <a:pt x="22" y="205"/>
                </a:cubicBezTo>
                <a:cubicBezTo>
                  <a:pt x="18" y="203"/>
                  <a:pt x="18" y="203"/>
                  <a:pt x="18" y="203"/>
                </a:cubicBezTo>
                <a:cubicBezTo>
                  <a:pt x="0" y="232"/>
                  <a:pt x="0" y="232"/>
                  <a:pt x="0" y="232"/>
                </a:cubicBezTo>
                <a:cubicBezTo>
                  <a:pt x="2" y="234"/>
                  <a:pt x="2" y="234"/>
                  <a:pt x="2" y="234"/>
                </a:cubicBezTo>
                <a:cubicBezTo>
                  <a:pt x="26" y="260"/>
                  <a:pt x="51" y="274"/>
                  <a:pt x="77" y="274"/>
                </a:cubicBezTo>
                <a:cubicBezTo>
                  <a:pt x="143" y="274"/>
                  <a:pt x="194" y="189"/>
                  <a:pt x="215" y="148"/>
                </a:cubicBezTo>
                <a:cubicBezTo>
                  <a:pt x="235" y="346"/>
                  <a:pt x="244" y="499"/>
                  <a:pt x="244" y="614"/>
                </a:cubicBezTo>
                <a:cubicBezTo>
                  <a:pt x="244" y="618"/>
                  <a:pt x="244" y="618"/>
                  <a:pt x="244" y="618"/>
                </a:cubicBezTo>
                <a:cubicBezTo>
                  <a:pt x="344" y="618"/>
                  <a:pt x="344" y="618"/>
                  <a:pt x="344" y="618"/>
                </a:cubicBezTo>
                <a:cubicBezTo>
                  <a:pt x="344" y="301"/>
                  <a:pt x="344" y="301"/>
                  <a:pt x="344" y="301"/>
                </a:cubicBezTo>
                <a:lnTo>
                  <a:pt x="213" y="0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0" name="Freeform 952">
            <a:extLst>
              <a:ext uri="{FF2B5EF4-FFF2-40B4-BE49-F238E27FC236}">
                <a16:creationId xmlns:a16="http://schemas.microsoft.com/office/drawing/2014/main" id="{7D3C7C07-D7A3-4E8B-8547-94D7C2A89AAC}"/>
              </a:ext>
            </a:extLst>
          </p:cNvPr>
          <p:cNvSpPr>
            <a:spLocks/>
          </p:cNvSpPr>
          <p:nvPr/>
        </p:nvSpPr>
        <p:spPr bwMode="auto">
          <a:xfrm>
            <a:off x="9344420" y="6296609"/>
            <a:ext cx="147764" cy="363148"/>
          </a:xfrm>
          <a:custGeom>
            <a:avLst/>
            <a:gdLst>
              <a:gd name="T0" fmla="*/ 1 w 283"/>
              <a:gd name="T1" fmla="*/ 77 h 698"/>
              <a:gd name="T2" fmla="*/ 214 w 283"/>
              <a:gd name="T3" fmla="*/ 28 h 698"/>
              <a:gd name="T4" fmla="*/ 283 w 283"/>
              <a:gd name="T5" fmla="*/ 698 h 698"/>
              <a:gd name="T6" fmla="*/ 184 w 283"/>
              <a:gd name="T7" fmla="*/ 698 h 698"/>
              <a:gd name="T8" fmla="*/ 172 w 283"/>
              <a:gd name="T9" fmla="*/ 580 h 698"/>
              <a:gd name="T10" fmla="*/ 155 w 283"/>
              <a:gd name="T11" fmla="*/ 698 h 698"/>
              <a:gd name="T12" fmla="*/ 46 w 283"/>
              <a:gd name="T13" fmla="*/ 698 h 698"/>
              <a:gd name="T14" fmla="*/ 1 w 283"/>
              <a:gd name="T15" fmla="*/ 77 h 6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3" h="698">
                <a:moveTo>
                  <a:pt x="1" y="77"/>
                </a:moveTo>
                <a:cubicBezTo>
                  <a:pt x="0" y="43"/>
                  <a:pt x="165" y="0"/>
                  <a:pt x="214" y="28"/>
                </a:cubicBezTo>
                <a:cubicBezTo>
                  <a:pt x="262" y="56"/>
                  <a:pt x="283" y="439"/>
                  <a:pt x="283" y="698"/>
                </a:cubicBezTo>
                <a:cubicBezTo>
                  <a:pt x="184" y="698"/>
                  <a:pt x="184" y="698"/>
                  <a:pt x="184" y="698"/>
                </a:cubicBezTo>
                <a:cubicBezTo>
                  <a:pt x="172" y="580"/>
                  <a:pt x="172" y="580"/>
                  <a:pt x="172" y="580"/>
                </a:cubicBezTo>
                <a:cubicBezTo>
                  <a:pt x="155" y="698"/>
                  <a:pt x="155" y="698"/>
                  <a:pt x="155" y="698"/>
                </a:cubicBezTo>
                <a:cubicBezTo>
                  <a:pt x="46" y="698"/>
                  <a:pt x="46" y="698"/>
                  <a:pt x="46" y="698"/>
                </a:cubicBezTo>
                <a:cubicBezTo>
                  <a:pt x="46" y="453"/>
                  <a:pt x="1" y="100"/>
                  <a:pt x="1" y="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1" name="Freeform 953">
            <a:extLst>
              <a:ext uri="{FF2B5EF4-FFF2-40B4-BE49-F238E27FC236}">
                <a16:creationId xmlns:a16="http://schemas.microsoft.com/office/drawing/2014/main" id="{FE3BC7CB-13BC-4390-955C-5FACFAA805AC}"/>
              </a:ext>
            </a:extLst>
          </p:cNvPr>
          <p:cNvSpPr>
            <a:spLocks/>
          </p:cNvSpPr>
          <p:nvPr/>
        </p:nvSpPr>
        <p:spPr bwMode="auto">
          <a:xfrm>
            <a:off x="9242989" y="6434354"/>
            <a:ext cx="6262" cy="11270"/>
          </a:xfrm>
          <a:custGeom>
            <a:avLst/>
            <a:gdLst>
              <a:gd name="T0" fmla="*/ 0 w 12"/>
              <a:gd name="T1" fmla="*/ 5 h 22"/>
              <a:gd name="T2" fmla="*/ 3 w 12"/>
              <a:gd name="T3" fmla="*/ 0 h 22"/>
              <a:gd name="T4" fmla="*/ 8 w 12"/>
              <a:gd name="T5" fmla="*/ 3 h 22"/>
              <a:gd name="T6" fmla="*/ 11 w 12"/>
              <a:gd name="T7" fmla="*/ 17 h 22"/>
              <a:gd name="T8" fmla="*/ 8 w 12"/>
              <a:gd name="T9" fmla="*/ 22 h 22"/>
              <a:gd name="T10" fmla="*/ 3 w 12"/>
              <a:gd name="T11" fmla="*/ 19 h 22"/>
              <a:gd name="T12" fmla="*/ 0 w 12"/>
              <a:gd name="T13" fmla="*/ 5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22">
                <a:moveTo>
                  <a:pt x="0" y="5"/>
                </a:moveTo>
                <a:cubicBezTo>
                  <a:pt x="0" y="3"/>
                  <a:pt x="1" y="1"/>
                  <a:pt x="3" y="0"/>
                </a:cubicBezTo>
                <a:cubicBezTo>
                  <a:pt x="5" y="0"/>
                  <a:pt x="7" y="1"/>
                  <a:pt x="8" y="3"/>
                </a:cubicBezTo>
                <a:cubicBezTo>
                  <a:pt x="11" y="17"/>
                  <a:pt x="11" y="17"/>
                  <a:pt x="11" y="17"/>
                </a:cubicBezTo>
                <a:cubicBezTo>
                  <a:pt x="12" y="19"/>
                  <a:pt x="10" y="21"/>
                  <a:pt x="8" y="22"/>
                </a:cubicBezTo>
                <a:cubicBezTo>
                  <a:pt x="6" y="22"/>
                  <a:pt x="4" y="21"/>
                  <a:pt x="3" y="19"/>
                </a:cubicBezTo>
                <a:lnTo>
                  <a:pt x="0" y="5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2" name="Freeform 954">
            <a:extLst>
              <a:ext uri="{FF2B5EF4-FFF2-40B4-BE49-F238E27FC236}">
                <a16:creationId xmlns:a16="http://schemas.microsoft.com/office/drawing/2014/main" id="{EDDDCF4C-FECD-4CD9-95FF-823E2149FE5D}"/>
              </a:ext>
            </a:extLst>
          </p:cNvPr>
          <p:cNvSpPr>
            <a:spLocks/>
          </p:cNvSpPr>
          <p:nvPr/>
        </p:nvSpPr>
        <p:spPr bwMode="auto">
          <a:xfrm>
            <a:off x="9241737" y="6316645"/>
            <a:ext cx="132737" cy="205366"/>
          </a:xfrm>
          <a:custGeom>
            <a:avLst/>
            <a:gdLst>
              <a:gd name="T0" fmla="*/ 209 w 255"/>
              <a:gd name="T1" fmla="*/ 20 h 394"/>
              <a:gd name="T2" fmla="*/ 15 w 255"/>
              <a:gd name="T3" fmla="*/ 252 h 394"/>
              <a:gd name="T4" fmla="*/ 0 w 255"/>
              <a:gd name="T5" fmla="*/ 276 h 394"/>
              <a:gd name="T6" fmla="*/ 237 w 255"/>
              <a:gd name="T7" fmla="*/ 108 h 394"/>
              <a:gd name="T8" fmla="*/ 209 w 255"/>
              <a:gd name="T9" fmla="*/ 20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5" h="394">
                <a:moveTo>
                  <a:pt x="209" y="20"/>
                </a:moveTo>
                <a:cubicBezTo>
                  <a:pt x="169" y="47"/>
                  <a:pt x="146" y="347"/>
                  <a:pt x="15" y="252"/>
                </a:cubicBezTo>
                <a:cubicBezTo>
                  <a:pt x="0" y="276"/>
                  <a:pt x="0" y="276"/>
                  <a:pt x="0" y="276"/>
                </a:cubicBezTo>
                <a:cubicBezTo>
                  <a:pt x="107" y="394"/>
                  <a:pt x="212" y="208"/>
                  <a:pt x="237" y="108"/>
                </a:cubicBezTo>
                <a:cubicBezTo>
                  <a:pt x="255" y="35"/>
                  <a:pt x="240" y="0"/>
                  <a:pt x="209" y="2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3" name="Freeform 955">
            <a:extLst>
              <a:ext uri="{FF2B5EF4-FFF2-40B4-BE49-F238E27FC236}">
                <a16:creationId xmlns:a16="http://schemas.microsoft.com/office/drawing/2014/main" id="{D1B00574-8571-4BEF-9C67-6A2C7E8D5A09}"/>
              </a:ext>
            </a:extLst>
          </p:cNvPr>
          <p:cNvSpPr>
            <a:spLocks/>
          </p:cNvSpPr>
          <p:nvPr/>
        </p:nvSpPr>
        <p:spPr bwMode="auto">
          <a:xfrm>
            <a:off x="9225458" y="6446877"/>
            <a:ext cx="7513" cy="6262"/>
          </a:xfrm>
          <a:custGeom>
            <a:avLst/>
            <a:gdLst>
              <a:gd name="T0" fmla="*/ 2 w 15"/>
              <a:gd name="T1" fmla="*/ 8 h 13"/>
              <a:gd name="T2" fmla="*/ 1 w 15"/>
              <a:gd name="T3" fmla="*/ 3 h 13"/>
              <a:gd name="T4" fmla="*/ 6 w 15"/>
              <a:gd name="T5" fmla="*/ 1 h 13"/>
              <a:gd name="T6" fmla="*/ 13 w 15"/>
              <a:gd name="T7" fmla="*/ 5 h 13"/>
              <a:gd name="T8" fmla="*/ 14 w 15"/>
              <a:gd name="T9" fmla="*/ 11 h 13"/>
              <a:gd name="T10" fmla="*/ 9 w 15"/>
              <a:gd name="T11" fmla="*/ 12 h 13"/>
              <a:gd name="T12" fmla="*/ 2 w 15"/>
              <a:gd name="T13" fmla="*/ 8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" h="13">
                <a:moveTo>
                  <a:pt x="2" y="8"/>
                </a:moveTo>
                <a:cubicBezTo>
                  <a:pt x="0" y="7"/>
                  <a:pt x="0" y="4"/>
                  <a:pt x="1" y="3"/>
                </a:cubicBezTo>
                <a:cubicBezTo>
                  <a:pt x="2" y="1"/>
                  <a:pt x="4" y="0"/>
                  <a:pt x="6" y="1"/>
                </a:cubicBezTo>
                <a:cubicBezTo>
                  <a:pt x="13" y="5"/>
                  <a:pt x="13" y="5"/>
                  <a:pt x="13" y="5"/>
                </a:cubicBezTo>
                <a:cubicBezTo>
                  <a:pt x="15" y="6"/>
                  <a:pt x="15" y="9"/>
                  <a:pt x="14" y="11"/>
                </a:cubicBezTo>
                <a:cubicBezTo>
                  <a:pt x="13" y="13"/>
                  <a:pt x="11" y="13"/>
                  <a:pt x="9" y="12"/>
                </a:cubicBezTo>
                <a:lnTo>
                  <a:pt x="2" y="8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4" name="Freeform 956">
            <a:extLst>
              <a:ext uri="{FF2B5EF4-FFF2-40B4-BE49-F238E27FC236}">
                <a16:creationId xmlns:a16="http://schemas.microsoft.com/office/drawing/2014/main" id="{F19DC65A-B7E8-44F2-83C7-BA0618BA5556}"/>
              </a:ext>
            </a:extLst>
          </p:cNvPr>
          <p:cNvSpPr>
            <a:spLocks/>
          </p:cNvSpPr>
          <p:nvPr/>
        </p:nvSpPr>
        <p:spPr bwMode="auto">
          <a:xfrm>
            <a:off x="9227962" y="6435607"/>
            <a:ext cx="21288" cy="22540"/>
          </a:xfrm>
          <a:custGeom>
            <a:avLst/>
            <a:gdLst>
              <a:gd name="T0" fmla="*/ 18 w 40"/>
              <a:gd name="T1" fmla="*/ 42 h 43"/>
              <a:gd name="T2" fmla="*/ 24 w 40"/>
              <a:gd name="T3" fmla="*/ 41 h 43"/>
              <a:gd name="T4" fmla="*/ 38 w 40"/>
              <a:gd name="T5" fmla="*/ 17 h 43"/>
              <a:gd name="T6" fmla="*/ 37 w 40"/>
              <a:gd name="T7" fmla="*/ 11 h 43"/>
              <a:gd name="T8" fmla="*/ 22 w 40"/>
              <a:gd name="T9" fmla="*/ 2 h 43"/>
              <a:gd name="T10" fmla="*/ 16 w 40"/>
              <a:gd name="T11" fmla="*/ 3 h 43"/>
              <a:gd name="T12" fmla="*/ 1 w 40"/>
              <a:gd name="T13" fmla="*/ 27 h 43"/>
              <a:gd name="T14" fmla="*/ 3 w 40"/>
              <a:gd name="T15" fmla="*/ 33 h 43"/>
              <a:gd name="T16" fmla="*/ 18 w 40"/>
              <a:gd name="T17" fmla="*/ 42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" h="43">
                <a:moveTo>
                  <a:pt x="18" y="42"/>
                </a:moveTo>
                <a:cubicBezTo>
                  <a:pt x="20" y="43"/>
                  <a:pt x="23" y="43"/>
                  <a:pt x="24" y="41"/>
                </a:cubicBezTo>
                <a:cubicBezTo>
                  <a:pt x="38" y="17"/>
                  <a:pt x="38" y="17"/>
                  <a:pt x="38" y="17"/>
                </a:cubicBezTo>
                <a:cubicBezTo>
                  <a:pt x="40" y="15"/>
                  <a:pt x="39" y="12"/>
                  <a:pt x="37" y="11"/>
                </a:cubicBezTo>
                <a:cubicBezTo>
                  <a:pt x="22" y="2"/>
                  <a:pt x="22" y="2"/>
                  <a:pt x="22" y="2"/>
                </a:cubicBezTo>
                <a:cubicBezTo>
                  <a:pt x="20" y="0"/>
                  <a:pt x="17" y="1"/>
                  <a:pt x="16" y="3"/>
                </a:cubicBezTo>
                <a:cubicBezTo>
                  <a:pt x="1" y="27"/>
                  <a:pt x="1" y="27"/>
                  <a:pt x="1" y="27"/>
                </a:cubicBezTo>
                <a:cubicBezTo>
                  <a:pt x="0" y="29"/>
                  <a:pt x="1" y="32"/>
                  <a:pt x="3" y="33"/>
                </a:cubicBezTo>
                <a:lnTo>
                  <a:pt x="18" y="42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5" name="Freeform 957">
            <a:extLst>
              <a:ext uri="{FF2B5EF4-FFF2-40B4-BE49-F238E27FC236}">
                <a16:creationId xmlns:a16="http://schemas.microsoft.com/office/drawing/2014/main" id="{18D2CECB-446A-4C13-9E82-2457097233D9}"/>
              </a:ext>
            </a:extLst>
          </p:cNvPr>
          <p:cNvSpPr>
            <a:spLocks/>
          </p:cNvSpPr>
          <p:nvPr/>
        </p:nvSpPr>
        <p:spPr bwMode="auto">
          <a:xfrm>
            <a:off x="9230467" y="6438112"/>
            <a:ext cx="7513" cy="7513"/>
          </a:xfrm>
          <a:custGeom>
            <a:avLst/>
            <a:gdLst>
              <a:gd name="T0" fmla="*/ 2 w 15"/>
              <a:gd name="T1" fmla="*/ 8 h 13"/>
              <a:gd name="T2" fmla="*/ 1 w 15"/>
              <a:gd name="T3" fmla="*/ 2 h 13"/>
              <a:gd name="T4" fmla="*/ 6 w 15"/>
              <a:gd name="T5" fmla="*/ 1 h 13"/>
              <a:gd name="T6" fmla="*/ 13 w 15"/>
              <a:gd name="T7" fmla="*/ 5 h 13"/>
              <a:gd name="T8" fmla="*/ 14 w 15"/>
              <a:gd name="T9" fmla="*/ 10 h 13"/>
              <a:gd name="T10" fmla="*/ 9 w 15"/>
              <a:gd name="T11" fmla="*/ 12 h 13"/>
              <a:gd name="T12" fmla="*/ 2 w 15"/>
              <a:gd name="T13" fmla="*/ 8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" h="13">
                <a:moveTo>
                  <a:pt x="2" y="8"/>
                </a:moveTo>
                <a:cubicBezTo>
                  <a:pt x="0" y="6"/>
                  <a:pt x="0" y="4"/>
                  <a:pt x="1" y="2"/>
                </a:cubicBezTo>
                <a:cubicBezTo>
                  <a:pt x="2" y="0"/>
                  <a:pt x="4" y="0"/>
                  <a:pt x="6" y="1"/>
                </a:cubicBezTo>
                <a:cubicBezTo>
                  <a:pt x="13" y="5"/>
                  <a:pt x="13" y="5"/>
                  <a:pt x="13" y="5"/>
                </a:cubicBezTo>
                <a:cubicBezTo>
                  <a:pt x="15" y="6"/>
                  <a:pt x="15" y="8"/>
                  <a:pt x="14" y="10"/>
                </a:cubicBezTo>
                <a:cubicBezTo>
                  <a:pt x="13" y="12"/>
                  <a:pt x="11" y="13"/>
                  <a:pt x="9" y="12"/>
                </a:cubicBezTo>
                <a:lnTo>
                  <a:pt x="2" y="8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6" name="Freeform 958">
            <a:extLst>
              <a:ext uri="{FF2B5EF4-FFF2-40B4-BE49-F238E27FC236}">
                <a16:creationId xmlns:a16="http://schemas.microsoft.com/office/drawing/2014/main" id="{9DF6E52A-E1FB-4BE6-A45A-877BEC4F631F}"/>
              </a:ext>
            </a:extLst>
          </p:cNvPr>
          <p:cNvSpPr>
            <a:spLocks/>
          </p:cNvSpPr>
          <p:nvPr/>
        </p:nvSpPr>
        <p:spPr bwMode="auto">
          <a:xfrm>
            <a:off x="9227962" y="6430598"/>
            <a:ext cx="12522" cy="10018"/>
          </a:xfrm>
          <a:custGeom>
            <a:avLst/>
            <a:gdLst>
              <a:gd name="T0" fmla="*/ 3 w 25"/>
              <a:gd name="T1" fmla="*/ 7 h 19"/>
              <a:gd name="T2" fmla="*/ 2 w 25"/>
              <a:gd name="T3" fmla="*/ 2 h 19"/>
              <a:gd name="T4" fmla="*/ 7 w 25"/>
              <a:gd name="T5" fmla="*/ 1 h 19"/>
              <a:gd name="T6" fmla="*/ 23 w 25"/>
              <a:gd name="T7" fmla="*/ 11 h 19"/>
              <a:gd name="T8" fmla="*/ 24 w 25"/>
              <a:gd name="T9" fmla="*/ 16 h 19"/>
              <a:gd name="T10" fmla="*/ 19 w 25"/>
              <a:gd name="T11" fmla="*/ 17 h 19"/>
              <a:gd name="T12" fmla="*/ 3 w 25"/>
              <a:gd name="T13" fmla="*/ 7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5" h="19">
                <a:moveTo>
                  <a:pt x="3" y="7"/>
                </a:moveTo>
                <a:cubicBezTo>
                  <a:pt x="1" y="6"/>
                  <a:pt x="0" y="4"/>
                  <a:pt x="2" y="2"/>
                </a:cubicBezTo>
                <a:cubicBezTo>
                  <a:pt x="3" y="0"/>
                  <a:pt x="5" y="0"/>
                  <a:pt x="7" y="1"/>
                </a:cubicBezTo>
                <a:cubicBezTo>
                  <a:pt x="23" y="11"/>
                  <a:pt x="23" y="11"/>
                  <a:pt x="23" y="11"/>
                </a:cubicBezTo>
                <a:cubicBezTo>
                  <a:pt x="25" y="12"/>
                  <a:pt x="25" y="14"/>
                  <a:pt x="24" y="16"/>
                </a:cubicBezTo>
                <a:cubicBezTo>
                  <a:pt x="23" y="18"/>
                  <a:pt x="21" y="19"/>
                  <a:pt x="19" y="17"/>
                </a:cubicBezTo>
                <a:lnTo>
                  <a:pt x="3" y="7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7" name="Freeform 959">
            <a:extLst>
              <a:ext uri="{FF2B5EF4-FFF2-40B4-BE49-F238E27FC236}">
                <a16:creationId xmlns:a16="http://schemas.microsoft.com/office/drawing/2014/main" id="{2A0E77DB-D787-49AE-9345-0B223312C5B6}"/>
              </a:ext>
            </a:extLst>
          </p:cNvPr>
          <p:cNvSpPr>
            <a:spLocks/>
          </p:cNvSpPr>
          <p:nvPr/>
        </p:nvSpPr>
        <p:spPr bwMode="auto">
          <a:xfrm>
            <a:off x="9227962" y="6443121"/>
            <a:ext cx="7513" cy="6262"/>
          </a:xfrm>
          <a:custGeom>
            <a:avLst/>
            <a:gdLst>
              <a:gd name="T0" fmla="*/ 2 w 15"/>
              <a:gd name="T1" fmla="*/ 8 h 13"/>
              <a:gd name="T2" fmla="*/ 1 w 15"/>
              <a:gd name="T3" fmla="*/ 2 h 13"/>
              <a:gd name="T4" fmla="*/ 6 w 15"/>
              <a:gd name="T5" fmla="*/ 1 h 13"/>
              <a:gd name="T6" fmla="*/ 13 w 15"/>
              <a:gd name="T7" fmla="*/ 5 h 13"/>
              <a:gd name="T8" fmla="*/ 14 w 15"/>
              <a:gd name="T9" fmla="*/ 11 h 13"/>
              <a:gd name="T10" fmla="*/ 9 w 15"/>
              <a:gd name="T11" fmla="*/ 12 h 13"/>
              <a:gd name="T12" fmla="*/ 2 w 15"/>
              <a:gd name="T13" fmla="*/ 8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" h="13">
                <a:moveTo>
                  <a:pt x="2" y="8"/>
                </a:moveTo>
                <a:cubicBezTo>
                  <a:pt x="0" y="7"/>
                  <a:pt x="0" y="4"/>
                  <a:pt x="1" y="2"/>
                </a:cubicBezTo>
                <a:cubicBezTo>
                  <a:pt x="2" y="0"/>
                  <a:pt x="4" y="0"/>
                  <a:pt x="6" y="1"/>
                </a:cubicBezTo>
                <a:cubicBezTo>
                  <a:pt x="13" y="5"/>
                  <a:pt x="13" y="5"/>
                  <a:pt x="13" y="5"/>
                </a:cubicBezTo>
                <a:cubicBezTo>
                  <a:pt x="15" y="6"/>
                  <a:pt x="15" y="9"/>
                  <a:pt x="14" y="11"/>
                </a:cubicBezTo>
                <a:cubicBezTo>
                  <a:pt x="13" y="12"/>
                  <a:pt x="11" y="13"/>
                  <a:pt x="9" y="12"/>
                </a:cubicBezTo>
                <a:lnTo>
                  <a:pt x="2" y="8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8" name="Freeform 960">
            <a:extLst>
              <a:ext uri="{FF2B5EF4-FFF2-40B4-BE49-F238E27FC236}">
                <a16:creationId xmlns:a16="http://schemas.microsoft.com/office/drawing/2014/main" id="{A4714F4A-E9FB-4FD1-AC90-C29061E9FE7D}"/>
              </a:ext>
            </a:extLst>
          </p:cNvPr>
          <p:cNvSpPr>
            <a:spLocks/>
          </p:cNvSpPr>
          <p:nvPr/>
        </p:nvSpPr>
        <p:spPr bwMode="auto">
          <a:xfrm>
            <a:off x="11555864" y="4136506"/>
            <a:ext cx="400715" cy="1025580"/>
          </a:xfrm>
          <a:custGeom>
            <a:avLst/>
            <a:gdLst>
              <a:gd name="T0" fmla="*/ 771 w 771"/>
              <a:gd name="T1" fmla="*/ 1972 h 1972"/>
              <a:gd name="T2" fmla="*/ 691 w 771"/>
              <a:gd name="T3" fmla="*/ 1972 h 1972"/>
              <a:gd name="T4" fmla="*/ 691 w 771"/>
              <a:gd name="T5" fmla="*/ 204 h 1972"/>
              <a:gd name="T6" fmla="*/ 568 w 771"/>
              <a:gd name="T7" fmla="*/ 80 h 1972"/>
              <a:gd name="T8" fmla="*/ 203 w 771"/>
              <a:gd name="T9" fmla="*/ 80 h 1972"/>
              <a:gd name="T10" fmla="*/ 80 w 771"/>
              <a:gd name="T11" fmla="*/ 204 h 1972"/>
              <a:gd name="T12" fmla="*/ 80 w 771"/>
              <a:gd name="T13" fmla="*/ 860 h 1972"/>
              <a:gd name="T14" fmla="*/ 0 w 771"/>
              <a:gd name="T15" fmla="*/ 860 h 1972"/>
              <a:gd name="T16" fmla="*/ 0 w 771"/>
              <a:gd name="T17" fmla="*/ 204 h 1972"/>
              <a:gd name="T18" fmla="*/ 203 w 771"/>
              <a:gd name="T19" fmla="*/ 0 h 1972"/>
              <a:gd name="T20" fmla="*/ 568 w 771"/>
              <a:gd name="T21" fmla="*/ 0 h 1972"/>
              <a:gd name="T22" fmla="*/ 771 w 771"/>
              <a:gd name="T23" fmla="*/ 204 h 1972"/>
              <a:gd name="T24" fmla="*/ 771 w 771"/>
              <a:gd name="T25" fmla="*/ 1972 h 19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71" h="1972">
                <a:moveTo>
                  <a:pt x="771" y="1972"/>
                </a:moveTo>
                <a:cubicBezTo>
                  <a:pt x="691" y="1972"/>
                  <a:pt x="691" y="1972"/>
                  <a:pt x="691" y="1972"/>
                </a:cubicBezTo>
                <a:cubicBezTo>
                  <a:pt x="691" y="204"/>
                  <a:pt x="691" y="204"/>
                  <a:pt x="691" y="204"/>
                </a:cubicBezTo>
                <a:cubicBezTo>
                  <a:pt x="691" y="135"/>
                  <a:pt x="636" y="80"/>
                  <a:pt x="568" y="80"/>
                </a:cubicBezTo>
                <a:cubicBezTo>
                  <a:pt x="203" y="80"/>
                  <a:pt x="203" y="80"/>
                  <a:pt x="203" y="80"/>
                </a:cubicBezTo>
                <a:cubicBezTo>
                  <a:pt x="135" y="80"/>
                  <a:pt x="80" y="135"/>
                  <a:pt x="80" y="204"/>
                </a:cubicBezTo>
                <a:cubicBezTo>
                  <a:pt x="80" y="860"/>
                  <a:pt x="80" y="860"/>
                  <a:pt x="80" y="860"/>
                </a:cubicBezTo>
                <a:cubicBezTo>
                  <a:pt x="0" y="860"/>
                  <a:pt x="0" y="860"/>
                  <a:pt x="0" y="860"/>
                </a:cubicBezTo>
                <a:cubicBezTo>
                  <a:pt x="0" y="204"/>
                  <a:pt x="0" y="204"/>
                  <a:pt x="0" y="204"/>
                </a:cubicBezTo>
                <a:cubicBezTo>
                  <a:pt x="0" y="91"/>
                  <a:pt x="91" y="0"/>
                  <a:pt x="203" y="0"/>
                </a:cubicBezTo>
                <a:cubicBezTo>
                  <a:pt x="568" y="0"/>
                  <a:pt x="568" y="0"/>
                  <a:pt x="568" y="0"/>
                </a:cubicBezTo>
                <a:cubicBezTo>
                  <a:pt x="680" y="0"/>
                  <a:pt x="771" y="91"/>
                  <a:pt x="771" y="204"/>
                </a:cubicBezTo>
                <a:cubicBezTo>
                  <a:pt x="771" y="1972"/>
                  <a:pt x="771" y="1972"/>
                  <a:pt x="771" y="197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9" name="Freeform 961">
            <a:extLst>
              <a:ext uri="{FF2B5EF4-FFF2-40B4-BE49-F238E27FC236}">
                <a16:creationId xmlns:a16="http://schemas.microsoft.com/office/drawing/2014/main" id="{8B7FFC1D-C3BA-48CA-81B7-2DF5296E03BE}"/>
              </a:ext>
            </a:extLst>
          </p:cNvPr>
          <p:cNvSpPr>
            <a:spLocks/>
          </p:cNvSpPr>
          <p:nvPr/>
        </p:nvSpPr>
        <p:spPr bwMode="auto">
          <a:xfrm>
            <a:off x="10363738" y="4316828"/>
            <a:ext cx="1106975" cy="1343647"/>
          </a:xfrm>
          <a:custGeom>
            <a:avLst/>
            <a:gdLst>
              <a:gd name="T0" fmla="*/ 1528 w 2131"/>
              <a:gd name="T1" fmla="*/ 2584 h 2584"/>
              <a:gd name="T2" fmla="*/ 1397 w 2131"/>
              <a:gd name="T3" fmla="*/ 2453 h 2584"/>
              <a:gd name="T4" fmla="*/ 1397 w 2131"/>
              <a:gd name="T5" fmla="*/ 2100 h 2584"/>
              <a:gd name="T6" fmla="*/ 1345 w 2131"/>
              <a:gd name="T7" fmla="*/ 2049 h 2584"/>
              <a:gd name="T8" fmla="*/ 1294 w 2131"/>
              <a:gd name="T9" fmla="*/ 2100 h 2584"/>
              <a:gd name="T10" fmla="*/ 1294 w 2131"/>
              <a:gd name="T11" fmla="*/ 2453 h 2584"/>
              <a:gd name="T12" fmla="*/ 1163 w 2131"/>
              <a:gd name="T13" fmla="*/ 2584 h 2584"/>
              <a:gd name="T14" fmla="*/ 1032 w 2131"/>
              <a:gd name="T15" fmla="*/ 2453 h 2584"/>
              <a:gd name="T16" fmla="*/ 1032 w 2131"/>
              <a:gd name="T17" fmla="*/ 2100 h 2584"/>
              <a:gd name="T18" fmla="*/ 980 w 2131"/>
              <a:gd name="T19" fmla="*/ 2049 h 2584"/>
              <a:gd name="T20" fmla="*/ 929 w 2131"/>
              <a:gd name="T21" fmla="*/ 2100 h 2584"/>
              <a:gd name="T22" fmla="*/ 929 w 2131"/>
              <a:gd name="T23" fmla="*/ 2453 h 2584"/>
              <a:gd name="T24" fmla="*/ 798 w 2131"/>
              <a:gd name="T25" fmla="*/ 2584 h 2584"/>
              <a:gd name="T26" fmla="*/ 667 w 2131"/>
              <a:gd name="T27" fmla="*/ 2453 h 2584"/>
              <a:gd name="T28" fmla="*/ 667 w 2131"/>
              <a:gd name="T29" fmla="*/ 2100 h 2584"/>
              <a:gd name="T30" fmla="*/ 615 w 2131"/>
              <a:gd name="T31" fmla="*/ 2049 h 2584"/>
              <a:gd name="T32" fmla="*/ 564 w 2131"/>
              <a:gd name="T33" fmla="*/ 2100 h 2584"/>
              <a:gd name="T34" fmla="*/ 564 w 2131"/>
              <a:gd name="T35" fmla="*/ 2464 h 2584"/>
              <a:gd name="T36" fmla="*/ 444 w 2131"/>
              <a:gd name="T37" fmla="*/ 2584 h 2584"/>
              <a:gd name="T38" fmla="*/ 325 w 2131"/>
              <a:gd name="T39" fmla="*/ 2464 h 2584"/>
              <a:gd name="T40" fmla="*/ 325 w 2131"/>
              <a:gd name="T41" fmla="*/ 1575 h 2584"/>
              <a:gd name="T42" fmla="*/ 201 w 2131"/>
              <a:gd name="T43" fmla="*/ 1452 h 2584"/>
              <a:gd name="T44" fmla="*/ 0 w 2131"/>
              <a:gd name="T45" fmla="*/ 1452 h 2584"/>
              <a:gd name="T46" fmla="*/ 0 w 2131"/>
              <a:gd name="T47" fmla="*/ 1372 h 2584"/>
              <a:gd name="T48" fmla="*/ 201 w 2131"/>
              <a:gd name="T49" fmla="*/ 1372 h 2584"/>
              <a:gd name="T50" fmla="*/ 405 w 2131"/>
              <a:gd name="T51" fmla="*/ 1575 h 2584"/>
              <a:gd name="T52" fmla="*/ 405 w 2131"/>
              <a:gd name="T53" fmla="*/ 2464 h 2584"/>
              <a:gd name="T54" fmla="*/ 444 w 2131"/>
              <a:gd name="T55" fmla="*/ 2504 h 2584"/>
              <a:gd name="T56" fmla="*/ 484 w 2131"/>
              <a:gd name="T57" fmla="*/ 2464 h 2584"/>
              <a:gd name="T58" fmla="*/ 484 w 2131"/>
              <a:gd name="T59" fmla="*/ 2100 h 2584"/>
              <a:gd name="T60" fmla="*/ 615 w 2131"/>
              <a:gd name="T61" fmla="*/ 1969 h 2584"/>
              <a:gd name="T62" fmla="*/ 747 w 2131"/>
              <a:gd name="T63" fmla="*/ 2100 h 2584"/>
              <a:gd name="T64" fmla="*/ 747 w 2131"/>
              <a:gd name="T65" fmla="*/ 2453 h 2584"/>
              <a:gd name="T66" fmla="*/ 798 w 2131"/>
              <a:gd name="T67" fmla="*/ 2504 h 2584"/>
              <a:gd name="T68" fmla="*/ 849 w 2131"/>
              <a:gd name="T69" fmla="*/ 2453 h 2584"/>
              <a:gd name="T70" fmla="*/ 849 w 2131"/>
              <a:gd name="T71" fmla="*/ 2100 h 2584"/>
              <a:gd name="T72" fmla="*/ 980 w 2131"/>
              <a:gd name="T73" fmla="*/ 1969 h 2584"/>
              <a:gd name="T74" fmla="*/ 1112 w 2131"/>
              <a:gd name="T75" fmla="*/ 2100 h 2584"/>
              <a:gd name="T76" fmla="*/ 1112 w 2131"/>
              <a:gd name="T77" fmla="*/ 2453 h 2584"/>
              <a:gd name="T78" fmla="*/ 1163 w 2131"/>
              <a:gd name="T79" fmla="*/ 2504 h 2584"/>
              <a:gd name="T80" fmla="*/ 1214 w 2131"/>
              <a:gd name="T81" fmla="*/ 2453 h 2584"/>
              <a:gd name="T82" fmla="*/ 1214 w 2131"/>
              <a:gd name="T83" fmla="*/ 2100 h 2584"/>
              <a:gd name="T84" fmla="*/ 1345 w 2131"/>
              <a:gd name="T85" fmla="*/ 1969 h 2584"/>
              <a:gd name="T86" fmla="*/ 1477 w 2131"/>
              <a:gd name="T87" fmla="*/ 2100 h 2584"/>
              <a:gd name="T88" fmla="*/ 1477 w 2131"/>
              <a:gd name="T89" fmla="*/ 2453 h 2584"/>
              <a:gd name="T90" fmla="*/ 1528 w 2131"/>
              <a:gd name="T91" fmla="*/ 2504 h 2584"/>
              <a:gd name="T92" fmla="*/ 1579 w 2131"/>
              <a:gd name="T93" fmla="*/ 2453 h 2584"/>
              <a:gd name="T94" fmla="*/ 1579 w 2131"/>
              <a:gd name="T95" fmla="*/ 276 h 2584"/>
              <a:gd name="T96" fmla="*/ 1855 w 2131"/>
              <a:gd name="T97" fmla="*/ 0 h 2584"/>
              <a:gd name="T98" fmla="*/ 2131 w 2131"/>
              <a:gd name="T99" fmla="*/ 276 h 2584"/>
              <a:gd name="T100" fmla="*/ 2131 w 2131"/>
              <a:gd name="T101" fmla="*/ 498 h 2584"/>
              <a:gd name="T102" fmla="*/ 2051 w 2131"/>
              <a:gd name="T103" fmla="*/ 498 h 2584"/>
              <a:gd name="T104" fmla="*/ 2051 w 2131"/>
              <a:gd name="T105" fmla="*/ 276 h 2584"/>
              <a:gd name="T106" fmla="*/ 1855 w 2131"/>
              <a:gd name="T107" fmla="*/ 80 h 2584"/>
              <a:gd name="T108" fmla="*/ 1659 w 2131"/>
              <a:gd name="T109" fmla="*/ 276 h 2584"/>
              <a:gd name="T110" fmla="*/ 1659 w 2131"/>
              <a:gd name="T111" fmla="*/ 2453 h 2584"/>
              <a:gd name="T112" fmla="*/ 1528 w 2131"/>
              <a:gd name="T113" fmla="*/ 2584 h 2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31" h="2584">
                <a:moveTo>
                  <a:pt x="1528" y="2584"/>
                </a:moveTo>
                <a:cubicBezTo>
                  <a:pt x="1455" y="2584"/>
                  <a:pt x="1397" y="2525"/>
                  <a:pt x="1397" y="2453"/>
                </a:cubicBezTo>
                <a:cubicBezTo>
                  <a:pt x="1397" y="2100"/>
                  <a:pt x="1397" y="2100"/>
                  <a:pt x="1397" y="2100"/>
                </a:cubicBezTo>
                <a:cubicBezTo>
                  <a:pt x="1397" y="2072"/>
                  <a:pt x="1374" y="2049"/>
                  <a:pt x="1345" y="2049"/>
                </a:cubicBezTo>
                <a:cubicBezTo>
                  <a:pt x="1317" y="2049"/>
                  <a:pt x="1294" y="2072"/>
                  <a:pt x="1294" y="2100"/>
                </a:cubicBezTo>
                <a:cubicBezTo>
                  <a:pt x="1294" y="2453"/>
                  <a:pt x="1294" y="2453"/>
                  <a:pt x="1294" y="2453"/>
                </a:cubicBezTo>
                <a:cubicBezTo>
                  <a:pt x="1294" y="2525"/>
                  <a:pt x="1235" y="2584"/>
                  <a:pt x="1163" y="2584"/>
                </a:cubicBezTo>
                <a:cubicBezTo>
                  <a:pt x="1090" y="2584"/>
                  <a:pt x="1032" y="2525"/>
                  <a:pt x="1032" y="2453"/>
                </a:cubicBezTo>
                <a:cubicBezTo>
                  <a:pt x="1032" y="2100"/>
                  <a:pt x="1032" y="2100"/>
                  <a:pt x="1032" y="2100"/>
                </a:cubicBezTo>
                <a:cubicBezTo>
                  <a:pt x="1032" y="2072"/>
                  <a:pt x="1009" y="2049"/>
                  <a:pt x="980" y="2049"/>
                </a:cubicBezTo>
                <a:cubicBezTo>
                  <a:pt x="952" y="2049"/>
                  <a:pt x="929" y="2072"/>
                  <a:pt x="929" y="2100"/>
                </a:cubicBezTo>
                <a:cubicBezTo>
                  <a:pt x="929" y="2453"/>
                  <a:pt x="929" y="2453"/>
                  <a:pt x="929" y="2453"/>
                </a:cubicBezTo>
                <a:cubicBezTo>
                  <a:pt x="929" y="2525"/>
                  <a:pt x="870" y="2584"/>
                  <a:pt x="798" y="2584"/>
                </a:cubicBezTo>
                <a:cubicBezTo>
                  <a:pt x="725" y="2584"/>
                  <a:pt x="667" y="2525"/>
                  <a:pt x="667" y="2453"/>
                </a:cubicBezTo>
                <a:cubicBezTo>
                  <a:pt x="667" y="2100"/>
                  <a:pt x="667" y="2100"/>
                  <a:pt x="667" y="2100"/>
                </a:cubicBezTo>
                <a:cubicBezTo>
                  <a:pt x="667" y="2072"/>
                  <a:pt x="644" y="2049"/>
                  <a:pt x="615" y="2049"/>
                </a:cubicBezTo>
                <a:cubicBezTo>
                  <a:pt x="587" y="2049"/>
                  <a:pt x="564" y="2072"/>
                  <a:pt x="564" y="2100"/>
                </a:cubicBezTo>
                <a:cubicBezTo>
                  <a:pt x="564" y="2464"/>
                  <a:pt x="564" y="2464"/>
                  <a:pt x="564" y="2464"/>
                </a:cubicBezTo>
                <a:cubicBezTo>
                  <a:pt x="564" y="2530"/>
                  <a:pt x="510" y="2584"/>
                  <a:pt x="444" y="2584"/>
                </a:cubicBezTo>
                <a:cubicBezTo>
                  <a:pt x="378" y="2584"/>
                  <a:pt x="325" y="2530"/>
                  <a:pt x="325" y="2464"/>
                </a:cubicBezTo>
                <a:cubicBezTo>
                  <a:pt x="325" y="1575"/>
                  <a:pt x="325" y="1575"/>
                  <a:pt x="325" y="1575"/>
                </a:cubicBezTo>
                <a:cubicBezTo>
                  <a:pt x="325" y="1507"/>
                  <a:pt x="269" y="1452"/>
                  <a:pt x="201" y="1452"/>
                </a:cubicBezTo>
                <a:cubicBezTo>
                  <a:pt x="0" y="1452"/>
                  <a:pt x="0" y="1452"/>
                  <a:pt x="0" y="1452"/>
                </a:cubicBezTo>
                <a:cubicBezTo>
                  <a:pt x="0" y="1372"/>
                  <a:pt x="0" y="1372"/>
                  <a:pt x="0" y="1372"/>
                </a:cubicBezTo>
                <a:cubicBezTo>
                  <a:pt x="201" y="1372"/>
                  <a:pt x="201" y="1372"/>
                  <a:pt x="201" y="1372"/>
                </a:cubicBezTo>
                <a:cubicBezTo>
                  <a:pt x="313" y="1372"/>
                  <a:pt x="405" y="1463"/>
                  <a:pt x="405" y="1575"/>
                </a:cubicBezTo>
                <a:cubicBezTo>
                  <a:pt x="405" y="2464"/>
                  <a:pt x="405" y="2464"/>
                  <a:pt x="405" y="2464"/>
                </a:cubicBezTo>
                <a:cubicBezTo>
                  <a:pt x="405" y="2486"/>
                  <a:pt x="422" y="2504"/>
                  <a:pt x="444" y="2504"/>
                </a:cubicBezTo>
                <a:cubicBezTo>
                  <a:pt x="466" y="2504"/>
                  <a:pt x="484" y="2486"/>
                  <a:pt x="484" y="2464"/>
                </a:cubicBezTo>
                <a:cubicBezTo>
                  <a:pt x="484" y="2100"/>
                  <a:pt x="484" y="2100"/>
                  <a:pt x="484" y="2100"/>
                </a:cubicBezTo>
                <a:cubicBezTo>
                  <a:pt x="484" y="2028"/>
                  <a:pt x="543" y="1969"/>
                  <a:pt x="615" y="1969"/>
                </a:cubicBezTo>
                <a:cubicBezTo>
                  <a:pt x="688" y="1969"/>
                  <a:pt x="747" y="2028"/>
                  <a:pt x="747" y="2100"/>
                </a:cubicBezTo>
                <a:cubicBezTo>
                  <a:pt x="747" y="2453"/>
                  <a:pt x="747" y="2453"/>
                  <a:pt x="747" y="2453"/>
                </a:cubicBezTo>
                <a:cubicBezTo>
                  <a:pt x="747" y="2481"/>
                  <a:pt x="770" y="2504"/>
                  <a:pt x="798" y="2504"/>
                </a:cubicBezTo>
                <a:cubicBezTo>
                  <a:pt x="826" y="2504"/>
                  <a:pt x="849" y="2481"/>
                  <a:pt x="849" y="2453"/>
                </a:cubicBezTo>
                <a:cubicBezTo>
                  <a:pt x="849" y="2100"/>
                  <a:pt x="849" y="2100"/>
                  <a:pt x="849" y="2100"/>
                </a:cubicBezTo>
                <a:cubicBezTo>
                  <a:pt x="849" y="2028"/>
                  <a:pt x="908" y="1969"/>
                  <a:pt x="980" y="1969"/>
                </a:cubicBezTo>
                <a:cubicBezTo>
                  <a:pt x="1053" y="1969"/>
                  <a:pt x="1112" y="2028"/>
                  <a:pt x="1112" y="2100"/>
                </a:cubicBezTo>
                <a:cubicBezTo>
                  <a:pt x="1112" y="2453"/>
                  <a:pt x="1112" y="2453"/>
                  <a:pt x="1112" y="2453"/>
                </a:cubicBezTo>
                <a:cubicBezTo>
                  <a:pt x="1112" y="2481"/>
                  <a:pt x="1135" y="2504"/>
                  <a:pt x="1163" y="2504"/>
                </a:cubicBezTo>
                <a:cubicBezTo>
                  <a:pt x="1191" y="2504"/>
                  <a:pt x="1214" y="2481"/>
                  <a:pt x="1214" y="2453"/>
                </a:cubicBezTo>
                <a:cubicBezTo>
                  <a:pt x="1214" y="2100"/>
                  <a:pt x="1214" y="2100"/>
                  <a:pt x="1214" y="2100"/>
                </a:cubicBezTo>
                <a:cubicBezTo>
                  <a:pt x="1214" y="2028"/>
                  <a:pt x="1273" y="1969"/>
                  <a:pt x="1345" y="1969"/>
                </a:cubicBezTo>
                <a:cubicBezTo>
                  <a:pt x="1418" y="1969"/>
                  <a:pt x="1477" y="2028"/>
                  <a:pt x="1477" y="2100"/>
                </a:cubicBezTo>
                <a:cubicBezTo>
                  <a:pt x="1477" y="2453"/>
                  <a:pt x="1477" y="2453"/>
                  <a:pt x="1477" y="2453"/>
                </a:cubicBezTo>
                <a:cubicBezTo>
                  <a:pt x="1477" y="2481"/>
                  <a:pt x="1500" y="2504"/>
                  <a:pt x="1528" y="2504"/>
                </a:cubicBezTo>
                <a:cubicBezTo>
                  <a:pt x="1556" y="2504"/>
                  <a:pt x="1579" y="2481"/>
                  <a:pt x="1579" y="2453"/>
                </a:cubicBezTo>
                <a:cubicBezTo>
                  <a:pt x="1579" y="276"/>
                  <a:pt x="1579" y="276"/>
                  <a:pt x="1579" y="276"/>
                </a:cubicBezTo>
                <a:cubicBezTo>
                  <a:pt x="1579" y="124"/>
                  <a:pt x="1703" y="0"/>
                  <a:pt x="1855" y="0"/>
                </a:cubicBezTo>
                <a:cubicBezTo>
                  <a:pt x="2007" y="0"/>
                  <a:pt x="2131" y="124"/>
                  <a:pt x="2131" y="276"/>
                </a:cubicBezTo>
                <a:cubicBezTo>
                  <a:pt x="2131" y="498"/>
                  <a:pt x="2131" y="498"/>
                  <a:pt x="2131" y="498"/>
                </a:cubicBezTo>
                <a:cubicBezTo>
                  <a:pt x="2051" y="498"/>
                  <a:pt x="2051" y="498"/>
                  <a:pt x="2051" y="498"/>
                </a:cubicBezTo>
                <a:cubicBezTo>
                  <a:pt x="2051" y="276"/>
                  <a:pt x="2051" y="276"/>
                  <a:pt x="2051" y="276"/>
                </a:cubicBezTo>
                <a:cubicBezTo>
                  <a:pt x="2051" y="168"/>
                  <a:pt x="1963" y="80"/>
                  <a:pt x="1855" y="80"/>
                </a:cubicBezTo>
                <a:cubicBezTo>
                  <a:pt x="1747" y="80"/>
                  <a:pt x="1659" y="168"/>
                  <a:pt x="1659" y="276"/>
                </a:cubicBezTo>
                <a:cubicBezTo>
                  <a:pt x="1659" y="2453"/>
                  <a:pt x="1659" y="2453"/>
                  <a:pt x="1659" y="2453"/>
                </a:cubicBezTo>
                <a:cubicBezTo>
                  <a:pt x="1659" y="2525"/>
                  <a:pt x="1600" y="2584"/>
                  <a:pt x="1528" y="258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0" name="Freeform 962">
            <a:extLst>
              <a:ext uri="{FF2B5EF4-FFF2-40B4-BE49-F238E27FC236}">
                <a16:creationId xmlns:a16="http://schemas.microsoft.com/office/drawing/2014/main" id="{96DBFE5D-C7A7-44BE-A66D-DBE71F2C09B3}"/>
              </a:ext>
            </a:extLst>
          </p:cNvPr>
          <p:cNvSpPr>
            <a:spLocks/>
          </p:cNvSpPr>
          <p:nvPr/>
        </p:nvSpPr>
        <p:spPr bwMode="auto">
          <a:xfrm>
            <a:off x="10363738" y="4985521"/>
            <a:ext cx="65116" cy="131485"/>
          </a:xfrm>
          <a:custGeom>
            <a:avLst/>
            <a:gdLst>
              <a:gd name="T0" fmla="*/ 0 w 126"/>
              <a:gd name="T1" fmla="*/ 0 h 252"/>
              <a:gd name="T2" fmla="*/ 1 w 126"/>
              <a:gd name="T3" fmla="*/ 0 h 252"/>
              <a:gd name="T4" fmla="*/ 126 w 126"/>
              <a:gd name="T5" fmla="*/ 127 h 252"/>
              <a:gd name="T6" fmla="*/ 0 w 126"/>
              <a:gd name="T7" fmla="*/ 251 h 252"/>
              <a:gd name="T8" fmla="*/ 0 w 126"/>
              <a:gd name="T9" fmla="*/ 126 h 252"/>
              <a:gd name="T10" fmla="*/ 0 w 126"/>
              <a:gd name="T11" fmla="*/ 0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6" h="252">
                <a:moveTo>
                  <a:pt x="0" y="0"/>
                </a:moveTo>
                <a:cubicBezTo>
                  <a:pt x="0" y="0"/>
                  <a:pt x="1" y="0"/>
                  <a:pt x="1" y="0"/>
                </a:cubicBezTo>
                <a:cubicBezTo>
                  <a:pt x="70" y="0"/>
                  <a:pt x="126" y="57"/>
                  <a:pt x="126" y="127"/>
                </a:cubicBezTo>
                <a:cubicBezTo>
                  <a:pt x="125" y="196"/>
                  <a:pt x="69" y="252"/>
                  <a:pt x="0" y="251"/>
                </a:cubicBezTo>
                <a:cubicBezTo>
                  <a:pt x="0" y="126"/>
                  <a:pt x="0" y="126"/>
                  <a:pt x="0" y="126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" name="Rectangle 963">
            <a:extLst>
              <a:ext uri="{FF2B5EF4-FFF2-40B4-BE49-F238E27FC236}">
                <a16:creationId xmlns:a16="http://schemas.microsoft.com/office/drawing/2014/main" id="{8C63E74D-213B-4449-BA65-2335656BED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46742" y="5661727"/>
            <a:ext cx="62612" cy="308049"/>
          </a:xfrm>
          <a:prstGeom prst="rect">
            <a:avLst/>
          </a:pr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2" name="Rectangle 964">
            <a:extLst>
              <a:ext uri="{FF2B5EF4-FFF2-40B4-BE49-F238E27FC236}">
                <a16:creationId xmlns:a16="http://schemas.microsoft.com/office/drawing/2014/main" id="{3B11D1D1-49A7-47A8-BC9E-590744DA8B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07206" y="5661727"/>
            <a:ext cx="62612" cy="308049"/>
          </a:xfrm>
          <a:prstGeom prst="rect">
            <a:avLst/>
          </a:pr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" name="Freeform 965">
            <a:extLst>
              <a:ext uri="{FF2B5EF4-FFF2-40B4-BE49-F238E27FC236}">
                <a16:creationId xmlns:a16="http://schemas.microsoft.com/office/drawing/2014/main" id="{F1C9D18D-51D1-4EF7-B74C-BE6154951CC4}"/>
              </a:ext>
            </a:extLst>
          </p:cNvPr>
          <p:cNvSpPr>
            <a:spLocks/>
          </p:cNvSpPr>
          <p:nvPr/>
        </p:nvSpPr>
        <p:spPr bwMode="auto">
          <a:xfrm>
            <a:off x="11307922" y="4509672"/>
            <a:ext cx="408228" cy="1262251"/>
          </a:xfrm>
          <a:custGeom>
            <a:avLst/>
            <a:gdLst>
              <a:gd name="T0" fmla="*/ 393 w 787"/>
              <a:gd name="T1" fmla="*/ 2428 h 2428"/>
              <a:gd name="T2" fmla="*/ 0 w 787"/>
              <a:gd name="T3" fmla="*/ 2034 h 2428"/>
              <a:gd name="T4" fmla="*/ 0 w 787"/>
              <a:gd name="T5" fmla="*/ 394 h 2428"/>
              <a:gd name="T6" fmla="*/ 393 w 787"/>
              <a:gd name="T7" fmla="*/ 0 h 2428"/>
              <a:gd name="T8" fmla="*/ 787 w 787"/>
              <a:gd name="T9" fmla="*/ 394 h 2428"/>
              <a:gd name="T10" fmla="*/ 787 w 787"/>
              <a:gd name="T11" fmla="*/ 2034 h 2428"/>
              <a:gd name="T12" fmla="*/ 393 w 787"/>
              <a:gd name="T13" fmla="*/ 2428 h 2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7" h="2428">
                <a:moveTo>
                  <a:pt x="393" y="2428"/>
                </a:moveTo>
                <a:cubicBezTo>
                  <a:pt x="176" y="2428"/>
                  <a:pt x="0" y="2252"/>
                  <a:pt x="0" y="2034"/>
                </a:cubicBezTo>
                <a:cubicBezTo>
                  <a:pt x="0" y="394"/>
                  <a:pt x="0" y="394"/>
                  <a:pt x="0" y="394"/>
                </a:cubicBezTo>
                <a:cubicBezTo>
                  <a:pt x="0" y="176"/>
                  <a:pt x="176" y="0"/>
                  <a:pt x="393" y="0"/>
                </a:cubicBezTo>
                <a:cubicBezTo>
                  <a:pt x="611" y="0"/>
                  <a:pt x="787" y="176"/>
                  <a:pt x="787" y="394"/>
                </a:cubicBezTo>
                <a:cubicBezTo>
                  <a:pt x="787" y="2034"/>
                  <a:pt x="787" y="2034"/>
                  <a:pt x="787" y="2034"/>
                </a:cubicBezTo>
                <a:cubicBezTo>
                  <a:pt x="787" y="2252"/>
                  <a:pt x="611" y="2428"/>
                  <a:pt x="393" y="242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4" name="Freeform 966">
            <a:extLst>
              <a:ext uri="{FF2B5EF4-FFF2-40B4-BE49-F238E27FC236}">
                <a16:creationId xmlns:a16="http://schemas.microsoft.com/office/drawing/2014/main" id="{68F9CB9B-8147-40DB-91EC-0D669DDECC16}"/>
              </a:ext>
            </a:extLst>
          </p:cNvPr>
          <p:cNvSpPr>
            <a:spLocks/>
          </p:cNvSpPr>
          <p:nvPr/>
        </p:nvSpPr>
        <p:spPr bwMode="auto">
          <a:xfrm>
            <a:off x="11265346" y="5115753"/>
            <a:ext cx="492128" cy="50089"/>
          </a:xfrm>
          <a:custGeom>
            <a:avLst/>
            <a:gdLst>
              <a:gd name="T0" fmla="*/ 947 w 947"/>
              <a:gd name="T1" fmla="*/ 48 h 96"/>
              <a:gd name="T2" fmla="*/ 899 w 947"/>
              <a:gd name="T3" fmla="*/ 96 h 96"/>
              <a:gd name="T4" fmla="*/ 48 w 947"/>
              <a:gd name="T5" fmla="*/ 96 h 96"/>
              <a:gd name="T6" fmla="*/ 0 w 947"/>
              <a:gd name="T7" fmla="*/ 48 h 96"/>
              <a:gd name="T8" fmla="*/ 48 w 947"/>
              <a:gd name="T9" fmla="*/ 0 h 96"/>
              <a:gd name="T10" fmla="*/ 899 w 947"/>
              <a:gd name="T11" fmla="*/ 0 h 96"/>
              <a:gd name="T12" fmla="*/ 947 w 947"/>
              <a:gd name="T13" fmla="*/ 4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47" h="96">
                <a:moveTo>
                  <a:pt x="947" y="48"/>
                </a:moveTo>
                <a:cubicBezTo>
                  <a:pt x="947" y="75"/>
                  <a:pt x="926" y="96"/>
                  <a:pt x="899" y="96"/>
                </a:cubicBezTo>
                <a:cubicBezTo>
                  <a:pt x="48" y="96"/>
                  <a:pt x="48" y="96"/>
                  <a:pt x="48" y="96"/>
                </a:cubicBezTo>
                <a:cubicBezTo>
                  <a:pt x="21" y="96"/>
                  <a:pt x="0" y="75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899" y="0"/>
                  <a:pt x="899" y="0"/>
                  <a:pt x="899" y="0"/>
                </a:cubicBezTo>
                <a:cubicBezTo>
                  <a:pt x="926" y="0"/>
                  <a:pt x="947" y="22"/>
                  <a:pt x="947" y="48"/>
                </a:cubicBez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" name="Freeform 967">
            <a:extLst>
              <a:ext uri="{FF2B5EF4-FFF2-40B4-BE49-F238E27FC236}">
                <a16:creationId xmlns:a16="http://schemas.microsoft.com/office/drawing/2014/main" id="{3D190EA4-4282-47DF-BBDE-79606576066A}"/>
              </a:ext>
            </a:extLst>
          </p:cNvPr>
          <p:cNvSpPr>
            <a:spLocks/>
          </p:cNvSpPr>
          <p:nvPr/>
        </p:nvSpPr>
        <p:spPr bwMode="auto">
          <a:xfrm>
            <a:off x="11280373" y="4722552"/>
            <a:ext cx="459570" cy="21288"/>
          </a:xfrm>
          <a:custGeom>
            <a:avLst/>
            <a:gdLst>
              <a:gd name="T0" fmla="*/ 883 w 883"/>
              <a:gd name="T1" fmla="*/ 21 h 42"/>
              <a:gd name="T2" fmla="*/ 862 w 883"/>
              <a:gd name="T3" fmla="*/ 42 h 42"/>
              <a:gd name="T4" fmla="*/ 21 w 883"/>
              <a:gd name="T5" fmla="*/ 42 h 42"/>
              <a:gd name="T6" fmla="*/ 0 w 883"/>
              <a:gd name="T7" fmla="*/ 21 h 42"/>
              <a:gd name="T8" fmla="*/ 21 w 883"/>
              <a:gd name="T9" fmla="*/ 0 h 42"/>
              <a:gd name="T10" fmla="*/ 862 w 883"/>
              <a:gd name="T11" fmla="*/ 0 h 42"/>
              <a:gd name="T12" fmla="*/ 883 w 883"/>
              <a:gd name="T13" fmla="*/ 21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83" h="42">
                <a:moveTo>
                  <a:pt x="883" y="21"/>
                </a:moveTo>
                <a:cubicBezTo>
                  <a:pt x="883" y="33"/>
                  <a:pt x="874" y="42"/>
                  <a:pt x="862" y="42"/>
                </a:cubicBezTo>
                <a:cubicBezTo>
                  <a:pt x="21" y="42"/>
                  <a:pt x="21" y="42"/>
                  <a:pt x="21" y="42"/>
                </a:cubicBezTo>
                <a:cubicBezTo>
                  <a:pt x="9" y="42"/>
                  <a:pt x="0" y="33"/>
                  <a:pt x="0" y="21"/>
                </a:cubicBezTo>
                <a:cubicBezTo>
                  <a:pt x="0" y="10"/>
                  <a:pt x="9" y="0"/>
                  <a:pt x="21" y="0"/>
                </a:cubicBezTo>
                <a:cubicBezTo>
                  <a:pt x="862" y="0"/>
                  <a:pt x="862" y="0"/>
                  <a:pt x="862" y="0"/>
                </a:cubicBezTo>
                <a:cubicBezTo>
                  <a:pt x="874" y="0"/>
                  <a:pt x="883" y="10"/>
                  <a:pt x="883" y="21"/>
                </a:cubicBez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6" name="Freeform 968">
            <a:extLst>
              <a:ext uri="{FF2B5EF4-FFF2-40B4-BE49-F238E27FC236}">
                <a16:creationId xmlns:a16="http://schemas.microsoft.com/office/drawing/2014/main" id="{5CAD5D81-E54D-47D9-B8C8-F64DDFEE28B0}"/>
              </a:ext>
            </a:extLst>
          </p:cNvPr>
          <p:cNvSpPr>
            <a:spLocks/>
          </p:cNvSpPr>
          <p:nvPr/>
        </p:nvSpPr>
        <p:spPr bwMode="auto">
          <a:xfrm>
            <a:off x="11280373" y="5537755"/>
            <a:ext cx="459570" cy="21288"/>
          </a:xfrm>
          <a:custGeom>
            <a:avLst/>
            <a:gdLst>
              <a:gd name="T0" fmla="*/ 883 w 883"/>
              <a:gd name="T1" fmla="*/ 21 h 42"/>
              <a:gd name="T2" fmla="*/ 862 w 883"/>
              <a:gd name="T3" fmla="*/ 42 h 42"/>
              <a:gd name="T4" fmla="*/ 21 w 883"/>
              <a:gd name="T5" fmla="*/ 42 h 42"/>
              <a:gd name="T6" fmla="*/ 0 w 883"/>
              <a:gd name="T7" fmla="*/ 21 h 42"/>
              <a:gd name="T8" fmla="*/ 21 w 883"/>
              <a:gd name="T9" fmla="*/ 0 h 42"/>
              <a:gd name="T10" fmla="*/ 862 w 883"/>
              <a:gd name="T11" fmla="*/ 0 h 42"/>
              <a:gd name="T12" fmla="*/ 883 w 883"/>
              <a:gd name="T13" fmla="*/ 21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83" h="42">
                <a:moveTo>
                  <a:pt x="883" y="21"/>
                </a:moveTo>
                <a:cubicBezTo>
                  <a:pt x="883" y="32"/>
                  <a:pt x="874" y="42"/>
                  <a:pt x="862" y="42"/>
                </a:cubicBezTo>
                <a:cubicBezTo>
                  <a:pt x="21" y="42"/>
                  <a:pt x="21" y="42"/>
                  <a:pt x="21" y="42"/>
                </a:cubicBezTo>
                <a:cubicBezTo>
                  <a:pt x="9" y="42"/>
                  <a:pt x="0" y="32"/>
                  <a:pt x="0" y="21"/>
                </a:cubicBezTo>
                <a:cubicBezTo>
                  <a:pt x="0" y="9"/>
                  <a:pt x="9" y="0"/>
                  <a:pt x="21" y="0"/>
                </a:cubicBezTo>
                <a:cubicBezTo>
                  <a:pt x="862" y="0"/>
                  <a:pt x="862" y="0"/>
                  <a:pt x="862" y="0"/>
                </a:cubicBezTo>
                <a:cubicBezTo>
                  <a:pt x="874" y="0"/>
                  <a:pt x="883" y="9"/>
                  <a:pt x="883" y="21"/>
                </a:cubicBez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" name="Rectangle 969">
            <a:extLst>
              <a:ext uri="{FF2B5EF4-FFF2-40B4-BE49-F238E27FC236}">
                <a16:creationId xmlns:a16="http://schemas.microsoft.com/office/drawing/2014/main" id="{BB1CE2E5-6B2A-4386-90AB-BD8D504D46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43878" y="5799472"/>
            <a:ext cx="33811" cy="170304"/>
          </a:xfrm>
          <a:prstGeom prst="rect">
            <a:avLst/>
          </a:pr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8" name="Rectangle 970">
            <a:extLst>
              <a:ext uri="{FF2B5EF4-FFF2-40B4-BE49-F238E27FC236}">
                <a16:creationId xmlns:a16="http://schemas.microsoft.com/office/drawing/2014/main" id="{4C5E9D52-47C1-4147-B3BF-BD8774BDB5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87886" y="5799472"/>
            <a:ext cx="35063" cy="170304"/>
          </a:xfrm>
          <a:prstGeom prst="rect">
            <a:avLst/>
          </a:pr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" name="Freeform 971">
            <a:extLst>
              <a:ext uri="{FF2B5EF4-FFF2-40B4-BE49-F238E27FC236}">
                <a16:creationId xmlns:a16="http://schemas.microsoft.com/office/drawing/2014/main" id="{2922DCA6-3E0B-440D-A9DB-3859AF7D98CD}"/>
              </a:ext>
            </a:extLst>
          </p:cNvPr>
          <p:cNvSpPr>
            <a:spLocks/>
          </p:cNvSpPr>
          <p:nvPr/>
        </p:nvSpPr>
        <p:spPr bwMode="auto">
          <a:xfrm>
            <a:off x="11822591" y="5162085"/>
            <a:ext cx="225402" cy="697495"/>
          </a:xfrm>
          <a:custGeom>
            <a:avLst/>
            <a:gdLst>
              <a:gd name="T0" fmla="*/ 218 w 436"/>
              <a:gd name="T1" fmla="*/ 1342 h 1342"/>
              <a:gd name="T2" fmla="*/ 0 w 436"/>
              <a:gd name="T3" fmla="*/ 1125 h 1342"/>
              <a:gd name="T4" fmla="*/ 0 w 436"/>
              <a:gd name="T5" fmla="*/ 217 h 1342"/>
              <a:gd name="T6" fmla="*/ 218 w 436"/>
              <a:gd name="T7" fmla="*/ 0 h 1342"/>
              <a:gd name="T8" fmla="*/ 436 w 436"/>
              <a:gd name="T9" fmla="*/ 217 h 1342"/>
              <a:gd name="T10" fmla="*/ 436 w 436"/>
              <a:gd name="T11" fmla="*/ 1125 h 1342"/>
              <a:gd name="T12" fmla="*/ 218 w 436"/>
              <a:gd name="T13" fmla="*/ 1342 h 13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36" h="1342">
                <a:moveTo>
                  <a:pt x="218" y="1342"/>
                </a:moveTo>
                <a:cubicBezTo>
                  <a:pt x="98" y="1342"/>
                  <a:pt x="0" y="1245"/>
                  <a:pt x="0" y="1125"/>
                </a:cubicBezTo>
                <a:cubicBezTo>
                  <a:pt x="0" y="217"/>
                  <a:pt x="0" y="217"/>
                  <a:pt x="0" y="217"/>
                </a:cubicBezTo>
                <a:cubicBezTo>
                  <a:pt x="0" y="97"/>
                  <a:pt x="98" y="0"/>
                  <a:pt x="218" y="0"/>
                </a:cubicBezTo>
                <a:cubicBezTo>
                  <a:pt x="338" y="0"/>
                  <a:pt x="436" y="97"/>
                  <a:pt x="436" y="217"/>
                </a:cubicBezTo>
                <a:cubicBezTo>
                  <a:pt x="436" y="1125"/>
                  <a:pt x="436" y="1125"/>
                  <a:pt x="436" y="1125"/>
                </a:cubicBezTo>
                <a:cubicBezTo>
                  <a:pt x="436" y="1245"/>
                  <a:pt x="338" y="1342"/>
                  <a:pt x="218" y="134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0" name="Freeform 972">
            <a:extLst>
              <a:ext uri="{FF2B5EF4-FFF2-40B4-BE49-F238E27FC236}">
                <a16:creationId xmlns:a16="http://schemas.microsoft.com/office/drawing/2014/main" id="{E90B9074-E75D-4C5B-812A-2B84A37FF93D}"/>
              </a:ext>
            </a:extLst>
          </p:cNvPr>
          <p:cNvSpPr>
            <a:spLocks/>
          </p:cNvSpPr>
          <p:nvPr/>
        </p:nvSpPr>
        <p:spPr bwMode="auto">
          <a:xfrm>
            <a:off x="11798798" y="5497684"/>
            <a:ext cx="272987" cy="27549"/>
          </a:xfrm>
          <a:custGeom>
            <a:avLst/>
            <a:gdLst>
              <a:gd name="T0" fmla="*/ 524 w 524"/>
              <a:gd name="T1" fmla="*/ 26 h 53"/>
              <a:gd name="T2" fmla="*/ 498 w 524"/>
              <a:gd name="T3" fmla="*/ 53 h 53"/>
              <a:gd name="T4" fmla="*/ 27 w 524"/>
              <a:gd name="T5" fmla="*/ 53 h 53"/>
              <a:gd name="T6" fmla="*/ 0 w 524"/>
              <a:gd name="T7" fmla="*/ 26 h 53"/>
              <a:gd name="T8" fmla="*/ 27 w 524"/>
              <a:gd name="T9" fmla="*/ 0 h 53"/>
              <a:gd name="T10" fmla="*/ 498 w 524"/>
              <a:gd name="T11" fmla="*/ 0 h 53"/>
              <a:gd name="T12" fmla="*/ 524 w 524"/>
              <a:gd name="T13" fmla="*/ 26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4" h="53">
                <a:moveTo>
                  <a:pt x="524" y="26"/>
                </a:moveTo>
                <a:cubicBezTo>
                  <a:pt x="524" y="41"/>
                  <a:pt x="512" y="53"/>
                  <a:pt x="498" y="53"/>
                </a:cubicBezTo>
                <a:cubicBezTo>
                  <a:pt x="27" y="53"/>
                  <a:pt x="27" y="53"/>
                  <a:pt x="27" y="53"/>
                </a:cubicBezTo>
                <a:cubicBezTo>
                  <a:pt x="12" y="53"/>
                  <a:pt x="0" y="41"/>
                  <a:pt x="0" y="26"/>
                </a:cubicBezTo>
                <a:cubicBezTo>
                  <a:pt x="0" y="11"/>
                  <a:pt x="12" y="0"/>
                  <a:pt x="27" y="0"/>
                </a:cubicBezTo>
                <a:cubicBezTo>
                  <a:pt x="498" y="0"/>
                  <a:pt x="498" y="0"/>
                  <a:pt x="498" y="0"/>
                </a:cubicBezTo>
                <a:cubicBezTo>
                  <a:pt x="512" y="0"/>
                  <a:pt x="524" y="11"/>
                  <a:pt x="524" y="26"/>
                </a:cubicBez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" name="Freeform 973">
            <a:extLst>
              <a:ext uri="{FF2B5EF4-FFF2-40B4-BE49-F238E27FC236}">
                <a16:creationId xmlns:a16="http://schemas.microsoft.com/office/drawing/2014/main" id="{5B04EE7E-8FFC-4EB0-A977-AAB5007ED162}"/>
              </a:ext>
            </a:extLst>
          </p:cNvPr>
          <p:cNvSpPr>
            <a:spLocks/>
          </p:cNvSpPr>
          <p:nvPr/>
        </p:nvSpPr>
        <p:spPr bwMode="auto">
          <a:xfrm>
            <a:off x="11807564" y="5279795"/>
            <a:ext cx="254204" cy="11270"/>
          </a:xfrm>
          <a:custGeom>
            <a:avLst/>
            <a:gdLst>
              <a:gd name="T0" fmla="*/ 489 w 489"/>
              <a:gd name="T1" fmla="*/ 12 h 23"/>
              <a:gd name="T2" fmla="*/ 477 w 489"/>
              <a:gd name="T3" fmla="*/ 23 h 23"/>
              <a:gd name="T4" fmla="*/ 12 w 489"/>
              <a:gd name="T5" fmla="*/ 23 h 23"/>
              <a:gd name="T6" fmla="*/ 0 w 489"/>
              <a:gd name="T7" fmla="*/ 12 h 23"/>
              <a:gd name="T8" fmla="*/ 12 w 489"/>
              <a:gd name="T9" fmla="*/ 0 h 23"/>
              <a:gd name="T10" fmla="*/ 477 w 489"/>
              <a:gd name="T11" fmla="*/ 0 h 23"/>
              <a:gd name="T12" fmla="*/ 489 w 489"/>
              <a:gd name="T13" fmla="*/ 12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9" h="23">
                <a:moveTo>
                  <a:pt x="489" y="12"/>
                </a:moveTo>
                <a:cubicBezTo>
                  <a:pt x="489" y="18"/>
                  <a:pt x="484" y="23"/>
                  <a:pt x="477" y="23"/>
                </a:cubicBezTo>
                <a:cubicBezTo>
                  <a:pt x="12" y="23"/>
                  <a:pt x="12" y="23"/>
                  <a:pt x="12" y="23"/>
                </a:cubicBezTo>
                <a:cubicBezTo>
                  <a:pt x="5" y="23"/>
                  <a:pt x="0" y="18"/>
                  <a:pt x="0" y="12"/>
                </a:cubicBezTo>
                <a:cubicBezTo>
                  <a:pt x="0" y="5"/>
                  <a:pt x="5" y="0"/>
                  <a:pt x="12" y="0"/>
                </a:cubicBezTo>
                <a:cubicBezTo>
                  <a:pt x="477" y="0"/>
                  <a:pt x="477" y="0"/>
                  <a:pt x="477" y="0"/>
                </a:cubicBezTo>
                <a:cubicBezTo>
                  <a:pt x="484" y="0"/>
                  <a:pt x="489" y="5"/>
                  <a:pt x="489" y="12"/>
                </a:cubicBez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2" name="Freeform 974">
            <a:extLst>
              <a:ext uri="{FF2B5EF4-FFF2-40B4-BE49-F238E27FC236}">
                <a16:creationId xmlns:a16="http://schemas.microsoft.com/office/drawing/2014/main" id="{53671051-770F-4BDA-B1E0-C8100508A039}"/>
              </a:ext>
            </a:extLst>
          </p:cNvPr>
          <p:cNvSpPr>
            <a:spLocks/>
          </p:cNvSpPr>
          <p:nvPr/>
        </p:nvSpPr>
        <p:spPr bwMode="auto">
          <a:xfrm>
            <a:off x="11807564" y="5730599"/>
            <a:ext cx="254204" cy="12522"/>
          </a:xfrm>
          <a:custGeom>
            <a:avLst/>
            <a:gdLst>
              <a:gd name="T0" fmla="*/ 489 w 489"/>
              <a:gd name="T1" fmla="*/ 12 h 23"/>
              <a:gd name="T2" fmla="*/ 477 w 489"/>
              <a:gd name="T3" fmla="*/ 23 h 23"/>
              <a:gd name="T4" fmla="*/ 12 w 489"/>
              <a:gd name="T5" fmla="*/ 23 h 23"/>
              <a:gd name="T6" fmla="*/ 0 w 489"/>
              <a:gd name="T7" fmla="*/ 12 h 23"/>
              <a:gd name="T8" fmla="*/ 12 w 489"/>
              <a:gd name="T9" fmla="*/ 0 h 23"/>
              <a:gd name="T10" fmla="*/ 477 w 489"/>
              <a:gd name="T11" fmla="*/ 0 h 23"/>
              <a:gd name="T12" fmla="*/ 489 w 489"/>
              <a:gd name="T13" fmla="*/ 12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9" h="23">
                <a:moveTo>
                  <a:pt x="489" y="12"/>
                </a:moveTo>
                <a:cubicBezTo>
                  <a:pt x="489" y="18"/>
                  <a:pt x="484" y="23"/>
                  <a:pt x="477" y="23"/>
                </a:cubicBezTo>
                <a:cubicBezTo>
                  <a:pt x="12" y="23"/>
                  <a:pt x="12" y="23"/>
                  <a:pt x="12" y="23"/>
                </a:cubicBezTo>
                <a:cubicBezTo>
                  <a:pt x="5" y="23"/>
                  <a:pt x="0" y="18"/>
                  <a:pt x="0" y="12"/>
                </a:cubicBezTo>
                <a:cubicBezTo>
                  <a:pt x="0" y="5"/>
                  <a:pt x="5" y="0"/>
                  <a:pt x="12" y="0"/>
                </a:cubicBezTo>
                <a:cubicBezTo>
                  <a:pt x="477" y="0"/>
                  <a:pt x="477" y="0"/>
                  <a:pt x="477" y="0"/>
                </a:cubicBezTo>
                <a:cubicBezTo>
                  <a:pt x="484" y="0"/>
                  <a:pt x="489" y="5"/>
                  <a:pt x="489" y="12"/>
                </a:cubicBez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3" name="Freeform 975">
            <a:extLst>
              <a:ext uri="{FF2B5EF4-FFF2-40B4-BE49-F238E27FC236}">
                <a16:creationId xmlns:a16="http://schemas.microsoft.com/office/drawing/2014/main" id="{BECD9D81-0B7D-461F-94FB-5EFBCA4E2363}"/>
              </a:ext>
            </a:extLst>
          </p:cNvPr>
          <p:cNvSpPr>
            <a:spLocks/>
          </p:cNvSpPr>
          <p:nvPr/>
        </p:nvSpPr>
        <p:spPr bwMode="auto">
          <a:xfrm>
            <a:off x="10480196" y="5994821"/>
            <a:ext cx="7513" cy="8766"/>
          </a:xfrm>
          <a:custGeom>
            <a:avLst/>
            <a:gdLst>
              <a:gd name="T0" fmla="*/ 1 w 15"/>
              <a:gd name="T1" fmla="*/ 9 h 15"/>
              <a:gd name="T2" fmla="*/ 8 w 15"/>
              <a:gd name="T3" fmla="*/ 1 h 15"/>
              <a:gd name="T4" fmla="*/ 13 w 15"/>
              <a:gd name="T5" fmla="*/ 1 h 15"/>
              <a:gd name="T6" fmla="*/ 13 w 15"/>
              <a:gd name="T7" fmla="*/ 6 h 15"/>
              <a:gd name="T8" fmla="*/ 6 w 15"/>
              <a:gd name="T9" fmla="*/ 14 h 15"/>
              <a:gd name="T10" fmla="*/ 1 w 15"/>
              <a:gd name="T11" fmla="*/ 14 h 15"/>
              <a:gd name="T12" fmla="*/ 1 w 15"/>
              <a:gd name="T13" fmla="*/ 9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" h="15">
                <a:moveTo>
                  <a:pt x="1" y="9"/>
                </a:moveTo>
                <a:cubicBezTo>
                  <a:pt x="8" y="1"/>
                  <a:pt x="8" y="1"/>
                  <a:pt x="8" y="1"/>
                </a:cubicBezTo>
                <a:cubicBezTo>
                  <a:pt x="10" y="0"/>
                  <a:pt x="12" y="0"/>
                  <a:pt x="13" y="1"/>
                </a:cubicBezTo>
                <a:cubicBezTo>
                  <a:pt x="15" y="3"/>
                  <a:pt x="15" y="5"/>
                  <a:pt x="13" y="6"/>
                </a:cubicBezTo>
                <a:cubicBezTo>
                  <a:pt x="6" y="14"/>
                  <a:pt x="6" y="14"/>
                  <a:pt x="6" y="14"/>
                </a:cubicBezTo>
                <a:cubicBezTo>
                  <a:pt x="5" y="15"/>
                  <a:pt x="2" y="15"/>
                  <a:pt x="1" y="14"/>
                </a:cubicBezTo>
                <a:cubicBezTo>
                  <a:pt x="0" y="12"/>
                  <a:pt x="0" y="10"/>
                  <a:pt x="1" y="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4" name="Freeform 976">
            <a:extLst>
              <a:ext uri="{FF2B5EF4-FFF2-40B4-BE49-F238E27FC236}">
                <a16:creationId xmlns:a16="http://schemas.microsoft.com/office/drawing/2014/main" id="{87813A99-E1E2-4182-9FA0-ABECA9773204}"/>
              </a:ext>
            </a:extLst>
          </p:cNvPr>
          <p:cNvSpPr>
            <a:spLocks/>
          </p:cNvSpPr>
          <p:nvPr/>
        </p:nvSpPr>
        <p:spPr bwMode="auto">
          <a:xfrm>
            <a:off x="10446385" y="5999830"/>
            <a:ext cx="65116" cy="46333"/>
          </a:xfrm>
          <a:custGeom>
            <a:avLst/>
            <a:gdLst>
              <a:gd name="T0" fmla="*/ 9 w 125"/>
              <a:gd name="T1" fmla="*/ 89 h 89"/>
              <a:gd name="T2" fmla="*/ 4 w 125"/>
              <a:gd name="T3" fmla="*/ 88 h 89"/>
              <a:gd name="T4" fmla="*/ 3 w 125"/>
              <a:gd name="T5" fmla="*/ 77 h 89"/>
              <a:gd name="T6" fmla="*/ 55 w 125"/>
              <a:gd name="T7" fmla="*/ 3 h 89"/>
              <a:gd name="T8" fmla="*/ 62 w 125"/>
              <a:gd name="T9" fmla="*/ 0 h 89"/>
              <a:gd name="T10" fmla="*/ 117 w 125"/>
              <a:gd name="T11" fmla="*/ 0 h 89"/>
              <a:gd name="T12" fmla="*/ 125 w 125"/>
              <a:gd name="T13" fmla="*/ 8 h 89"/>
              <a:gd name="T14" fmla="*/ 117 w 125"/>
              <a:gd name="T15" fmla="*/ 16 h 89"/>
              <a:gd name="T16" fmla="*/ 66 w 125"/>
              <a:gd name="T17" fmla="*/ 16 h 89"/>
              <a:gd name="T18" fmla="*/ 16 w 125"/>
              <a:gd name="T19" fmla="*/ 86 h 89"/>
              <a:gd name="T20" fmla="*/ 9 w 125"/>
              <a:gd name="T21" fmla="*/ 89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5" h="89">
                <a:moveTo>
                  <a:pt x="9" y="89"/>
                </a:moveTo>
                <a:cubicBezTo>
                  <a:pt x="7" y="89"/>
                  <a:pt x="6" y="89"/>
                  <a:pt x="4" y="88"/>
                </a:cubicBezTo>
                <a:cubicBezTo>
                  <a:pt x="1" y="85"/>
                  <a:pt x="0" y="80"/>
                  <a:pt x="3" y="77"/>
                </a:cubicBezTo>
                <a:cubicBezTo>
                  <a:pt x="55" y="3"/>
                  <a:pt x="55" y="3"/>
                  <a:pt x="55" y="3"/>
                </a:cubicBezTo>
                <a:cubicBezTo>
                  <a:pt x="57" y="1"/>
                  <a:pt x="59" y="0"/>
                  <a:pt x="62" y="0"/>
                </a:cubicBezTo>
                <a:cubicBezTo>
                  <a:pt x="117" y="0"/>
                  <a:pt x="117" y="0"/>
                  <a:pt x="117" y="0"/>
                </a:cubicBezTo>
                <a:cubicBezTo>
                  <a:pt x="122" y="0"/>
                  <a:pt x="125" y="4"/>
                  <a:pt x="125" y="8"/>
                </a:cubicBezTo>
                <a:cubicBezTo>
                  <a:pt x="125" y="12"/>
                  <a:pt x="122" y="16"/>
                  <a:pt x="117" y="16"/>
                </a:cubicBezTo>
                <a:cubicBezTo>
                  <a:pt x="66" y="16"/>
                  <a:pt x="66" y="16"/>
                  <a:pt x="66" y="16"/>
                </a:cubicBezTo>
                <a:cubicBezTo>
                  <a:pt x="16" y="86"/>
                  <a:pt x="16" y="86"/>
                  <a:pt x="16" y="86"/>
                </a:cubicBezTo>
                <a:cubicBezTo>
                  <a:pt x="14" y="88"/>
                  <a:pt x="12" y="89"/>
                  <a:pt x="9" y="89"/>
                </a:cubicBez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5" name="Freeform 977">
            <a:extLst>
              <a:ext uri="{FF2B5EF4-FFF2-40B4-BE49-F238E27FC236}">
                <a16:creationId xmlns:a16="http://schemas.microsoft.com/office/drawing/2014/main" id="{809CD31B-F3B7-42FE-ABF9-5B21A1554218}"/>
              </a:ext>
            </a:extLst>
          </p:cNvPr>
          <p:cNvSpPr>
            <a:spLocks noEditPoints="1"/>
          </p:cNvSpPr>
          <p:nvPr/>
        </p:nvSpPr>
        <p:spPr bwMode="auto">
          <a:xfrm>
            <a:off x="10182165" y="6036144"/>
            <a:ext cx="272987" cy="167799"/>
          </a:xfrm>
          <a:custGeom>
            <a:avLst/>
            <a:gdLst>
              <a:gd name="T0" fmla="*/ 0 w 218"/>
              <a:gd name="T1" fmla="*/ 0 h 134"/>
              <a:gd name="T2" fmla="*/ 0 w 218"/>
              <a:gd name="T3" fmla="*/ 134 h 134"/>
              <a:gd name="T4" fmla="*/ 218 w 218"/>
              <a:gd name="T5" fmla="*/ 134 h 134"/>
              <a:gd name="T6" fmla="*/ 218 w 218"/>
              <a:gd name="T7" fmla="*/ 0 h 134"/>
              <a:gd name="T8" fmla="*/ 0 w 218"/>
              <a:gd name="T9" fmla="*/ 0 h 134"/>
              <a:gd name="T10" fmla="*/ 8 w 218"/>
              <a:gd name="T11" fmla="*/ 8 h 134"/>
              <a:gd name="T12" fmla="*/ 209 w 218"/>
              <a:gd name="T13" fmla="*/ 8 h 134"/>
              <a:gd name="T14" fmla="*/ 209 w 218"/>
              <a:gd name="T15" fmla="*/ 125 h 134"/>
              <a:gd name="T16" fmla="*/ 8 w 218"/>
              <a:gd name="T17" fmla="*/ 125 h 134"/>
              <a:gd name="T18" fmla="*/ 8 w 218"/>
              <a:gd name="T19" fmla="*/ 8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18" h="134">
                <a:moveTo>
                  <a:pt x="0" y="0"/>
                </a:moveTo>
                <a:lnTo>
                  <a:pt x="0" y="134"/>
                </a:lnTo>
                <a:lnTo>
                  <a:pt x="218" y="134"/>
                </a:lnTo>
                <a:lnTo>
                  <a:pt x="218" y="0"/>
                </a:lnTo>
                <a:lnTo>
                  <a:pt x="0" y="0"/>
                </a:lnTo>
                <a:close/>
                <a:moveTo>
                  <a:pt x="8" y="8"/>
                </a:moveTo>
                <a:lnTo>
                  <a:pt x="209" y="8"/>
                </a:lnTo>
                <a:lnTo>
                  <a:pt x="209" y="125"/>
                </a:lnTo>
                <a:lnTo>
                  <a:pt x="8" y="125"/>
                </a:lnTo>
                <a:lnTo>
                  <a:pt x="8" y="8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6" name="Rectangle 978">
            <a:extLst>
              <a:ext uri="{FF2B5EF4-FFF2-40B4-BE49-F238E27FC236}">
                <a16:creationId xmlns:a16="http://schemas.microsoft.com/office/drawing/2014/main" id="{CC1525C8-82A7-4A28-B709-0B6D027BB8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2182" y="6130062"/>
            <a:ext cx="251699" cy="5009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7" name="Oval 979">
            <a:extLst>
              <a:ext uri="{FF2B5EF4-FFF2-40B4-BE49-F238E27FC236}">
                <a16:creationId xmlns:a16="http://schemas.microsoft.com/office/drawing/2014/main" id="{6A4EE937-AFC4-479D-8637-E11E1E93C0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85921" y="6207701"/>
            <a:ext cx="13775" cy="13775"/>
          </a:xfrm>
          <a:prstGeom prst="ellipse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8" name="Oval 980">
            <a:extLst>
              <a:ext uri="{FF2B5EF4-FFF2-40B4-BE49-F238E27FC236}">
                <a16:creationId xmlns:a16="http://schemas.microsoft.com/office/drawing/2014/main" id="{45DF4EE0-BEAC-47A1-92BA-B9CCAB78D1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7620" y="6207701"/>
            <a:ext cx="13775" cy="13775"/>
          </a:xfrm>
          <a:prstGeom prst="ellipse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9" name="Freeform 981">
            <a:extLst>
              <a:ext uri="{FF2B5EF4-FFF2-40B4-BE49-F238E27FC236}">
                <a16:creationId xmlns:a16="http://schemas.microsoft.com/office/drawing/2014/main" id="{8DA5C989-F57B-44A6-A941-2820ED4903B6}"/>
              </a:ext>
            </a:extLst>
          </p:cNvPr>
          <p:cNvSpPr>
            <a:spLocks/>
          </p:cNvSpPr>
          <p:nvPr/>
        </p:nvSpPr>
        <p:spPr bwMode="auto">
          <a:xfrm>
            <a:off x="10719372" y="6191421"/>
            <a:ext cx="27549" cy="32558"/>
          </a:xfrm>
          <a:custGeom>
            <a:avLst/>
            <a:gdLst>
              <a:gd name="T0" fmla="*/ 17 w 52"/>
              <a:gd name="T1" fmla="*/ 21 h 63"/>
              <a:gd name="T2" fmla="*/ 6 w 52"/>
              <a:gd name="T3" fmla="*/ 44 h 63"/>
              <a:gd name="T4" fmla="*/ 12 w 52"/>
              <a:gd name="T5" fmla="*/ 55 h 63"/>
              <a:gd name="T6" fmla="*/ 35 w 52"/>
              <a:gd name="T7" fmla="*/ 24 h 63"/>
              <a:gd name="T8" fmla="*/ 39 w 52"/>
              <a:gd name="T9" fmla="*/ 27 h 63"/>
              <a:gd name="T10" fmla="*/ 52 w 52"/>
              <a:gd name="T11" fmla="*/ 11 h 63"/>
              <a:gd name="T12" fmla="*/ 35 w 52"/>
              <a:gd name="T13" fmla="*/ 0 h 63"/>
              <a:gd name="T14" fmla="*/ 17 w 52"/>
              <a:gd name="T15" fmla="*/ 21 h 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2" h="63">
                <a:moveTo>
                  <a:pt x="17" y="21"/>
                </a:moveTo>
                <a:cubicBezTo>
                  <a:pt x="19" y="26"/>
                  <a:pt x="13" y="38"/>
                  <a:pt x="6" y="44"/>
                </a:cubicBezTo>
                <a:cubicBezTo>
                  <a:pt x="0" y="49"/>
                  <a:pt x="0" y="63"/>
                  <a:pt x="12" y="55"/>
                </a:cubicBezTo>
                <a:cubicBezTo>
                  <a:pt x="27" y="46"/>
                  <a:pt x="36" y="32"/>
                  <a:pt x="35" y="24"/>
                </a:cubicBezTo>
                <a:cubicBezTo>
                  <a:pt x="37" y="25"/>
                  <a:pt x="39" y="27"/>
                  <a:pt x="39" y="27"/>
                </a:cubicBezTo>
                <a:cubicBezTo>
                  <a:pt x="52" y="11"/>
                  <a:pt x="52" y="11"/>
                  <a:pt x="52" y="11"/>
                </a:cubicBezTo>
                <a:cubicBezTo>
                  <a:pt x="35" y="0"/>
                  <a:pt x="35" y="0"/>
                  <a:pt x="35" y="0"/>
                </a:cubicBezTo>
                <a:lnTo>
                  <a:pt x="17" y="21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0" name="Freeform 982">
            <a:extLst>
              <a:ext uri="{FF2B5EF4-FFF2-40B4-BE49-F238E27FC236}">
                <a16:creationId xmlns:a16="http://schemas.microsoft.com/office/drawing/2014/main" id="{1BB3CEF4-E749-4362-801A-F4E0966F3933}"/>
              </a:ext>
            </a:extLst>
          </p:cNvPr>
          <p:cNvSpPr>
            <a:spLocks/>
          </p:cNvSpPr>
          <p:nvPr/>
        </p:nvSpPr>
        <p:spPr bwMode="auto">
          <a:xfrm>
            <a:off x="10582879" y="5954749"/>
            <a:ext cx="150268" cy="244186"/>
          </a:xfrm>
          <a:custGeom>
            <a:avLst/>
            <a:gdLst>
              <a:gd name="T0" fmla="*/ 20 w 290"/>
              <a:gd name="T1" fmla="*/ 110 h 469"/>
              <a:gd name="T2" fmla="*/ 272 w 290"/>
              <a:gd name="T3" fmla="*/ 469 h 469"/>
              <a:gd name="T4" fmla="*/ 290 w 290"/>
              <a:gd name="T5" fmla="*/ 447 h 469"/>
              <a:gd name="T6" fmla="*/ 118 w 290"/>
              <a:gd name="T7" fmla="*/ 91 h 469"/>
              <a:gd name="T8" fmla="*/ 20 w 290"/>
              <a:gd name="T9" fmla="*/ 110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0" h="469">
                <a:moveTo>
                  <a:pt x="20" y="110"/>
                </a:moveTo>
                <a:cubicBezTo>
                  <a:pt x="52" y="251"/>
                  <a:pt x="156" y="391"/>
                  <a:pt x="272" y="469"/>
                </a:cubicBezTo>
                <a:cubicBezTo>
                  <a:pt x="277" y="463"/>
                  <a:pt x="272" y="469"/>
                  <a:pt x="290" y="447"/>
                </a:cubicBezTo>
                <a:cubicBezTo>
                  <a:pt x="185" y="359"/>
                  <a:pt x="119" y="238"/>
                  <a:pt x="118" y="91"/>
                </a:cubicBezTo>
                <a:cubicBezTo>
                  <a:pt x="118" y="0"/>
                  <a:pt x="0" y="22"/>
                  <a:pt x="20" y="11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1" name="Freeform 983">
            <a:extLst>
              <a:ext uri="{FF2B5EF4-FFF2-40B4-BE49-F238E27FC236}">
                <a16:creationId xmlns:a16="http://schemas.microsoft.com/office/drawing/2014/main" id="{888E6A63-5530-4A3F-AE78-33E6FE8BDC9B}"/>
              </a:ext>
            </a:extLst>
          </p:cNvPr>
          <p:cNvSpPr>
            <a:spLocks/>
          </p:cNvSpPr>
          <p:nvPr/>
        </p:nvSpPr>
        <p:spPr bwMode="auto">
          <a:xfrm>
            <a:off x="10467674" y="6197683"/>
            <a:ext cx="35063" cy="22540"/>
          </a:xfrm>
          <a:custGeom>
            <a:avLst/>
            <a:gdLst>
              <a:gd name="T0" fmla="*/ 44 w 68"/>
              <a:gd name="T1" fmla="*/ 11 h 43"/>
              <a:gd name="T2" fmla="*/ 19 w 68"/>
              <a:gd name="T3" fmla="*/ 4 h 43"/>
              <a:gd name="T4" fmla="*/ 9 w 68"/>
              <a:gd name="T5" fmla="*/ 12 h 43"/>
              <a:gd name="T6" fmla="*/ 44 w 68"/>
              <a:gd name="T7" fmla="*/ 28 h 43"/>
              <a:gd name="T8" fmla="*/ 42 w 68"/>
              <a:gd name="T9" fmla="*/ 33 h 43"/>
              <a:gd name="T10" fmla="*/ 60 w 68"/>
              <a:gd name="T11" fmla="*/ 43 h 43"/>
              <a:gd name="T12" fmla="*/ 68 w 68"/>
              <a:gd name="T13" fmla="*/ 24 h 43"/>
              <a:gd name="T14" fmla="*/ 44 w 68"/>
              <a:gd name="T15" fmla="*/ 11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8" h="43">
                <a:moveTo>
                  <a:pt x="44" y="11"/>
                </a:moveTo>
                <a:cubicBezTo>
                  <a:pt x="39" y="14"/>
                  <a:pt x="27" y="10"/>
                  <a:pt x="19" y="4"/>
                </a:cubicBezTo>
                <a:cubicBezTo>
                  <a:pt x="13" y="0"/>
                  <a:pt x="0" y="2"/>
                  <a:pt x="9" y="12"/>
                </a:cubicBezTo>
                <a:cubicBezTo>
                  <a:pt x="21" y="25"/>
                  <a:pt x="37" y="32"/>
                  <a:pt x="44" y="28"/>
                </a:cubicBezTo>
                <a:cubicBezTo>
                  <a:pt x="43" y="31"/>
                  <a:pt x="42" y="33"/>
                  <a:pt x="42" y="33"/>
                </a:cubicBezTo>
                <a:cubicBezTo>
                  <a:pt x="60" y="43"/>
                  <a:pt x="60" y="43"/>
                  <a:pt x="60" y="43"/>
                </a:cubicBezTo>
                <a:cubicBezTo>
                  <a:pt x="68" y="24"/>
                  <a:pt x="68" y="24"/>
                  <a:pt x="68" y="24"/>
                </a:cubicBezTo>
                <a:lnTo>
                  <a:pt x="44" y="11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2" name="Freeform 984">
            <a:extLst>
              <a:ext uri="{FF2B5EF4-FFF2-40B4-BE49-F238E27FC236}">
                <a16:creationId xmlns:a16="http://schemas.microsoft.com/office/drawing/2014/main" id="{51CDBD5B-70DD-4611-9F8F-05414E5B8589}"/>
              </a:ext>
            </a:extLst>
          </p:cNvPr>
          <p:cNvSpPr>
            <a:spLocks/>
          </p:cNvSpPr>
          <p:nvPr/>
        </p:nvSpPr>
        <p:spPr bwMode="auto">
          <a:xfrm>
            <a:off x="10492718" y="5974785"/>
            <a:ext cx="132737" cy="231664"/>
          </a:xfrm>
          <a:custGeom>
            <a:avLst/>
            <a:gdLst>
              <a:gd name="T0" fmla="*/ 109 w 255"/>
              <a:gd name="T1" fmla="*/ 83 h 445"/>
              <a:gd name="T2" fmla="*/ 0 w 255"/>
              <a:gd name="T3" fmla="*/ 432 h 445"/>
              <a:gd name="T4" fmla="*/ 25 w 255"/>
              <a:gd name="T5" fmla="*/ 445 h 445"/>
              <a:gd name="T6" fmla="*/ 208 w 255"/>
              <a:gd name="T7" fmla="*/ 80 h 445"/>
              <a:gd name="T8" fmla="*/ 109 w 255"/>
              <a:gd name="T9" fmla="*/ 83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5" h="445">
                <a:moveTo>
                  <a:pt x="109" y="83"/>
                </a:moveTo>
                <a:cubicBezTo>
                  <a:pt x="74" y="163"/>
                  <a:pt x="32" y="286"/>
                  <a:pt x="0" y="432"/>
                </a:cubicBezTo>
                <a:cubicBezTo>
                  <a:pt x="7" y="435"/>
                  <a:pt x="0" y="431"/>
                  <a:pt x="25" y="445"/>
                </a:cubicBezTo>
                <a:cubicBezTo>
                  <a:pt x="69" y="321"/>
                  <a:pt x="128" y="208"/>
                  <a:pt x="208" y="80"/>
                </a:cubicBezTo>
                <a:cubicBezTo>
                  <a:pt x="255" y="3"/>
                  <a:pt x="145" y="0"/>
                  <a:pt x="109" y="83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3" name="Freeform 985">
            <a:extLst>
              <a:ext uri="{FF2B5EF4-FFF2-40B4-BE49-F238E27FC236}">
                <a16:creationId xmlns:a16="http://schemas.microsoft.com/office/drawing/2014/main" id="{4679878B-4EB5-4146-889F-AE4A650E7A96}"/>
              </a:ext>
            </a:extLst>
          </p:cNvPr>
          <p:cNvSpPr>
            <a:spLocks/>
          </p:cNvSpPr>
          <p:nvPr/>
        </p:nvSpPr>
        <p:spPr bwMode="auto">
          <a:xfrm>
            <a:off x="10515259" y="5761905"/>
            <a:ext cx="66369" cy="73882"/>
          </a:xfrm>
          <a:custGeom>
            <a:avLst/>
            <a:gdLst>
              <a:gd name="T0" fmla="*/ 15 w 128"/>
              <a:gd name="T1" fmla="*/ 73 h 143"/>
              <a:gd name="T2" fmla="*/ 11 w 128"/>
              <a:gd name="T3" fmla="*/ 67 h 143"/>
              <a:gd name="T4" fmla="*/ 10 w 128"/>
              <a:gd name="T5" fmla="*/ 59 h 143"/>
              <a:gd name="T6" fmla="*/ 0 w 128"/>
              <a:gd name="T7" fmla="*/ 61 h 143"/>
              <a:gd name="T8" fmla="*/ 6 w 128"/>
              <a:gd name="T9" fmla="*/ 33 h 143"/>
              <a:gd name="T10" fmla="*/ 40 w 128"/>
              <a:gd name="T11" fmla="*/ 3 h 143"/>
              <a:gd name="T12" fmla="*/ 79 w 128"/>
              <a:gd name="T13" fmla="*/ 29 h 143"/>
              <a:gd name="T14" fmla="*/ 116 w 128"/>
              <a:gd name="T15" fmla="*/ 118 h 143"/>
              <a:gd name="T16" fmla="*/ 23 w 128"/>
              <a:gd name="T17" fmla="*/ 117 h 143"/>
              <a:gd name="T18" fmla="*/ 17 w 128"/>
              <a:gd name="T19" fmla="*/ 83 h 143"/>
              <a:gd name="T20" fmla="*/ 15 w 128"/>
              <a:gd name="T21" fmla="*/ 73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8" h="143">
                <a:moveTo>
                  <a:pt x="15" y="73"/>
                </a:moveTo>
                <a:cubicBezTo>
                  <a:pt x="12" y="74"/>
                  <a:pt x="11" y="70"/>
                  <a:pt x="11" y="67"/>
                </a:cubicBezTo>
                <a:cubicBezTo>
                  <a:pt x="10" y="64"/>
                  <a:pt x="10" y="59"/>
                  <a:pt x="10" y="59"/>
                </a:cubicBezTo>
                <a:cubicBezTo>
                  <a:pt x="0" y="61"/>
                  <a:pt x="0" y="61"/>
                  <a:pt x="0" y="61"/>
                </a:cubicBezTo>
                <a:cubicBezTo>
                  <a:pt x="0" y="61"/>
                  <a:pt x="2" y="48"/>
                  <a:pt x="6" y="33"/>
                </a:cubicBezTo>
                <a:cubicBezTo>
                  <a:pt x="10" y="18"/>
                  <a:pt x="21" y="7"/>
                  <a:pt x="40" y="3"/>
                </a:cubicBezTo>
                <a:cubicBezTo>
                  <a:pt x="61" y="0"/>
                  <a:pt x="70" y="5"/>
                  <a:pt x="79" y="29"/>
                </a:cubicBezTo>
                <a:cubicBezTo>
                  <a:pt x="84" y="41"/>
                  <a:pt x="103" y="91"/>
                  <a:pt x="116" y="118"/>
                </a:cubicBezTo>
                <a:cubicBezTo>
                  <a:pt x="128" y="143"/>
                  <a:pt x="23" y="117"/>
                  <a:pt x="23" y="117"/>
                </a:cubicBezTo>
                <a:cubicBezTo>
                  <a:pt x="21" y="103"/>
                  <a:pt x="19" y="95"/>
                  <a:pt x="17" y="83"/>
                </a:cubicBezTo>
                <a:cubicBezTo>
                  <a:pt x="14" y="82"/>
                  <a:pt x="13" y="75"/>
                  <a:pt x="15" y="7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4" name="Freeform 986">
            <a:extLst>
              <a:ext uri="{FF2B5EF4-FFF2-40B4-BE49-F238E27FC236}">
                <a16:creationId xmlns:a16="http://schemas.microsoft.com/office/drawing/2014/main" id="{F83380EB-0C6F-4B3E-AE73-22189DA9CEE6}"/>
              </a:ext>
            </a:extLst>
          </p:cNvPr>
          <p:cNvSpPr>
            <a:spLocks/>
          </p:cNvSpPr>
          <p:nvPr/>
        </p:nvSpPr>
        <p:spPr bwMode="auto">
          <a:xfrm>
            <a:off x="10522772" y="5779437"/>
            <a:ext cx="3757" cy="5009"/>
          </a:xfrm>
          <a:custGeom>
            <a:avLst/>
            <a:gdLst>
              <a:gd name="T0" fmla="*/ 1 w 9"/>
              <a:gd name="T1" fmla="*/ 4 h 9"/>
              <a:gd name="T2" fmla="*/ 4 w 9"/>
              <a:gd name="T3" fmla="*/ 9 h 9"/>
              <a:gd name="T4" fmla="*/ 9 w 9"/>
              <a:gd name="T5" fmla="*/ 5 h 9"/>
              <a:gd name="T6" fmla="*/ 5 w 9"/>
              <a:gd name="T7" fmla="*/ 1 h 9"/>
              <a:gd name="T8" fmla="*/ 1 w 9"/>
              <a:gd name="T9" fmla="*/ 4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9">
                <a:moveTo>
                  <a:pt x="1" y="4"/>
                </a:moveTo>
                <a:cubicBezTo>
                  <a:pt x="0" y="7"/>
                  <a:pt x="2" y="9"/>
                  <a:pt x="4" y="9"/>
                </a:cubicBezTo>
                <a:cubicBezTo>
                  <a:pt x="7" y="9"/>
                  <a:pt x="9" y="8"/>
                  <a:pt x="9" y="5"/>
                </a:cubicBezTo>
                <a:cubicBezTo>
                  <a:pt x="9" y="3"/>
                  <a:pt x="8" y="1"/>
                  <a:pt x="5" y="1"/>
                </a:cubicBezTo>
                <a:cubicBezTo>
                  <a:pt x="3" y="0"/>
                  <a:pt x="1" y="2"/>
                  <a:pt x="1" y="4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5" name="Freeform 987">
            <a:extLst>
              <a:ext uri="{FF2B5EF4-FFF2-40B4-BE49-F238E27FC236}">
                <a16:creationId xmlns:a16="http://schemas.microsoft.com/office/drawing/2014/main" id="{0B48611E-1BA1-41D6-B161-5B9365DC80DE}"/>
              </a:ext>
            </a:extLst>
          </p:cNvPr>
          <p:cNvSpPr>
            <a:spLocks/>
          </p:cNvSpPr>
          <p:nvPr/>
        </p:nvSpPr>
        <p:spPr bwMode="auto">
          <a:xfrm>
            <a:off x="10527781" y="5779437"/>
            <a:ext cx="3757" cy="3757"/>
          </a:xfrm>
          <a:custGeom>
            <a:avLst/>
            <a:gdLst>
              <a:gd name="T0" fmla="*/ 0 w 9"/>
              <a:gd name="T1" fmla="*/ 4 h 9"/>
              <a:gd name="T2" fmla="*/ 4 w 9"/>
              <a:gd name="T3" fmla="*/ 8 h 9"/>
              <a:gd name="T4" fmla="*/ 9 w 9"/>
              <a:gd name="T5" fmla="*/ 5 h 9"/>
              <a:gd name="T6" fmla="*/ 5 w 9"/>
              <a:gd name="T7" fmla="*/ 0 h 9"/>
              <a:gd name="T8" fmla="*/ 0 w 9"/>
              <a:gd name="T9" fmla="*/ 4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9">
                <a:moveTo>
                  <a:pt x="0" y="4"/>
                </a:moveTo>
                <a:cubicBezTo>
                  <a:pt x="0" y="6"/>
                  <a:pt x="1" y="8"/>
                  <a:pt x="4" y="8"/>
                </a:cubicBezTo>
                <a:cubicBezTo>
                  <a:pt x="6" y="9"/>
                  <a:pt x="8" y="7"/>
                  <a:pt x="9" y="5"/>
                </a:cubicBezTo>
                <a:cubicBezTo>
                  <a:pt x="9" y="2"/>
                  <a:pt x="7" y="0"/>
                  <a:pt x="5" y="0"/>
                </a:cubicBezTo>
                <a:cubicBezTo>
                  <a:pt x="3" y="0"/>
                  <a:pt x="0" y="1"/>
                  <a:pt x="0" y="4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6" name="Freeform 988">
            <a:extLst>
              <a:ext uri="{FF2B5EF4-FFF2-40B4-BE49-F238E27FC236}">
                <a16:creationId xmlns:a16="http://schemas.microsoft.com/office/drawing/2014/main" id="{012C84A0-8FF1-4D51-AAEB-EE3F4C13CE44}"/>
              </a:ext>
            </a:extLst>
          </p:cNvPr>
          <p:cNvSpPr>
            <a:spLocks/>
          </p:cNvSpPr>
          <p:nvPr/>
        </p:nvSpPr>
        <p:spPr bwMode="auto">
          <a:xfrm>
            <a:off x="10529033" y="5756896"/>
            <a:ext cx="30054" cy="20036"/>
          </a:xfrm>
          <a:custGeom>
            <a:avLst/>
            <a:gdLst>
              <a:gd name="T0" fmla="*/ 6 w 57"/>
              <a:gd name="T1" fmla="*/ 2 h 40"/>
              <a:gd name="T2" fmla="*/ 20 w 57"/>
              <a:gd name="T3" fmla="*/ 3 h 40"/>
              <a:gd name="T4" fmla="*/ 39 w 57"/>
              <a:gd name="T5" fmla="*/ 12 h 40"/>
              <a:gd name="T6" fmla="*/ 52 w 57"/>
              <a:gd name="T7" fmla="*/ 39 h 40"/>
              <a:gd name="T8" fmla="*/ 39 w 57"/>
              <a:gd name="T9" fmla="*/ 21 h 40"/>
              <a:gd name="T10" fmla="*/ 12 w 57"/>
              <a:gd name="T11" fmla="*/ 22 h 40"/>
              <a:gd name="T12" fmla="*/ 6 w 57"/>
              <a:gd name="T13" fmla="*/ 2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7" h="40">
                <a:moveTo>
                  <a:pt x="6" y="2"/>
                </a:moveTo>
                <a:cubicBezTo>
                  <a:pt x="6" y="6"/>
                  <a:pt x="13" y="7"/>
                  <a:pt x="20" y="3"/>
                </a:cubicBezTo>
                <a:cubicBezTo>
                  <a:pt x="28" y="0"/>
                  <a:pt x="37" y="4"/>
                  <a:pt x="39" y="12"/>
                </a:cubicBezTo>
                <a:cubicBezTo>
                  <a:pt x="51" y="10"/>
                  <a:pt x="57" y="30"/>
                  <a:pt x="52" y="39"/>
                </a:cubicBezTo>
                <a:cubicBezTo>
                  <a:pt x="47" y="40"/>
                  <a:pt x="38" y="25"/>
                  <a:pt x="39" y="21"/>
                </a:cubicBezTo>
                <a:cubicBezTo>
                  <a:pt x="36" y="22"/>
                  <a:pt x="19" y="25"/>
                  <a:pt x="12" y="22"/>
                </a:cubicBezTo>
                <a:cubicBezTo>
                  <a:pt x="5" y="19"/>
                  <a:pt x="0" y="9"/>
                  <a:pt x="6" y="2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7" name="Freeform 989">
            <a:extLst>
              <a:ext uri="{FF2B5EF4-FFF2-40B4-BE49-F238E27FC236}">
                <a16:creationId xmlns:a16="http://schemas.microsoft.com/office/drawing/2014/main" id="{BDC4775E-C09C-4CBC-B48B-1D6CA73660B6}"/>
              </a:ext>
            </a:extLst>
          </p:cNvPr>
          <p:cNvSpPr>
            <a:spLocks/>
          </p:cNvSpPr>
          <p:nvPr/>
        </p:nvSpPr>
        <p:spPr bwMode="auto">
          <a:xfrm>
            <a:off x="10522772" y="5822013"/>
            <a:ext cx="131485" cy="212880"/>
          </a:xfrm>
          <a:custGeom>
            <a:avLst/>
            <a:gdLst>
              <a:gd name="T0" fmla="*/ 9 w 254"/>
              <a:gd name="T1" fmla="*/ 2 h 410"/>
              <a:gd name="T2" fmla="*/ 28 w 254"/>
              <a:gd name="T3" fmla="*/ 410 h 410"/>
              <a:gd name="T4" fmla="*/ 254 w 254"/>
              <a:gd name="T5" fmla="*/ 397 h 410"/>
              <a:gd name="T6" fmla="*/ 107 w 254"/>
              <a:gd name="T7" fmla="*/ 2 h 410"/>
              <a:gd name="T8" fmla="*/ 9 w 254"/>
              <a:gd name="T9" fmla="*/ 2 h 4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410">
                <a:moveTo>
                  <a:pt x="9" y="2"/>
                </a:moveTo>
                <a:cubicBezTo>
                  <a:pt x="25" y="85"/>
                  <a:pt x="0" y="269"/>
                  <a:pt x="28" y="410"/>
                </a:cubicBezTo>
                <a:cubicBezTo>
                  <a:pt x="74" y="401"/>
                  <a:pt x="210" y="398"/>
                  <a:pt x="254" y="397"/>
                </a:cubicBezTo>
                <a:cubicBezTo>
                  <a:pt x="254" y="397"/>
                  <a:pt x="175" y="0"/>
                  <a:pt x="107" y="2"/>
                </a:cubicBezTo>
                <a:cubicBezTo>
                  <a:pt x="90" y="2"/>
                  <a:pt x="33" y="2"/>
                  <a:pt x="9" y="2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8" name="Freeform 990">
            <a:extLst>
              <a:ext uri="{FF2B5EF4-FFF2-40B4-BE49-F238E27FC236}">
                <a16:creationId xmlns:a16="http://schemas.microsoft.com/office/drawing/2014/main" id="{13C3A6C6-C77C-4B8B-98DB-2E06339ECBD9}"/>
              </a:ext>
            </a:extLst>
          </p:cNvPr>
          <p:cNvSpPr>
            <a:spLocks/>
          </p:cNvSpPr>
          <p:nvPr/>
        </p:nvSpPr>
        <p:spPr bwMode="auto">
          <a:xfrm>
            <a:off x="10534042" y="5823264"/>
            <a:ext cx="8766" cy="6262"/>
          </a:xfrm>
          <a:custGeom>
            <a:avLst/>
            <a:gdLst>
              <a:gd name="T0" fmla="*/ 0 w 18"/>
              <a:gd name="T1" fmla="*/ 12 h 13"/>
              <a:gd name="T2" fmla="*/ 3 w 18"/>
              <a:gd name="T3" fmla="*/ 0 h 13"/>
              <a:gd name="T4" fmla="*/ 18 w 18"/>
              <a:gd name="T5" fmla="*/ 0 h 13"/>
              <a:gd name="T6" fmla="*/ 18 w 18"/>
              <a:gd name="T7" fmla="*/ 13 h 13"/>
              <a:gd name="T8" fmla="*/ 0 w 18"/>
              <a:gd name="T9" fmla="*/ 12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13">
                <a:moveTo>
                  <a:pt x="0" y="12"/>
                </a:moveTo>
                <a:cubicBezTo>
                  <a:pt x="3" y="0"/>
                  <a:pt x="3" y="0"/>
                  <a:pt x="3" y="0"/>
                </a:cubicBezTo>
                <a:cubicBezTo>
                  <a:pt x="8" y="0"/>
                  <a:pt x="13" y="0"/>
                  <a:pt x="18" y="0"/>
                </a:cubicBezTo>
                <a:cubicBezTo>
                  <a:pt x="18" y="13"/>
                  <a:pt x="18" y="13"/>
                  <a:pt x="18" y="13"/>
                </a:cubicBezTo>
                <a:lnTo>
                  <a:pt x="0" y="12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9" name="Freeform 991">
            <a:extLst>
              <a:ext uri="{FF2B5EF4-FFF2-40B4-BE49-F238E27FC236}">
                <a16:creationId xmlns:a16="http://schemas.microsoft.com/office/drawing/2014/main" id="{B2CA6281-9824-4A51-B481-1A16C3AE1B30}"/>
              </a:ext>
            </a:extLst>
          </p:cNvPr>
          <p:cNvSpPr>
            <a:spLocks/>
          </p:cNvSpPr>
          <p:nvPr/>
        </p:nvSpPr>
        <p:spPr bwMode="auto">
          <a:xfrm>
            <a:off x="10532790" y="5824517"/>
            <a:ext cx="30054" cy="106440"/>
          </a:xfrm>
          <a:custGeom>
            <a:avLst/>
            <a:gdLst>
              <a:gd name="T0" fmla="*/ 17 w 59"/>
              <a:gd name="T1" fmla="*/ 10 h 205"/>
              <a:gd name="T2" fmla="*/ 5 w 59"/>
              <a:gd name="T3" fmla="*/ 10 h 205"/>
              <a:gd name="T4" fmla="*/ 20 w 59"/>
              <a:gd name="T5" fmla="*/ 193 h 205"/>
              <a:gd name="T6" fmla="*/ 48 w 59"/>
              <a:gd name="T7" fmla="*/ 205 h 205"/>
              <a:gd name="T8" fmla="*/ 59 w 59"/>
              <a:gd name="T9" fmla="*/ 176 h 205"/>
              <a:gd name="T10" fmla="*/ 17 w 59"/>
              <a:gd name="T11" fmla="*/ 10 h 2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9" h="205">
                <a:moveTo>
                  <a:pt x="17" y="10"/>
                </a:moveTo>
                <a:cubicBezTo>
                  <a:pt x="16" y="0"/>
                  <a:pt x="6" y="1"/>
                  <a:pt x="5" y="10"/>
                </a:cubicBezTo>
                <a:cubicBezTo>
                  <a:pt x="0" y="49"/>
                  <a:pt x="3" y="133"/>
                  <a:pt x="20" y="193"/>
                </a:cubicBezTo>
                <a:cubicBezTo>
                  <a:pt x="31" y="198"/>
                  <a:pt x="48" y="205"/>
                  <a:pt x="48" y="205"/>
                </a:cubicBezTo>
                <a:cubicBezTo>
                  <a:pt x="48" y="205"/>
                  <a:pt x="57" y="184"/>
                  <a:pt x="59" y="176"/>
                </a:cubicBezTo>
                <a:cubicBezTo>
                  <a:pt x="29" y="127"/>
                  <a:pt x="20" y="50"/>
                  <a:pt x="17" y="10"/>
                </a:cubicBez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0" name="Freeform 992">
            <a:extLst>
              <a:ext uri="{FF2B5EF4-FFF2-40B4-BE49-F238E27FC236}">
                <a16:creationId xmlns:a16="http://schemas.microsoft.com/office/drawing/2014/main" id="{E20A6B14-A5D6-473C-8DD8-CFE24FB8C7C7}"/>
              </a:ext>
            </a:extLst>
          </p:cNvPr>
          <p:cNvSpPr>
            <a:spLocks/>
          </p:cNvSpPr>
          <p:nvPr/>
        </p:nvSpPr>
        <p:spPr bwMode="auto">
          <a:xfrm>
            <a:off x="10497727" y="5823264"/>
            <a:ext cx="196601" cy="325581"/>
          </a:xfrm>
          <a:custGeom>
            <a:avLst/>
            <a:gdLst>
              <a:gd name="T0" fmla="*/ 131 w 379"/>
              <a:gd name="T1" fmla="*/ 0 h 626"/>
              <a:gd name="T2" fmla="*/ 69 w 379"/>
              <a:gd name="T3" fmla="*/ 173 h 626"/>
              <a:gd name="T4" fmla="*/ 61 w 379"/>
              <a:gd name="T5" fmla="*/ 0 h 626"/>
              <a:gd name="T6" fmla="*/ 57 w 379"/>
              <a:gd name="T7" fmla="*/ 0 h 626"/>
              <a:gd name="T8" fmla="*/ 56 w 379"/>
              <a:gd name="T9" fmla="*/ 404 h 626"/>
              <a:gd name="T10" fmla="*/ 0 w 379"/>
              <a:gd name="T11" fmla="*/ 605 h 626"/>
              <a:gd name="T12" fmla="*/ 87 w 379"/>
              <a:gd name="T13" fmla="*/ 626 h 626"/>
              <a:gd name="T14" fmla="*/ 151 w 379"/>
              <a:gd name="T15" fmla="*/ 495 h 626"/>
              <a:gd name="T16" fmla="*/ 209 w 379"/>
              <a:gd name="T17" fmla="*/ 622 h 626"/>
              <a:gd name="T18" fmla="*/ 379 w 379"/>
              <a:gd name="T19" fmla="*/ 572 h 626"/>
              <a:gd name="T20" fmla="*/ 295 w 379"/>
              <a:gd name="T21" fmla="*/ 331 h 626"/>
              <a:gd name="T22" fmla="*/ 174 w 379"/>
              <a:gd name="T23" fmla="*/ 0 h 626"/>
              <a:gd name="T24" fmla="*/ 131 w 379"/>
              <a:gd name="T25" fmla="*/ 0 h 6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79" h="626">
                <a:moveTo>
                  <a:pt x="131" y="0"/>
                </a:moveTo>
                <a:cubicBezTo>
                  <a:pt x="69" y="173"/>
                  <a:pt x="69" y="173"/>
                  <a:pt x="69" y="173"/>
                </a:cubicBezTo>
                <a:cubicBezTo>
                  <a:pt x="61" y="0"/>
                  <a:pt x="61" y="0"/>
                  <a:pt x="61" y="0"/>
                </a:cubicBezTo>
                <a:cubicBezTo>
                  <a:pt x="57" y="0"/>
                  <a:pt x="57" y="0"/>
                  <a:pt x="57" y="0"/>
                </a:cubicBezTo>
                <a:cubicBezTo>
                  <a:pt x="56" y="404"/>
                  <a:pt x="56" y="404"/>
                  <a:pt x="56" y="404"/>
                </a:cubicBezTo>
                <a:cubicBezTo>
                  <a:pt x="56" y="404"/>
                  <a:pt x="10" y="546"/>
                  <a:pt x="0" y="605"/>
                </a:cubicBezTo>
                <a:cubicBezTo>
                  <a:pt x="23" y="615"/>
                  <a:pt x="87" y="626"/>
                  <a:pt x="87" y="626"/>
                </a:cubicBezTo>
                <a:cubicBezTo>
                  <a:pt x="151" y="495"/>
                  <a:pt x="151" y="495"/>
                  <a:pt x="151" y="495"/>
                </a:cubicBezTo>
                <a:cubicBezTo>
                  <a:pt x="209" y="622"/>
                  <a:pt x="209" y="622"/>
                  <a:pt x="209" y="622"/>
                </a:cubicBezTo>
                <a:cubicBezTo>
                  <a:pt x="379" y="572"/>
                  <a:pt x="379" y="572"/>
                  <a:pt x="379" y="572"/>
                </a:cubicBezTo>
                <a:cubicBezTo>
                  <a:pt x="337" y="511"/>
                  <a:pt x="310" y="418"/>
                  <a:pt x="295" y="331"/>
                </a:cubicBezTo>
                <a:cubicBezTo>
                  <a:pt x="280" y="244"/>
                  <a:pt x="203" y="0"/>
                  <a:pt x="174" y="0"/>
                </a:cubicBezTo>
                <a:cubicBezTo>
                  <a:pt x="145" y="0"/>
                  <a:pt x="131" y="0"/>
                  <a:pt x="13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1" name="Freeform 993">
            <a:extLst>
              <a:ext uri="{FF2B5EF4-FFF2-40B4-BE49-F238E27FC236}">
                <a16:creationId xmlns:a16="http://schemas.microsoft.com/office/drawing/2014/main" id="{E8CD21A2-9D30-46C7-963D-7F04A02AAC81}"/>
              </a:ext>
            </a:extLst>
          </p:cNvPr>
          <p:cNvSpPr>
            <a:spLocks/>
          </p:cNvSpPr>
          <p:nvPr/>
        </p:nvSpPr>
        <p:spPr bwMode="auto">
          <a:xfrm>
            <a:off x="10526528" y="5825769"/>
            <a:ext cx="77638" cy="154025"/>
          </a:xfrm>
          <a:custGeom>
            <a:avLst/>
            <a:gdLst>
              <a:gd name="T0" fmla="*/ 139 w 148"/>
              <a:gd name="T1" fmla="*/ 51 h 298"/>
              <a:gd name="T2" fmla="*/ 0 w 148"/>
              <a:gd name="T3" fmla="*/ 298 h 298"/>
              <a:gd name="T4" fmla="*/ 1 w 148"/>
              <a:gd name="T5" fmla="*/ 209 h 298"/>
              <a:gd name="T6" fmla="*/ 67 w 148"/>
              <a:gd name="T7" fmla="*/ 33 h 298"/>
              <a:gd name="T8" fmla="*/ 139 w 148"/>
              <a:gd name="T9" fmla="*/ 51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" h="298">
                <a:moveTo>
                  <a:pt x="139" y="51"/>
                </a:moveTo>
                <a:cubicBezTo>
                  <a:pt x="108" y="177"/>
                  <a:pt x="50" y="251"/>
                  <a:pt x="0" y="298"/>
                </a:cubicBezTo>
                <a:cubicBezTo>
                  <a:pt x="1" y="209"/>
                  <a:pt x="1" y="209"/>
                  <a:pt x="1" y="209"/>
                </a:cubicBezTo>
                <a:cubicBezTo>
                  <a:pt x="26" y="167"/>
                  <a:pt x="52" y="112"/>
                  <a:pt x="67" y="33"/>
                </a:cubicBezTo>
                <a:cubicBezTo>
                  <a:pt x="74" y="0"/>
                  <a:pt x="148" y="13"/>
                  <a:pt x="139" y="51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2" name="Freeform 994">
            <a:extLst>
              <a:ext uri="{FF2B5EF4-FFF2-40B4-BE49-F238E27FC236}">
                <a16:creationId xmlns:a16="http://schemas.microsoft.com/office/drawing/2014/main" id="{6E69ACB1-FE28-4BAE-A5F5-0AEB6CAD206D}"/>
              </a:ext>
            </a:extLst>
          </p:cNvPr>
          <p:cNvSpPr>
            <a:spLocks/>
          </p:cNvSpPr>
          <p:nvPr/>
        </p:nvSpPr>
        <p:spPr bwMode="auto">
          <a:xfrm>
            <a:off x="10483952" y="5987307"/>
            <a:ext cx="17531" cy="25045"/>
          </a:xfrm>
          <a:custGeom>
            <a:avLst/>
            <a:gdLst>
              <a:gd name="T0" fmla="*/ 0 w 34"/>
              <a:gd name="T1" fmla="*/ 16 h 48"/>
              <a:gd name="T2" fmla="*/ 1 w 34"/>
              <a:gd name="T3" fmla="*/ 42 h 48"/>
              <a:gd name="T4" fmla="*/ 4 w 34"/>
              <a:gd name="T5" fmla="*/ 46 h 48"/>
              <a:gd name="T6" fmla="*/ 8 w 34"/>
              <a:gd name="T7" fmla="*/ 42 h 48"/>
              <a:gd name="T8" fmla="*/ 8 w 34"/>
              <a:gd name="T9" fmla="*/ 38 h 48"/>
              <a:gd name="T10" fmla="*/ 8 w 34"/>
              <a:gd name="T11" fmla="*/ 38 h 48"/>
              <a:gd name="T12" fmla="*/ 9 w 34"/>
              <a:gd name="T13" fmla="*/ 38 h 48"/>
              <a:gd name="T14" fmla="*/ 9 w 34"/>
              <a:gd name="T15" fmla="*/ 44 h 48"/>
              <a:gd name="T16" fmla="*/ 12 w 34"/>
              <a:gd name="T17" fmla="*/ 48 h 48"/>
              <a:gd name="T18" fmla="*/ 16 w 34"/>
              <a:gd name="T19" fmla="*/ 44 h 48"/>
              <a:gd name="T20" fmla="*/ 16 w 34"/>
              <a:gd name="T21" fmla="*/ 38 h 48"/>
              <a:gd name="T22" fmla="*/ 16 w 34"/>
              <a:gd name="T23" fmla="*/ 38 h 48"/>
              <a:gd name="T24" fmla="*/ 17 w 34"/>
              <a:gd name="T25" fmla="*/ 38 h 48"/>
              <a:gd name="T26" fmla="*/ 17 w 34"/>
              <a:gd name="T27" fmla="*/ 41 h 48"/>
              <a:gd name="T28" fmla="*/ 20 w 34"/>
              <a:gd name="T29" fmla="*/ 45 h 48"/>
              <a:gd name="T30" fmla="*/ 24 w 34"/>
              <a:gd name="T31" fmla="*/ 41 h 48"/>
              <a:gd name="T32" fmla="*/ 24 w 34"/>
              <a:gd name="T33" fmla="*/ 38 h 48"/>
              <a:gd name="T34" fmla="*/ 24 w 34"/>
              <a:gd name="T35" fmla="*/ 38 h 48"/>
              <a:gd name="T36" fmla="*/ 25 w 34"/>
              <a:gd name="T37" fmla="*/ 38 h 48"/>
              <a:gd name="T38" fmla="*/ 25 w 34"/>
              <a:gd name="T39" fmla="*/ 40 h 48"/>
              <a:gd name="T40" fmla="*/ 28 w 34"/>
              <a:gd name="T41" fmla="*/ 44 h 48"/>
              <a:gd name="T42" fmla="*/ 32 w 34"/>
              <a:gd name="T43" fmla="*/ 40 h 48"/>
              <a:gd name="T44" fmla="*/ 32 w 34"/>
              <a:gd name="T45" fmla="*/ 20 h 48"/>
              <a:gd name="T46" fmla="*/ 34 w 34"/>
              <a:gd name="T47" fmla="*/ 17 h 48"/>
              <a:gd name="T48" fmla="*/ 16 w 34"/>
              <a:gd name="T49" fmla="*/ 0 h 48"/>
              <a:gd name="T50" fmla="*/ 0 w 34"/>
              <a:gd name="T51" fmla="*/ 16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4" h="48">
                <a:moveTo>
                  <a:pt x="0" y="16"/>
                </a:moveTo>
                <a:cubicBezTo>
                  <a:pt x="1" y="42"/>
                  <a:pt x="1" y="42"/>
                  <a:pt x="1" y="42"/>
                </a:cubicBezTo>
                <a:cubicBezTo>
                  <a:pt x="1" y="44"/>
                  <a:pt x="2" y="46"/>
                  <a:pt x="4" y="46"/>
                </a:cubicBezTo>
                <a:cubicBezTo>
                  <a:pt x="6" y="46"/>
                  <a:pt x="8" y="44"/>
                  <a:pt x="8" y="42"/>
                </a:cubicBezTo>
                <a:cubicBezTo>
                  <a:pt x="8" y="38"/>
                  <a:pt x="8" y="38"/>
                  <a:pt x="8" y="38"/>
                </a:cubicBezTo>
                <a:cubicBezTo>
                  <a:pt x="8" y="38"/>
                  <a:pt x="8" y="38"/>
                  <a:pt x="8" y="38"/>
                </a:cubicBezTo>
                <a:cubicBezTo>
                  <a:pt x="9" y="38"/>
                  <a:pt x="9" y="38"/>
                  <a:pt x="9" y="38"/>
                </a:cubicBezTo>
                <a:cubicBezTo>
                  <a:pt x="9" y="44"/>
                  <a:pt x="9" y="44"/>
                  <a:pt x="9" y="44"/>
                </a:cubicBezTo>
                <a:cubicBezTo>
                  <a:pt x="9" y="46"/>
                  <a:pt x="11" y="48"/>
                  <a:pt x="12" y="48"/>
                </a:cubicBezTo>
                <a:cubicBezTo>
                  <a:pt x="14" y="48"/>
                  <a:pt x="16" y="46"/>
                  <a:pt x="16" y="44"/>
                </a:cubicBezTo>
                <a:cubicBezTo>
                  <a:pt x="16" y="38"/>
                  <a:pt x="16" y="38"/>
                  <a:pt x="16" y="38"/>
                </a:cubicBezTo>
                <a:cubicBezTo>
                  <a:pt x="16" y="38"/>
                  <a:pt x="16" y="38"/>
                  <a:pt x="16" y="38"/>
                </a:cubicBezTo>
                <a:cubicBezTo>
                  <a:pt x="17" y="38"/>
                  <a:pt x="17" y="38"/>
                  <a:pt x="17" y="38"/>
                </a:cubicBezTo>
                <a:cubicBezTo>
                  <a:pt x="17" y="41"/>
                  <a:pt x="17" y="41"/>
                  <a:pt x="17" y="41"/>
                </a:cubicBezTo>
                <a:cubicBezTo>
                  <a:pt x="17" y="43"/>
                  <a:pt x="18" y="45"/>
                  <a:pt x="20" y="45"/>
                </a:cubicBezTo>
                <a:cubicBezTo>
                  <a:pt x="22" y="45"/>
                  <a:pt x="24" y="43"/>
                  <a:pt x="24" y="41"/>
                </a:cubicBezTo>
                <a:cubicBezTo>
                  <a:pt x="24" y="38"/>
                  <a:pt x="24" y="38"/>
                  <a:pt x="24" y="38"/>
                </a:cubicBezTo>
                <a:cubicBezTo>
                  <a:pt x="24" y="38"/>
                  <a:pt x="24" y="38"/>
                  <a:pt x="24" y="38"/>
                </a:cubicBezTo>
                <a:cubicBezTo>
                  <a:pt x="25" y="38"/>
                  <a:pt x="25" y="38"/>
                  <a:pt x="25" y="38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42"/>
                  <a:pt x="26" y="44"/>
                  <a:pt x="28" y="44"/>
                </a:cubicBezTo>
                <a:cubicBezTo>
                  <a:pt x="30" y="44"/>
                  <a:pt x="32" y="42"/>
                  <a:pt x="32" y="40"/>
                </a:cubicBezTo>
                <a:cubicBezTo>
                  <a:pt x="32" y="20"/>
                  <a:pt x="32" y="20"/>
                  <a:pt x="32" y="20"/>
                </a:cubicBezTo>
                <a:cubicBezTo>
                  <a:pt x="34" y="17"/>
                  <a:pt x="34" y="17"/>
                  <a:pt x="34" y="17"/>
                </a:cubicBezTo>
                <a:cubicBezTo>
                  <a:pt x="16" y="0"/>
                  <a:pt x="16" y="0"/>
                  <a:pt x="16" y="0"/>
                </a:cubicBezTo>
                <a:lnTo>
                  <a:pt x="0" y="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3" name="Freeform 995">
            <a:extLst>
              <a:ext uri="{FF2B5EF4-FFF2-40B4-BE49-F238E27FC236}">
                <a16:creationId xmlns:a16="http://schemas.microsoft.com/office/drawing/2014/main" id="{EF9BEA6E-8B78-40DD-8809-A4F7AF18DC53}"/>
              </a:ext>
            </a:extLst>
          </p:cNvPr>
          <p:cNvSpPr>
            <a:spLocks/>
          </p:cNvSpPr>
          <p:nvPr/>
        </p:nvSpPr>
        <p:spPr bwMode="auto">
          <a:xfrm>
            <a:off x="10492718" y="5820760"/>
            <a:ext cx="112701" cy="175313"/>
          </a:xfrm>
          <a:custGeom>
            <a:avLst/>
            <a:gdLst>
              <a:gd name="T0" fmla="*/ 133 w 216"/>
              <a:gd name="T1" fmla="*/ 41 h 337"/>
              <a:gd name="T2" fmla="*/ 205 w 216"/>
              <a:gd name="T3" fmla="*/ 59 h 337"/>
              <a:gd name="T4" fmla="*/ 25 w 216"/>
              <a:gd name="T5" fmla="*/ 337 h 337"/>
              <a:gd name="T6" fmla="*/ 0 w 216"/>
              <a:gd name="T7" fmla="*/ 314 h 337"/>
              <a:gd name="T8" fmla="*/ 133 w 216"/>
              <a:gd name="T9" fmla="*/ 4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6" h="337">
                <a:moveTo>
                  <a:pt x="133" y="41"/>
                </a:moveTo>
                <a:cubicBezTo>
                  <a:pt x="141" y="0"/>
                  <a:pt x="216" y="13"/>
                  <a:pt x="205" y="59"/>
                </a:cubicBezTo>
                <a:cubicBezTo>
                  <a:pt x="166" y="219"/>
                  <a:pt x="78" y="290"/>
                  <a:pt x="25" y="337"/>
                </a:cubicBezTo>
                <a:cubicBezTo>
                  <a:pt x="0" y="314"/>
                  <a:pt x="0" y="314"/>
                  <a:pt x="0" y="314"/>
                </a:cubicBezTo>
                <a:cubicBezTo>
                  <a:pt x="37" y="268"/>
                  <a:pt x="102" y="202"/>
                  <a:pt x="133" y="4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4" name="Freeform 996">
            <a:extLst>
              <a:ext uri="{FF2B5EF4-FFF2-40B4-BE49-F238E27FC236}">
                <a16:creationId xmlns:a16="http://schemas.microsoft.com/office/drawing/2014/main" id="{47BC44CD-E090-41B0-A534-BAC6215DA934}"/>
              </a:ext>
            </a:extLst>
          </p:cNvPr>
          <p:cNvSpPr>
            <a:spLocks/>
          </p:cNvSpPr>
          <p:nvPr/>
        </p:nvSpPr>
        <p:spPr bwMode="auto">
          <a:xfrm>
            <a:off x="10344955" y="6086234"/>
            <a:ext cx="75134" cy="13775"/>
          </a:xfrm>
          <a:custGeom>
            <a:avLst/>
            <a:gdLst>
              <a:gd name="T0" fmla="*/ 145 w 145"/>
              <a:gd name="T1" fmla="*/ 13 h 27"/>
              <a:gd name="T2" fmla="*/ 132 w 145"/>
              <a:gd name="T3" fmla="*/ 27 h 27"/>
              <a:gd name="T4" fmla="*/ 0 w 145"/>
              <a:gd name="T5" fmla="*/ 27 h 27"/>
              <a:gd name="T6" fmla="*/ 0 w 145"/>
              <a:gd name="T7" fmla="*/ 0 h 27"/>
              <a:gd name="T8" fmla="*/ 132 w 145"/>
              <a:gd name="T9" fmla="*/ 0 h 27"/>
              <a:gd name="T10" fmla="*/ 145 w 145"/>
              <a:gd name="T11" fmla="*/ 13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5" h="27">
                <a:moveTo>
                  <a:pt x="145" y="13"/>
                </a:moveTo>
                <a:cubicBezTo>
                  <a:pt x="145" y="21"/>
                  <a:pt x="139" y="27"/>
                  <a:pt x="132" y="27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0"/>
                  <a:pt x="0" y="0"/>
                  <a:pt x="0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39" y="0"/>
                  <a:pt x="145" y="6"/>
                  <a:pt x="145" y="13"/>
                </a:cubicBez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5" name="Freeform 997">
            <a:extLst>
              <a:ext uri="{FF2B5EF4-FFF2-40B4-BE49-F238E27FC236}">
                <a16:creationId xmlns:a16="http://schemas.microsoft.com/office/drawing/2014/main" id="{DBB48F8B-9F0B-496D-BE58-53B45B200D0D}"/>
              </a:ext>
            </a:extLst>
          </p:cNvPr>
          <p:cNvSpPr>
            <a:spLocks/>
          </p:cNvSpPr>
          <p:nvPr/>
        </p:nvSpPr>
        <p:spPr bwMode="auto">
          <a:xfrm>
            <a:off x="10344955" y="6087486"/>
            <a:ext cx="75134" cy="2504"/>
          </a:xfrm>
          <a:custGeom>
            <a:avLst/>
            <a:gdLst>
              <a:gd name="T0" fmla="*/ 60 w 60"/>
              <a:gd name="T1" fmla="*/ 2 h 2"/>
              <a:gd name="T2" fmla="*/ 0 w 60"/>
              <a:gd name="T3" fmla="*/ 2 h 2"/>
              <a:gd name="T4" fmla="*/ 0 w 60"/>
              <a:gd name="T5" fmla="*/ 0 h 2"/>
              <a:gd name="T6" fmla="*/ 60 w 60"/>
              <a:gd name="T7" fmla="*/ 0 h 2"/>
              <a:gd name="T8" fmla="*/ 60 w 60"/>
              <a:gd name="T9" fmla="*/ 2 h 2"/>
              <a:gd name="T10" fmla="*/ 60 w 60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0" h="2">
                <a:moveTo>
                  <a:pt x="60" y="2"/>
                </a:moveTo>
                <a:lnTo>
                  <a:pt x="0" y="2"/>
                </a:lnTo>
                <a:lnTo>
                  <a:pt x="0" y="0"/>
                </a:lnTo>
                <a:lnTo>
                  <a:pt x="60" y="0"/>
                </a:lnTo>
                <a:lnTo>
                  <a:pt x="60" y="2"/>
                </a:lnTo>
                <a:lnTo>
                  <a:pt x="60" y="2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6" name="Freeform 998">
            <a:extLst>
              <a:ext uri="{FF2B5EF4-FFF2-40B4-BE49-F238E27FC236}">
                <a16:creationId xmlns:a16="http://schemas.microsoft.com/office/drawing/2014/main" id="{3C33BAF8-888B-4CA4-BC7E-EEEAAA22CB1D}"/>
              </a:ext>
            </a:extLst>
          </p:cNvPr>
          <p:cNvSpPr>
            <a:spLocks/>
          </p:cNvSpPr>
          <p:nvPr/>
        </p:nvSpPr>
        <p:spPr bwMode="auto">
          <a:xfrm>
            <a:off x="10344955" y="6091242"/>
            <a:ext cx="76387" cy="2504"/>
          </a:xfrm>
          <a:custGeom>
            <a:avLst/>
            <a:gdLst>
              <a:gd name="T0" fmla="*/ 61 w 61"/>
              <a:gd name="T1" fmla="*/ 2 h 2"/>
              <a:gd name="T2" fmla="*/ 0 w 61"/>
              <a:gd name="T3" fmla="*/ 2 h 2"/>
              <a:gd name="T4" fmla="*/ 0 w 61"/>
              <a:gd name="T5" fmla="*/ 0 h 2"/>
              <a:gd name="T6" fmla="*/ 61 w 61"/>
              <a:gd name="T7" fmla="*/ 0 h 2"/>
              <a:gd name="T8" fmla="*/ 61 w 61"/>
              <a:gd name="T9" fmla="*/ 2 h 2"/>
              <a:gd name="T10" fmla="*/ 61 w 61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1" h="2">
                <a:moveTo>
                  <a:pt x="61" y="2"/>
                </a:moveTo>
                <a:lnTo>
                  <a:pt x="0" y="2"/>
                </a:lnTo>
                <a:lnTo>
                  <a:pt x="0" y="0"/>
                </a:lnTo>
                <a:lnTo>
                  <a:pt x="61" y="0"/>
                </a:lnTo>
                <a:lnTo>
                  <a:pt x="61" y="2"/>
                </a:lnTo>
                <a:lnTo>
                  <a:pt x="61" y="2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7" name="Freeform 999">
            <a:extLst>
              <a:ext uri="{FF2B5EF4-FFF2-40B4-BE49-F238E27FC236}">
                <a16:creationId xmlns:a16="http://schemas.microsoft.com/office/drawing/2014/main" id="{ADFA6AA6-E911-487B-924D-1068D6A641A3}"/>
              </a:ext>
            </a:extLst>
          </p:cNvPr>
          <p:cNvSpPr>
            <a:spLocks/>
          </p:cNvSpPr>
          <p:nvPr/>
        </p:nvSpPr>
        <p:spPr bwMode="auto">
          <a:xfrm>
            <a:off x="10344955" y="6096251"/>
            <a:ext cx="75134" cy="1253"/>
          </a:xfrm>
          <a:custGeom>
            <a:avLst/>
            <a:gdLst>
              <a:gd name="T0" fmla="*/ 60 w 60"/>
              <a:gd name="T1" fmla="*/ 1 h 1"/>
              <a:gd name="T2" fmla="*/ 0 w 60"/>
              <a:gd name="T3" fmla="*/ 1 h 1"/>
              <a:gd name="T4" fmla="*/ 0 w 60"/>
              <a:gd name="T5" fmla="*/ 0 h 1"/>
              <a:gd name="T6" fmla="*/ 60 w 60"/>
              <a:gd name="T7" fmla="*/ 0 h 1"/>
              <a:gd name="T8" fmla="*/ 60 w 60"/>
              <a:gd name="T9" fmla="*/ 1 h 1"/>
              <a:gd name="T10" fmla="*/ 60 w 60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0" h="1">
                <a:moveTo>
                  <a:pt x="60" y="1"/>
                </a:moveTo>
                <a:lnTo>
                  <a:pt x="0" y="1"/>
                </a:lnTo>
                <a:lnTo>
                  <a:pt x="0" y="0"/>
                </a:lnTo>
                <a:lnTo>
                  <a:pt x="60" y="0"/>
                </a:lnTo>
                <a:lnTo>
                  <a:pt x="60" y="1"/>
                </a:lnTo>
                <a:lnTo>
                  <a:pt x="60" y="1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8" name="Freeform 1000">
            <a:extLst>
              <a:ext uri="{FF2B5EF4-FFF2-40B4-BE49-F238E27FC236}">
                <a16:creationId xmlns:a16="http://schemas.microsoft.com/office/drawing/2014/main" id="{D25AFDBE-6645-4F1B-970C-CB625A7C795E}"/>
              </a:ext>
            </a:extLst>
          </p:cNvPr>
          <p:cNvSpPr>
            <a:spLocks/>
          </p:cNvSpPr>
          <p:nvPr/>
        </p:nvSpPr>
        <p:spPr bwMode="auto">
          <a:xfrm>
            <a:off x="10344955" y="6083729"/>
            <a:ext cx="77638" cy="18784"/>
          </a:xfrm>
          <a:custGeom>
            <a:avLst/>
            <a:gdLst>
              <a:gd name="T0" fmla="*/ 0 w 149"/>
              <a:gd name="T1" fmla="*/ 31 h 35"/>
              <a:gd name="T2" fmla="*/ 132 w 149"/>
              <a:gd name="T3" fmla="*/ 31 h 35"/>
              <a:gd name="T4" fmla="*/ 145 w 149"/>
              <a:gd name="T5" fmla="*/ 17 h 35"/>
              <a:gd name="T6" fmla="*/ 132 w 149"/>
              <a:gd name="T7" fmla="*/ 4 h 35"/>
              <a:gd name="T8" fmla="*/ 0 w 149"/>
              <a:gd name="T9" fmla="*/ 4 h 35"/>
              <a:gd name="T10" fmla="*/ 0 w 149"/>
              <a:gd name="T11" fmla="*/ 0 h 35"/>
              <a:gd name="T12" fmla="*/ 132 w 149"/>
              <a:gd name="T13" fmla="*/ 0 h 35"/>
              <a:gd name="T14" fmla="*/ 149 w 149"/>
              <a:gd name="T15" fmla="*/ 17 h 35"/>
              <a:gd name="T16" fmla="*/ 132 w 149"/>
              <a:gd name="T17" fmla="*/ 35 h 35"/>
              <a:gd name="T18" fmla="*/ 0 w 149"/>
              <a:gd name="T19" fmla="*/ 35 h 35"/>
              <a:gd name="T20" fmla="*/ 0 w 149"/>
              <a:gd name="T21" fmla="*/ 31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9" h="35">
                <a:moveTo>
                  <a:pt x="0" y="31"/>
                </a:moveTo>
                <a:cubicBezTo>
                  <a:pt x="132" y="31"/>
                  <a:pt x="132" y="31"/>
                  <a:pt x="132" y="31"/>
                </a:cubicBezTo>
                <a:cubicBezTo>
                  <a:pt x="139" y="31"/>
                  <a:pt x="145" y="25"/>
                  <a:pt x="145" y="17"/>
                </a:cubicBezTo>
                <a:cubicBezTo>
                  <a:pt x="145" y="10"/>
                  <a:pt x="139" y="4"/>
                  <a:pt x="132" y="4"/>
                </a:cubicBezTo>
                <a:cubicBezTo>
                  <a:pt x="0" y="4"/>
                  <a:pt x="0" y="4"/>
                  <a:pt x="0" y="4"/>
                </a:cubicBezTo>
                <a:cubicBezTo>
                  <a:pt x="0" y="0"/>
                  <a:pt x="0" y="0"/>
                  <a:pt x="0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41" y="0"/>
                  <a:pt x="149" y="8"/>
                  <a:pt x="149" y="17"/>
                </a:cubicBezTo>
                <a:cubicBezTo>
                  <a:pt x="149" y="27"/>
                  <a:pt x="141" y="35"/>
                  <a:pt x="132" y="35"/>
                </a:cubicBezTo>
                <a:cubicBezTo>
                  <a:pt x="0" y="35"/>
                  <a:pt x="0" y="35"/>
                  <a:pt x="0" y="35"/>
                </a:cubicBezTo>
                <a:lnTo>
                  <a:pt x="0" y="31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9" name="Freeform 1001">
            <a:extLst>
              <a:ext uri="{FF2B5EF4-FFF2-40B4-BE49-F238E27FC236}">
                <a16:creationId xmlns:a16="http://schemas.microsoft.com/office/drawing/2014/main" id="{57FD7471-928F-4830-88DB-AB4D1C53DFD7}"/>
              </a:ext>
            </a:extLst>
          </p:cNvPr>
          <p:cNvSpPr>
            <a:spLocks/>
          </p:cNvSpPr>
          <p:nvPr/>
        </p:nvSpPr>
        <p:spPr bwMode="auto">
          <a:xfrm>
            <a:off x="10329928" y="6105017"/>
            <a:ext cx="80143" cy="18784"/>
          </a:xfrm>
          <a:custGeom>
            <a:avLst/>
            <a:gdLst>
              <a:gd name="T0" fmla="*/ 154 w 154"/>
              <a:gd name="T1" fmla="*/ 17 h 34"/>
              <a:gd name="T2" fmla="*/ 137 w 154"/>
              <a:gd name="T3" fmla="*/ 34 h 34"/>
              <a:gd name="T4" fmla="*/ 0 w 154"/>
              <a:gd name="T5" fmla="*/ 34 h 34"/>
              <a:gd name="T6" fmla="*/ 0 w 154"/>
              <a:gd name="T7" fmla="*/ 0 h 34"/>
              <a:gd name="T8" fmla="*/ 137 w 154"/>
              <a:gd name="T9" fmla="*/ 0 h 34"/>
              <a:gd name="T10" fmla="*/ 154 w 154"/>
              <a:gd name="T11" fmla="*/ 17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4" h="34">
                <a:moveTo>
                  <a:pt x="154" y="17"/>
                </a:moveTo>
                <a:cubicBezTo>
                  <a:pt x="154" y="27"/>
                  <a:pt x="147" y="34"/>
                  <a:pt x="137" y="34"/>
                </a:cubicBezTo>
                <a:cubicBezTo>
                  <a:pt x="0" y="34"/>
                  <a:pt x="0" y="34"/>
                  <a:pt x="0" y="34"/>
                </a:cubicBezTo>
                <a:cubicBezTo>
                  <a:pt x="0" y="0"/>
                  <a:pt x="0" y="0"/>
                  <a:pt x="0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47" y="0"/>
                  <a:pt x="154" y="8"/>
                  <a:pt x="154" y="17"/>
                </a:cubicBez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0" name="Freeform 1002">
            <a:extLst>
              <a:ext uri="{FF2B5EF4-FFF2-40B4-BE49-F238E27FC236}">
                <a16:creationId xmlns:a16="http://schemas.microsoft.com/office/drawing/2014/main" id="{C72B9D20-772F-429B-9063-0D5D9CF619B2}"/>
              </a:ext>
            </a:extLst>
          </p:cNvPr>
          <p:cNvSpPr>
            <a:spLocks/>
          </p:cNvSpPr>
          <p:nvPr/>
        </p:nvSpPr>
        <p:spPr bwMode="auto">
          <a:xfrm>
            <a:off x="10329928" y="6107522"/>
            <a:ext cx="80143" cy="1253"/>
          </a:xfrm>
          <a:custGeom>
            <a:avLst/>
            <a:gdLst>
              <a:gd name="T0" fmla="*/ 64 w 64"/>
              <a:gd name="T1" fmla="*/ 1 h 1"/>
              <a:gd name="T2" fmla="*/ 0 w 64"/>
              <a:gd name="T3" fmla="*/ 1 h 1"/>
              <a:gd name="T4" fmla="*/ 0 w 64"/>
              <a:gd name="T5" fmla="*/ 0 h 1"/>
              <a:gd name="T6" fmla="*/ 64 w 64"/>
              <a:gd name="T7" fmla="*/ 0 h 1"/>
              <a:gd name="T8" fmla="*/ 64 w 64"/>
              <a:gd name="T9" fmla="*/ 1 h 1"/>
              <a:gd name="T10" fmla="*/ 64 w 64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4" h="1">
                <a:moveTo>
                  <a:pt x="64" y="1"/>
                </a:moveTo>
                <a:lnTo>
                  <a:pt x="0" y="1"/>
                </a:lnTo>
                <a:lnTo>
                  <a:pt x="0" y="0"/>
                </a:lnTo>
                <a:lnTo>
                  <a:pt x="64" y="0"/>
                </a:lnTo>
                <a:lnTo>
                  <a:pt x="64" y="1"/>
                </a:lnTo>
                <a:lnTo>
                  <a:pt x="64" y="1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1" name="Freeform 1003">
            <a:extLst>
              <a:ext uri="{FF2B5EF4-FFF2-40B4-BE49-F238E27FC236}">
                <a16:creationId xmlns:a16="http://schemas.microsoft.com/office/drawing/2014/main" id="{B13AE1E7-1294-4797-AA63-A4A55C5E5D9F}"/>
              </a:ext>
            </a:extLst>
          </p:cNvPr>
          <p:cNvSpPr>
            <a:spLocks/>
          </p:cNvSpPr>
          <p:nvPr/>
        </p:nvSpPr>
        <p:spPr bwMode="auto">
          <a:xfrm>
            <a:off x="10329928" y="6111278"/>
            <a:ext cx="81396" cy="2504"/>
          </a:xfrm>
          <a:custGeom>
            <a:avLst/>
            <a:gdLst>
              <a:gd name="T0" fmla="*/ 65 w 65"/>
              <a:gd name="T1" fmla="*/ 2 h 2"/>
              <a:gd name="T2" fmla="*/ 0 w 65"/>
              <a:gd name="T3" fmla="*/ 2 h 2"/>
              <a:gd name="T4" fmla="*/ 0 w 65"/>
              <a:gd name="T5" fmla="*/ 0 h 2"/>
              <a:gd name="T6" fmla="*/ 65 w 65"/>
              <a:gd name="T7" fmla="*/ 0 h 2"/>
              <a:gd name="T8" fmla="*/ 65 w 65"/>
              <a:gd name="T9" fmla="*/ 2 h 2"/>
              <a:gd name="T10" fmla="*/ 65 w 65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5" h="2">
                <a:moveTo>
                  <a:pt x="65" y="2"/>
                </a:moveTo>
                <a:lnTo>
                  <a:pt x="0" y="2"/>
                </a:lnTo>
                <a:lnTo>
                  <a:pt x="0" y="0"/>
                </a:lnTo>
                <a:lnTo>
                  <a:pt x="65" y="0"/>
                </a:lnTo>
                <a:lnTo>
                  <a:pt x="65" y="2"/>
                </a:lnTo>
                <a:lnTo>
                  <a:pt x="65" y="2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2" name="Freeform 1004">
            <a:extLst>
              <a:ext uri="{FF2B5EF4-FFF2-40B4-BE49-F238E27FC236}">
                <a16:creationId xmlns:a16="http://schemas.microsoft.com/office/drawing/2014/main" id="{12C6ABF9-E25F-4210-A9A0-B579F497FFA4}"/>
              </a:ext>
            </a:extLst>
          </p:cNvPr>
          <p:cNvSpPr>
            <a:spLocks/>
          </p:cNvSpPr>
          <p:nvPr/>
        </p:nvSpPr>
        <p:spPr bwMode="auto">
          <a:xfrm>
            <a:off x="10329928" y="6115035"/>
            <a:ext cx="81396" cy="2504"/>
          </a:xfrm>
          <a:custGeom>
            <a:avLst/>
            <a:gdLst>
              <a:gd name="T0" fmla="*/ 65 w 65"/>
              <a:gd name="T1" fmla="*/ 2 h 2"/>
              <a:gd name="T2" fmla="*/ 0 w 65"/>
              <a:gd name="T3" fmla="*/ 2 h 2"/>
              <a:gd name="T4" fmla="*/ 0 w 65"/>
              <a:gd name="T5" fmla="*/ 0 h 2"/>
              <a:gd name="T6" fmla="*/ 65 w 65"/>
              <a:gd name="T7" fmla="*/ 0 h 2"/>
              <a:gd name="T8" fmla="*/ 65 w 65"/>
              <a:gd name="T9" fmla="*/ 2 h 2"/>
              <a:gd name="T10" fmla="*/ 65 w 65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5" h="2">
                <a:moveTo>
                  <a:pt x="65" y="2"/>
                </a:moveTo>
                <a:lnTo>
                  <a:pt x="0" y="2"/>
                </a:lnTo>
                <a:lnTo>
                  <a:pt x="0" y="0"/>
                </a:lnTo>
                <a:lnTo>
                  <a:pt x="65" y="0"/>
                </a:lnTo>
                <a:lnTo>
                  <a:pt x="65" y="2"/>
                </a:lnTo>
                <a:lnTo>
                  <a:pt x="65" y="2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3" name="Freeform 1005">
            <a:extLst>
              <a:ext uri="{FF2B5EF4-FFF2-40B4-BE49-F238E27FC236}">
                <a16:creationId xmlns:a16="http://schemas.microsoft.com/office/drawing/2014/main" id="{A246A399-498F-4844-B4FE-F65187E60469}"/>
              </a:ext>
            </a:extLst>
          </p:cNvPr>
          <p:cNvSpPr>
            <a:spLocks/>
          </p:cNvSpPr>
          <p:nvPr/>
        </p:nvSpPr>
        <p:spPr bwMode="auto">
          <a:xfrm>
            <a:off x="10329928" y="6120044"/>
            <a:ext cx="80143" cy="1253"/>
          </a:xfrm>
          <a:custGeom>
            <a:avLst/>
            <a:gdLst>
              <a:gd name="T0" fmla="*/ 64 w 64"/>
              <a:gd name="T1" fmla="*/ 1 h 1"/>
              <a:gd name="T2" fmla="*/ 0 w 64"/>
              <a:gd name="T3" fmla="*/ 1 h 1"/>
              <a:gd name="T4" fmla="*/ 0 w 64"/>
              <a:gd name="T5" fmla="*/ 0 h 1"/>
              <a:gd name="T6" fmla="*/ 64 w 64"/>
              <a:gd name="T7" fmla="*/ 0 h 1"/>
              <a:gd name="T8" fmla="*/ 64 w 64"/>
              <a:gd name="T9" fmla="*/ 1 h 1"/>
              <a:gd name="T10" fmla="*/ 64 w 64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4" h="1">
                <a:moveTo>
                  <a:pt x="64" y="1"/>
                </a:moveTo>
                <a:lnTo>
                  <a:pt x="0" y="1"/>
                </a:lnTo>
                <a:lnTo>
                  <a:pt x="0" y="0"/>
                </a:lnTo>
                <a:lnTo>
                  <a:pt x="64" y="0"/>
                </a:lnTo>
                <a:lnTo>
                  <a:pt x="64" y="1"/>
                </a:lnTo>
                <a:lnTo>
                  <a:pt x="64" y="1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4" name="Freeform 1006">
            <a:extLst>
              <a:ext uri="{FF2B5EF4-FFF2-40B4-BE49-F238E27FC236}">
                <a16:creationId xmlns:a16="http://schemas.microsoft.com/office/drawing/2014/main" id="{6A2EB58D-ADEF-463F-829B-D315D28EFFAE}"/>
              </a:ext>
            </a:extLst>
          </p:cNvPr>
          <p:cNvSpPr>
            <a:spLocks/>
          </p:cNvSpPr>
          <p:nvPr/>
        </p:nvSpPr>
        <p:spPr bwMode="auto">
          <a:xfrm>
            <a:off x="10329928" y="6103765"/>
            <a:ext cx="82647" cy="21288"/>
          </a:xfrm>
          <a:custGeom>
            <a:avLst/>
            <a:gdLst>
              <a:gd name="T0" fmla="*/ 137 w 158"/>
              <a:gd name="T1" fmla="*/ 0 h 42"/>
              <a:gd name="T2" fmla="*/ 158 w 158"/>
              <a:gd name="T3" fmla="*/ 21 h 42"/>
              <a:gd name="T4" fmla="*/ 137 w 158"/>
              <a:gd name="T5" fmla="*/ 42 h 42"/>
              <a:gd name="T6" fmla="*/ 0 w 158"/>
              <a:gd name="T7" fmla="*/ 42 h 42"/>
              <a:gd name="T8" fmla="*/ 0 w 158"/>
              <a:gd name="T9" fmla="*/ 38 h 42"/>
              <a:gd name="T10" fmla="*/ 137 w 158"/>
              <a:gd name="T11" fmla="*/ 38 h 42"/>
              <a:gd name="T12" fmla="*/ 154 w 158"/>
              <a:gd name="T13" fmla="*/ 21 h 42"/>
              <a:gd name="T14" fmla="*/ 137 w 158"/>
              <a:gd name="T15" fmla="*/ 4 h 42"/>
              <a:gd name="T16" fmla="*/ 0 w 158"/>
              <a:gd name="T17" fmla="*/ 4 h 42"/>
              <a:gd name="T18" fmla="*/ 0 w 158"/>
              <a:gd name="T19" fmla="*/ 0 h 42"/>
              <a:gd name="T20" fmla="*/ 137 w 158"/>
              <a:gd name="T21" fmla="*/ 0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58" h="42">
                <a:moveTo>
                  <a:pt x="137" y="0"/>
                </a:moveTo>
                <a:cubicBezTo>
                  <a:pt x="149" y="0"/>
                  <a:pt x="158" y="9"/>
                  <a:pt x="158" y="21"/>
                </a:cubicBezTo>
                <a:cubicBezTo>
                  <a:pt x="158" y="33"/>
                  <a:pt x="149" y="42"/>
                  <a:pt x="137" y="42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38"/>
                  <a:pt x="0" y="38"/>
                  <a:pt x="0" y="38"/>
                </a:cubicBezTo>
                <a:cubicBezTo>
                  <a:pt x="137" y="38"/>
                  <a:pt x="137" y="38"/>
                  <a:pt x="137" y="38"/>
                </a:cubicBezTo>
                <a:cubicBezTo>
                  <a:pt x="147" y="38"/>
                  <a:pt x="154" y="31"/>
                  <a:pt x="154" y="21"/>
                </a:cubicBezTo>
                <a:cubicBezTo>
                  <a:pt x="154" y="12"/>
                  <a:pt x="147" y="4"/>
                  <a:pt x="137" y="4"/>
                </a:cubicBezTo>
                <a:cubicBezTo>
                  <a:pt x="0" y="4"/>
                  <a:pt x="0" y="4"/>
                  <a:pt x="0" y="4"/>
                </a:cubicBezTo>
                <a:cubicBezTo>
                  <a:pt x="0" y="0"/>
                  <a:pt x="0" y="0"/>
                  <a:pt x="0" y="0"/>
                </a:cubicBezTo>
                <a:lnTo>
                  <a:pt x="137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5" name="Freeform 1007">
            <a:extLst>
              <a:ext uri="{FF2B5EF4-FFF2-40B4-BE49-F238E27FC236}">
                <a16:creationId xmlns:a16="http://schemas.microsoft.com/office/drawing/2014/main" id="{E234A464-232C-4322-8484-0696F56C2BF9}"/>
              </a:ext>
            </a:extLst>
          </p:cNvPr>
          <p:cNvSpPr>
            <a:spLocks/>
          </p:cNvSpPr>
          <p:nvPr/>
        </p:nvSpPr>
        <p:spPr bwMode="auto">
          <a:xfrm>
            <a:off x="10339946" y="6057433"/>
            <a:ext cx="75134" cy="21288"/>
          </a:xfrm>
          <a:custGeom>
            <a:avLst/>
            <a:gdLst>
              <a:gd name="T0" fmla="*/ 145 w 145"/>
              <a:gd name="T1" fmla="*/ 20 h 40"/>
              <a:gd name="T2" fmla="*/ 125 w 145"/>
              <a:gd name="T3" fmla="*/ 40 h 40"/>
              <a:gd name="T4" fmla="*/ 0 w 145"/>
              <a:gd name="T5" fmla="*/ 40 h 40"/>
              <a:gd name="T6" fmla="*/ 0 w 145"/>
              <a:gd name="T7" fmla="*/ 0 h 40"/>
              <a:gd name="T8" fmla="*/ 125 w 145"/>
              <a:gd name="T9" fmla="*/ 0 h 40"/>
              <a:gd name="T10" fmla="*/ 145 w 145"/>
              <a:gd name="T11" fmla="*/ 2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5" h="40">
                <a:moveTo>
                  <a:pt x="145" y="20"/>
                </a:moveTo>
                <a:cubicBezTo>
                  <a:pt x="145" y="31"/>
                  <a:pt x="136" y="40"/>
                  <a:pt x="125" y="4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0"/>
                  <a:pt x="0" y="0"/>
                  <a:pt x="0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136" y="0"/>
                  <a:pt x="145" y="9"/>
                  <a:pt x="145" y="20"/>
                </a:cubicBez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6" name="Freeform 1008">
            <a:extLst>
              <a:ext uri="{FF2B5EF4-FFF2-40B4-BE49-F238E27FC236}">
                <a16:creationId xmlns:a16="http://schemas.microsoft.com/office/drawing/2014/main" id="{EA691227-6BDB-492A-8F5F-31803549F054}"/>
              </a:ext>
            </a:extLst>
          </p:cNvPr>
          <p:cNvSpPr>
            <a:spLocks/>
          </p:cNvSpPr>
          <p:nvPr/>
        </p:nvSpPr>
        <p:spPr bwMode="auto">
          <a:xfrm>
            <a:off x="10339946" y="6061189"/>
            <a:ext cx="75134" cy="1253"/>
          </a:xfrm>
          <a:custGeom>
            <a:avLst/>
            <a:gdLst>
              <a:gd name="T0" fmla="*/ 60 w 60"/>
              <a:gd name="T1" fmla="*/ 1 h 1"/>
              <a:gd name="T2" fmla="*/ 0 w 60"/>
              <a:gd name="T3" fmla="*/ 1 h 1"/>
              <a:gd name="T4" fmla="*/ 0 w 60"/>
              <a:gd name="T5" fmla="*/ 0 h 1"/>
              <a:gd name="T6" fmla="*/ 60 w 60"/>
              <a:gd name="T7" fmla="*/ 0 h 1"/>
              <a:gd name="T8" fmla="*/ 60 w 60"/>
              <a:gd name="T9" fmla="*/ 1 h 1"/>
              <a:gd name="T10" fmla="*/ 60 w 60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0" h="1">
                <a:moveTo>
                  <a:pt x="60" y="1"/>
                </a:moveTo>
                <a:lnTo>
                  <a:pt x="0" y="1"/>
                </a:lnTo>
                <a:lnTo>
                  <a:pt x="0" y="0"/>
                </a:lnTo>
                <a:lnTo>
                  <a:pt x="60" y="0"/>
                </a:lnTo>
                <a:lnTo>
                  <a:pt x="60" y="1"/>
                </a:lnTo>
                <a:lnTo>
                  <a:pt x="60" y="1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7" name="Freeform 1009">
            <a:extLst>
              <a:ext uri="{FF2B5EF4-FFF2-40B4-BE49-F238E27FC236}">
                <a16:creationId xmlns:a16="http://schemas.microsoft.com/office/drawing/2014/main" id="{9A0D6289-4951-4711-AF1D-07D288359824}"/>
              </a:ext>
            </a:extLst>
          </p:cNvPr>
          <p:cNvSpPr>
            <a:spLocks/>
          </p:cNvSpPr>
          <p:nvPr/>
        </p:nvSpPr>
        <p:spPr bwMode="auto">
          <a:xfrm>
            <a:off x="10339946" y="6064946"/>
            <a:ext cx="76387" cy="2504"/>
          </a:xfrm>
          <a:custGeom>
            <a:avLst/>
            <a:gdLst>
              <a:gd name="T0" fmla="*/ 61 w 61"/>
              <a:gd name="T1" fmla="*/ 2 h 2"/>
              <a:gd name="T2" fmla="*/ 0 w 61"/>
              <a:gd name="T3" fmla="*/ 2 h 2"/>
              <a:gd name="T4" fmla="*/ 0 w 61"/>
              <a:gd name="T5" fmla="*/ 0 h 2"/>
              <a:gd name="T6" fmla="*/ 61 w 61"/>
              <a:gd name="T7" fmla="*/ 0 h 2"/>
              <a:gd name="T8" fmla="*/ 61 w 61"/>
              <a:gd name="T9" fmla="*/ 2 h 2"/>
              <a:gd name="T10" fmla="*/ 61 w 61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1" h="2">
                <a:moveTo>
                  <a:pt x="61" y="2"/>
                </a:moveTo>
                <a:lnTo>
                  <a:pt x="0" y="2"/>
                </a:lnTo>
                <a:lnTo>
                  <a:pt x="0" y="0"/>
                </a:lnTo>
                <a:lnTo>
                  <a:pt x="61" y="0"/>
                </a:lnTo>
                <a:lnTo>
                  <a:pt x="61" y="2"/>
                </a:lnTo>
                <a:lnTo>
                  <a:pt x="61" y="2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8" name="Freeform 1010">
            <a:extLst>
              <a:ext uri="{FF2B5EF4-FFF2-40B4-BE49-F238E27FC236}">
                <a16:creationId xmlns:a16="http://schemas.microsoft.com/office/drawing/2014/main" id="{71748162-CF7F-4325-B1D0-8C6FC2D57BD9}"/>
              </a:ext>
            </a:extLst>
          </p:cNvPr>
          <p:cNvSpPr>
            <a:spLocks/>
          </p:cNvSpPr>
          <p:nvPr/>
        </p:nvSpPr>
        <p:spPr bwMode="auto">
          <a:xfrm>
            <a:off x="10339946" y="6068702"/>
            <a:ext cx="76387" cy="2504"/>
          </a:xfrm>
          <a:custGeom>
            <a:avLst/>
            <a:gdLst>
              <a:gd name="T0" fmla="*/ 61 w 61"/>
              <a:gd name="T1" fmla="*/ 2 h 2"/>
              <a:gd name="T2" fmla="*/ 0 w 61"/>
              <a:gd name="T3" fmla="*/ 2 h 2"/>
              <a:gd name="T4" fmla="*/ 0 w 61"/>
              <a:gd name="T5" fmla="*/ 0 h 2"/>
              <a:gd name="T6" fmla="*/ 61 w 61"/>
              <a:gd name="T7" fmla="*/ 0 h 2"/>
              <a:gd name="T8" fmla="*/ 61 w 61"/>
              <a:gd name="T9" fmla="*/ 2 h 2"/>
              <a:gd name="T10" fmla="*/ 61 w 61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1" h="2">
                <a:moveTo>
                  <a:pt x="61" y="2"/>
                </a:moveTo>
                <a:lnTo>
                  <a:pt x="0" y="2"/>
                </a:lnTo>
                <a:lnTo>
                  <a:pt x="0" y="0"/>
                </a:lnTo>
                <a:lnTo>
                  <a:pt x="61" y="0"/>
                </a:lnTo>
                <a:lnTo>
                  <a:pt x="61" y="2"/>
                </a:lnTo>
                <a:lnTo>
                  <a:pt x="61" y="2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9" name="Freeform 1011">
            <a:extLst>
              <a:ext uri="{FF2B5EF4-FFF2-40B4-BE49-F238E27FC236}">
                <a16:creationId xmlns:a16="http://schemas.microsoft.com/office/drawing/2014/main" id="{D2C8C030-F83B-4C45-A296-E4B71AE4C99E}"/>
              </a:ext>
            </a:extLst>
          </p:cNvPr>
          <p:cNvSpPr>
            <a:spLocks/>
          </p:cNvSpPr>
          <p:nvPr/>
        </p:nvSpPr>
        <p:spPr bwMode="auto">
          <a:xfrm>
            <a:off x="10339946" y="6073711"/>
            <a:ext cx="75134" cy="1253"/>
          </a:xfrm>
          <a:custGeom>
            <a:avLst/>
            <a:gdLst>
              <a:gd name="T0" fmla="*/ 60 w 60"/>
              <a:gd name="T1" fmla="*/ 1 h 1"/>
              <a:gd name="T2" fmla="*/ 0 w 60"/>
              <a:gd name="T3" fmla="*/ 1 h 1"/>
              <a:gd name="T4" fmla="*/ 0 w 60"/>
              <a:gd name="T5" fmla="*/ 0 h 1"/>
              <a:gd name="T6" fmla="*/ 60 w 60"/>
              <a:gd name="T7" fmla="*/ 0 h 1"/>
              <a:gd name="T8" fmla="*/ 60 w 60"/>
              <a:gd name="T9" fmla="*/ 1 h 1"/>
              <a:gd name="T10" fmla="*/ 60 w 60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0" h="1">
                <a:moveTo>
                  <a:pt x="60" y="1"/>
                </a:moveTo>
                <a:lnTo>
                  <a:pt x="0" y="1"/>
                </a:lnTo>
                <a:lnTo>
                  <a:pt x="0" y="0"/>
                </a:lnTo>
                <a:lnTo>
                  <a:pt x="60" y="0"/>
                </a:lnTo>
                <a:lnTo>
                  <a:pt x="60" y="1"/>
                </a:lnTo>
                <a:lnTo>
                  <a:pt x="60" y="1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0" name="Freeform 1012">
            <a:extLst>
              <a:ext uri="{FF2B5EF4-FFF2-40B4-BE49-F238E27FC236}">
                <a16:creationId xmlns:a16="http://schemas.microsoft.com/office/drawing/2014/main" id="{F7F289C3-B8BA-4688-92E5-5742553C58BB}"/>
              </a:ext>
            </a:extLst>
          </p:cNvPr>
          <p:cNvSpPr>
            <a:spLocks/>
          </p:cNvSpPr>
          <p:nvPr/>
        </p:nvSpPr>
        <p:spPr bwMode="auto">
          <a:xfrm>
            <a:off x="10339946" y="6056180"/>
            <a:ext cx="77638" cy="25045"/>
          </a:xfrm>
          <a:custGeom>
            <a:avLst/>
            <a:gdLst>
              <a:gd name="T0" fmla="*/ 125 w 149"/>
              <a:gd name="T1" fmla="*/ 48 h 48"/>
              <a:gd name="T2" fmla="*/ 0 w 149"/>
              <a:gd name="T3" fmla="*/ 48 h 48"/>
              <a:gd name="T4" fmla="*/ 0 w 149"/>
              <a:gd name="T5" fmla="*/ 44 h 48"/>
              <a:gd name="T6" fmla="*/ 125 w 149"/>
              <a:gd name="T7" fmla="*/ 44 h 48"/>
              <a:gd name="T8" fmla="*/ 145 w 149"/>
              <a:gd name="T9" fmla="*/ 24 h 48"/>
              <a:gd name="T10" fmla="*/ 125 w 149"/>
              <a:gd name="T11" fmla="*/ 4 h 48"/>
              <a:gd name="T12" fmla="*/ 0 w 149"/>
              <a:gd name="T13" fmla="*/ 4 h 48"/>
              <a:gd name="T14" fmla="*/ 0 w 149"/>
              <a:gd name="T15" fmla="*/ 0 h 48"/>
              <a:gd name="T16" fmla="*/ 125 w 149"/>
              <a:gd name="T17" fmla="*/ 0 h 48"/>
              <a:gd name="T18" fmla="*/ 149 w 149"/>
              <a:gd name="T19" fmla="*/ 24 h 48"/>
              <a:gd name="T20" fmla="*/ 125 w 149"/>
              <a:gd name="T21" fmla="*/ 4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9" h="48">
                <a:moveTo>
                  <a:pt x="125" y="48"/>
                </a:moveTo>
                <a:cubicBezTo>
                  <a:pt x="0" y="48"/>
                  <a:pt x="0" y="48"/>
                  <a:pt x="0" y="48"/>
                </a:cubicBezTo>
                <a:cubicBezTo>
                  <a:pt x="0" y="44"/>
                  <a:pt x="0" y="44"/>
                  <a:pt x="0" y="44"/>
                </a:cubicBezTo>
                <a:cubicBezTo>
                  <a:pt x="125" y="44"/>
                  <a:pt x="125" y="44"/>
                  <a:pt x="125" y="44"/>
                </a:cubicBezTo>
                <a:cubicBezTo>
                  <a:pt x="136" y="44"/>
                  <a:pt x="145" y="35"/>
                  <a:pt x="145" y="24"/>
                </a:cubicBezTo>
                <a:cubicBezTo>
                  <a:pt x="145" y="13"/>
                  <a:pt x="136" y="4"/>
                  <a:pt x="125" y="4"/>
                </a:cubicBezTo>
                <a:cubicBezTo>
                  <a:pt x="0" y="4"/>
                  <a:pt x="0" y="4"/>
                  <a:pt x="0" y="4"/>
                </a:cubicBezTo>
                <a:cubicBezTo>
                  <a:pt x="0" y="0"/>
                  <a:pt x="0" y="0"/>
                  <a:pt x="0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139" y="0"/>
                  <a:pt x="149" y="11"/>
                  <a:pt x="149" y="24"/>
                </a:cubicBezTo>
                <a:cubicBezTo>
                  <a:pt x="149" y="37"/>
                  <a:pt x="139" y="48"/>
                  <a:pt x="125" y="48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1" name="Freeform 1013">
            <a:extLst>
              <a:ext uri="{FF2B5EF4-FFF2-40B4-BE49-F238E27FC236}">
                <a16:creationId xmlns:a16="http://schemas.microsoft.com/office/drawing/2014/main" id="{EF50C345-1358-4238-B469-2B8EE0B47613}"/>
              </a:ext>
            </a:extLst>
          </p:cNvPr>
          <p:cNvSpPr>
            <a:spLocks/>
          </p:cNvSpPr>
          <p:nvPr/>
        </p:nvSpPr>
        <p:spPr bwMode="auto">
          <a:xfrm>
            <a:off x="10231001" y="6108774"/>
            <a:ext cx="75134" cy="15027"/>
          </a:xfrm>
          <a:custGeom>
            <a:avLst/>
            <a:gdLst>
              <a:gd name="T0" fmla="*/ 145 w 145"/>
              <a:gd name="T1" fmla="*/ 14 h 27"/>
              <a:gd name="T2" fmla="*/ 132 w 145"/>
              <a:gd name="T3" fmla="*/ 27 h 27"/>
              <a:gd name="T4" fmla="*/ 0 w 145"/>
              <a:gd name="T5" fmla="*/ 27 h 27"/>
              <a:gd name="T6" fmla="*/ 0 w 145"/>
              <a:gd name="T7" fmla="*/ 0 h 27"/>
              <a:gd name="T8" fmla="*/ 132 w 145"/>
              <a:gd name="T9" fmla="*/ 0 h 27"/>
              <a:gd name="T10" fmla="*/ 145 w 145"/>
              <a:gd name="T11" fmla="*/ 14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5" h="27">
                <a:moveTo>
                  <a:pt x="145" y="14"/>
                </a:moveTo>
                <a:cubicBezTo>
                  <a:pt x="145" y="21"/>
                  <a:pt x="139" y="27"/>
                  <a:pt x="132" y="27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0"/>
                  <a:pt x="0" y="0"/>
                  <a:pt x="0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39" y="0"/>
                  <a:pt x="145" y="6"/>
                  <a:pt x="145" y="14"/>
                </a:cubicBez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2" name="Freeform 1014">
            <a:extLst>
              <a:ext uri="{FF2B5EF4-FFF2-40B4-BE49-F238E27FC236}">
                <a16:creationId xmlns:a16="http://schemas.microsoft.com/office/drawing/2014/main" id="{C84AA65D-7BFE-49D8-AD88-A6BF8E65E2E9}"/>
              </a:ext>
            </a:extLst>
          </p:cNvPr>
          <p:cNvSpPr>
            <a:spLocks/>
          </p:cNvSpPr>
          <p:nvPr/>
        </p:nvSpPr>
        <p:spPr bwMode="auto">
          <a:xfrm>
            <a:off x="10231001" y="6111278"/>
            <a:ext cx="73882" cy="2504"/>
          </a:xfrm>
          <a:custGeom>
            <a:avLst/>
            <a:gdLst>
              <a:gd name="T0" fmla="*/ 59 w 59"/>
              <a:gd name="T1" fmla="*/ 2 h 2"/>
              <a:gd name="T2" fmla="*/ 0 w 59"/>
              <a:gd name="T3" fmla="*/ 2 h 2"/>
              <a:gd name="T4" fmla="*/ 0 w 59"/>
              <a:gd name="T5" fmla="*/ 0 h 2"/>
              <a:gd name="T6" fmla="*/ 59 w 59"/>
              <a:gd name="T7" fmla="*/ 0 h 2"/>
              <a:gd name="T8" fmla="*/ 59 w 59"/>
              <a:gd name="T9" fmla="*/ 2 h 2"/>
              <a:gd name="T10" fmla="*/ 59 w 59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9" h="2">
                <a:moveTo>
                  <a:pt x="59" y="2"/>
                </a:moveTo>
                <a:lnTo>
                  <a:pt x="0" y="2"/>
                </a:lnTo>
                <a:lnTo>
                  <a:pt x="0" y="0"/>
                </a:lnTo>
                <a:lnTo>
                  <a:pt x="59" y="0"/>
                </a:lnTo>
                <a:lnTo>
                  <a:pt x="59" y="2"/>
                </a:lnTo>
                <a:lnTo>
                  <a:pt x="59" y="2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3" name="Freeform 1015">
            <a:extLst>
              <a:ext uri="{FF2B5EF4-FFF2-40B4-BE49-F238E27FC236}">
                <a16:creationId xmlns:a16="http://schemas.microsoft.com/office/drawing/2014/main" id="{2C15B460-CD07-48A2-8C7E-031A5EE39E1E}"/>
              </a:ext>
            </a:extLst>
          </p:cNvPr>
          <p:cNvSpPr>
            <a:spLocks/>
          </p:cNvSpPr>
          <p:nvPr/>
        </p:nvSpPr>
        <p:spPr bwMode="auto">
          <a:xfrm>
            <a:off x="10231001" y="6115035"/>
            <a:ext cx="76387" cy="2504"/>
          </a:xfrm>
          <a:custGeom>
            <a:avLst/>
            <a:gdLst>
              <a:gd name="T0" fmla="*/ 61 w 61"/>
              <a:gd name="T1" fmla="*/ 2 h 2"/>
              <a:gd name="T2" fmla="*/ 0 w 61"/>
              <a:gd name="T3" fmla="*/ 2 h 2"/>
              <a:gd name="T4" fmla="*/ 0 w 61"/>
              <a:gd name="T5" fmla="*/ 0 h 2"/>
              <a:gd name="T6" fmla="*/ 61 w 61"/>
              <a:gd name="T7" fmla="*/ 0 h 2"/>
              <a:gd name="T8" fmla="*/ 61 w 61"/>
              <a:gd name="T9" fmla="*/ 2 h 2"/>
              <a:gd name="T10" fmla="*/ 61 w 61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1" h="2">
                <a:moveTo>
                  <a:pt x="61" y="2"/>
                </a:moveTo>
                <a:lnTo>
                  <a:pt x="0" y="2"/>
                </a:lnTo>
                <a:lnTo>
                  <a:pt x="0" y="0"/>
                </a:lnTo>
                <a:lnTo>
                  <a:pt x="61" y="0"/>
                </a:lnTo>
                <a:lnTo>
                  <a:pt x="61" y="2"/>
                </a:lnTo>
                <a:lnTo>
                  <a:pt x="61" y="2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4" name="Freeform 1016">
            <a:extLst>
              <a:ext uri="{FF2B5EF4-FFF2-40B4-BE49-F238E27FC236}">
                <a16:creationId xmlns:a16="http://schemas.microsoft.com/office/drawing/2014/main" id="{790742B7-72F6-4AE2-B301-034EE57DEB50}"/>
              </a:ext>
            </a:extLst>
          </p:cNvPr>
          <p:cNvSpPr>
            <a:spLocks/>
          </p:cNvSpPr>
          <p:nvPr/>
        </p:nvSpPr>
        <p:spPr bwMode="auto">
          <a:xfrm>
            <a:off x="10231001" y="6120044"/>
            <a:ext cx="75134" cy="1253"/>
          </a:xfrm>
          <a:custGeom>
            <a:avLst/>
            <a:gdLst>
              <a:gd name="T0" fmla="*/ 60 w 60"/>
              <a:gd name="T1" fmla="*/ 1 h 1"/>
              <a:gd name="T2" fmla="*/ 0 w 60"/>
              <a:gd name="T3" fmla="*/ 1 h 1"/>
              <a:gd name="T4" fmla="*/ 0 w 60"/>
              <a:gd name="T5" fmla="*/ 0 h 1"/>
              <a:gd name="T6" fmla="*/ 60 w 60"/>
              <a:gd name="T7" fmla="*/ 0 h 1"/>
              <a:gd name="T8" fmla="*/ 60 w 60"/>
              <a:gd name="T9" fmla="*/ 1 h 1"/>
              <a:gd name="T10" fmla="*/ 60 w 60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0" h="1">
                <a:moveTo>
                  <a:pt x="60" y="1"/>
                </a:moveTo>
                <a:lnTo>
                  <a:pt x="0" y="1"/>
                </a:lnTo>
                <a:lnTo>
                  <a:pt x="0" y="0"/>
                </a:lnTo>
                <a:lnTo>
                  <a:pt x="60" y="0"/>
                </a:lnTo>
                <a:lnTo>
                  <a:pt x="60" y="1"/>
                </a:lnTo>
                <a:lnTo>
                  <a:pt x="60" y="1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5" name="Freeform 1017">
            <a:extLst>
              <a:ext uri="{FF2B5EF4-FFF2-40B4-BE49-F238E27FC236}">
                <a16:creationId xmlns:a16="http://schemas.microsoft.com/office/drawing/2014/main" id="{0F6838F0-ACBD-42B9-A479-CB98BB14A010}"/>
              </a:ext>
            </a:extLst>
          </p:cNvPr>
          <p:cNvSpPr>
            <a:spLocks/>
          </p:cNvSpPr>
          <p:nvPr/>
        </p:nvSpPr>
        <p:spPr bwMode="auto">
          <a:xfrm>
            <a:off x="10231001" y="6107522"/>
            <a:ext cx="77638" cy="17531"/>
          </a:xfrm>
          <a:custGeom>
            <a:avLst/>
            <a:gdLst>
              <a:gd name="T0" fmla="*/ 0 w 149"/>
              <a:gd name="T1" fmla="*/ 31 h 35"/>
              <a:gd name="T2" fmla="*/ 132 w 149"/>
              <a:gd name="T3" fmla="*/ 31 h 35"/>
              <a:gd name="T4" fmla="*/ 145 w 149"/>
              <a:gd name="T5" fmla="*/ 18 h 35"/>
              <a:gd name="T6" fmla="*/ 132 w 149"/>
              <a:gd name="T7" fmla="*/ 4 h 35"/>
              <a:gd name="T8" fmla="*/ 0 w 149"/>
              <a:gd name="T9" fmla="*/ 4 h 35"/>
              <a:gd name="T10" fmla="*/ 0 w 149"/>
              <a:gd name="T11" fmla="*/ 0 h 35"/>
              <a:gd name="T12" fmla="*/ 132 w 149"/>
              <a:gd name="T13" fmla="*/ 0 h 35"/>
              <a:gd name="T14" fmla="*/ 149 w 149"/>
              <a:gd name="T15" fmla="*/ 18 h 35"/>
              <a:gd name="T16" fmla="*/ 132 w 149"/>
              <a:gd name="T17" fmla="*/ 35 h 35"/>
              <a:gd name="T18" fmla="*/ 0 w 149"/>
              <a:gd name="T19" fmla="*/ 35 h 35"/>
              <a:gd name="T20" fmla="*/ 0 w 149"/>
              <a:gd name="T21" fmla="*/ 31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9" h="35">
                <a:moveTo>
                  <a:pt x="0" y="31"/>
                </a:moveTo>
                <a:cubicBezTo>
                  <a:pt x="132" y="31"/>
                  <a:pt x="132" y="31"/>
                  <a:pt x="132" y="31"/>
                </a:cubicBezTo>
                <a:cubicBezTo>
                  <a:pt x="139" y="31"/>
                  <a:pt x="145" y="25"/>
                  <a:pt x="145" y="18"/>
                </a:cubicBezTo>
                <a:cubicBezTo>
                  <a:pt x="145" y="10"/>
                  <a:pt x="139" y="4"/>
                  <a:pt x="132" y="4"/>
                </a:cubicBezTo>
                <a:cubicBezTo>
                  <a:pt x="0" y="4"/>
                  <a:pt x="0" y="4"/>
                  <a:pt x="0" y="4"/>
                </a:cubicBezTo>
                <a:cubicBezTo>
                  <a:pt x="0" y="0"/>
                  <a:pt x="0" y="0"/>
                  <a:pt x="0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41" y="0"/>
                  <a:pt x="149" y="8"/>
                  <a:pt x="149" y="18"/>
                </a:cubicBezTo>
                <a:cubicBezTo>
                  <a:pt x="149" y="27"/>
                  <a:pt x="141" y="35"/>
                  <a:pt x="132" y="35"/>
                </a:cubicBezTo>
                <a:cubicBezTo>
                  <a:pt x="0" y="35"/>
                  <a:pt x="0" y="35"/>
                  <a:pt x="0" y="35"/>
                </a:cubicBezTo>
                <a:lnTo>
                  <a:pt x="0" y="31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6" name="Freeform 1018">
            <a:extLst>
              <a:ext uri="{FF2B5EF4-FFF2-40B4-BE49-F238E27FC236}">
                <a16:creationId xmlns:a16="http://schemas.microsoft.com/office/drawing/2014/main" id="{C3EFA181-AEA7-4DD0-A9DC-DCD49150E406}"/>
              </a:ext>
            </a:extLst>
          </p:cNvPr>
          <p:cNvSpPr>
            <a:spLocks/>
          </p:cNvSpPr>
          <p:nvPr/>
        </p:nvSpPr>
        <p:spPr bwMode="auto">
          <a:xfrm>
            <a:off x="10222236" y="6057433"/>
            <a:ext cx="80143" cy="17531"/>
          </a:xfrm>
          <a:custGeom>
            <a:avLst/>
            <a:gdLst>
              <a:gd name="T0" fmla="*/ 154 w 154"/>
              <a:gd name="T1" fmla="*/ 17 h 34"/>
              <a:gd name="T2" fmla="*/ 137 w 154"/>
              <a:gd name="T3" fmla="*/ 34 h 34"/>
              <a:gd name="T4" fmla="*/ 0 w 154"/>
              <a:gd name="T5" fmla="*/ 34 h 34"/>
              <a:gd name="T6" fmla="*/ 0 w 154"/>
              <a:gd name="T7" fmla="*/ 0 h 34"/>
              <a:gd name="T8" fmla="*/ 137 w 154"/>
              <a:gd name="T9" fmla="*/ 0 h 34"/>
              <a:gd name="T10" fmla="*/ 154 w 154"/>
              <a:gd name="T11" fmla="*/ 17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4" h="34">
                <a:moveTo>
                  <a:pt x="154" y="17"/>
                </a:moveTo>
                <a:cubicBezTo>
                  <a:pt x="154" y="26"/>
                  <a:pt x="146" y="34"/>
                  <a:pt x="137" y="34"/>
                </a:cubicBezTo>
                <a:cubicBezTo>
                  <a:pt x="0" y="34"/>
                  <a:pt x="0" y="34"/>
                  <a:pt x="0" y="34"/>
                </a:cubicBezTo>
                <a:cubicBezTo>
                  <a:pt x="0" y="0"/>
                  <a:pt x="0" y="0"/>
                  <a:pt x="0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46" y="0"/>
                  <a:pt x="154" y="7"/>
                  <a:pt x="154" y="17"/>
                </a:cubicBez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7" name="Freeform 1019">
            <a:extLst>
              <a:ext uri="{FF2B5EF4-FFF2-40B4-BE49-F238E27FC236}">
                <a16:creationId xmlns:a16="http://schemas.microsoft.com/office/drawing/2014/main" id="{70030B69-95B0-4001-B3FA-9086422269CA}"/>
              </a:ext>
            </a:extLst>
          </p:cNvPr>
          <p:cNvSpPr>
            <a:spLocks/>
          </p:cNvSpPr>
          <p:nvPr/>
        </p:nvSpPr>
        <p:spPr bwMode="auto">
          <a:xfrm>
            <a:off x="10222236" y="6058684"/>
            <a:ext cx="78891" cy="2504"/>
          </a:xfrm>
          <a:custGeom>
            <a:avLst/>
            <a:gdLst>
              <a:gd name="T0" fmla="*/ 63 w 63"/>
              <a:gd name="T1" fmla="*/ 2 h 2"/>
              <a:gd name="T2" fmla="*/ 0 w 63"/>
              <a:gd name="T3" fmla="*/ 2 h 2"/>
              <a:gd name="T4" fmla="*/ 0 w 63"/>
              <a:gd name="T5" fmla="*/ 0 h 2"/>
              <a:gd name="T6" fmla="*/ 63 w 63"/>
              <a:gd name="T7" fmla="*/ 0 h 2"/>
              <a:gd name="T8" fmla="*/ 63 w 63"/>
              <a:gd name="T9" fmla="*/ 2 h 2"/>
              <a:gd name="T10" fmla="*/ 63 w 63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3" h="2">
                <a:moveTo>
                  <a:pt x="63" y="2"/>
                </a:moveTo>
                <a:lnTo>
                  <a:pt x="0" y="2"/>
                </a:lnTo>
                <a:lnTo>
                  <a:pt x="0" y="0"/>
                </a:lnTo>
                <a:lnTo>
                  <a:pt x="63" y="0"/>
                </a:lnTo>
                <a:lnTo>
                  <a:pt x="63" y="2"/>
                </a:lnTo>
                <a:lnTo>
                  <a:pt x="63" y="2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8" name="Freeform 1020">
            <a:extLst>
              <a:ext uri="{FF2B5EF4-FFF2-40B4-BE49-F238E27FC236}">
                <a16:creationId xmlns:a16="http://schemas.microsoft.com/office/drawing/2014/main" id="{585058CC-A780-43F4-A4F6-45ED474F5468}"/>
              </a:ext>
            </a:extLst>
          </p:cNvPr>
          <p:cNvSpPr>
            <a:spLocks/>
          </p:cNvSpPr>
          <p:nvPr/>
        </p:nvSpPr>
        <p:spPr bwMode="auto">
          <a:xfrm>
            <a:off x="10222236" y="6062441"/>
            <a:ext cx="81396" cy="2504"/>
          </a:xfrm>
          <a:custGeom>
            <a:avLst/>
            <a:gdLst>
              <a:gd name="T0" fmla="*/ 65 w 65"/>
              <a:gd name="T1" fmla="*/ 2 h 2"/>
              <a:gd name="T2" fmla="*/ 0 w 65"/>
              <a:gd name="T3" fmla="*/ 2 h 2"/>
              <a:gd name="T4" fmla="*/ 0 w 65"/>
              <a:gd name="T5" fmla="*/ 0 h 2"/>
              <a:gd name="T6" fmla="*/ 65 w 65"/>
              <a:gd name="T7" fmla="*/ 0 h 2"/>
              <a:gd name="T8" fmla="*/ 65 w 65"/>
              <a:gd name="T9" fmla="*/ 2 h 2"/>
              <a:gd name="T10" fmla="*/ 65 w 65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5" h="2">
                <a:moveTo>
                  <a:pt x="65" y="2"/>
                </a:moveTo>
                <a:lnTo>
                  <a:pt x="0" y="2"/>
                </a:lnTo>
                <a:lnTo>
                  <a:pt x="0" y="0"/>
                </a:lnTo>
                <a:lnTo>
                  <a:pt x="65" y="0"/>
                </a:lnTo>
                <a:lnTo>
                  <a:pt x="65" y="2"/>
                </a:lnTo>
                <a:lnTo>
                  <a:pt x="65" y="2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9" name="Freeform 1021">
            <a:extLst>
              <a:ext uri="{FF2B5EF4-FFF2-40B4-BE49-F238E27FC236}">
                <a16:creationId xmlns:a16="http://schemas.microsoft.com/office/drawing/2014/main" id="{EAD3C540-BE40-4B53-BAF4-A2478AB0451B}"/>
              </a:ext>
            </a:extLst>
          </p:cNvPr>
          <p:cNvSpPr>
            <a:spLocks/>
          </p:cNvSpPr>
          <p:nvPr/>
        </p:nvSpPr>
        <p:spPr bwMode="auto">
          <a:xfrm>
            <a:off x="10222236" y="6067450"/>
            <a:ext cx="81396" cy="1253"/>
          </a:xfrm>
          <a:custGeom>
            <a:avLst/>
            <a:gdLst>
              <a:gd name="T0" fmla="*/ 65 w 65"/>
              <a:gd name="T1" fmla="*/ 1 h 1"/>
              <a:gd name="T2" fmla="*/ 0 w 65"/>
              <a:gd name="T3" fmla="*/ 1 h 1"/>
              <a:gd name="T4" fmla="*/ 0 w 65"/>
              <a:gd name="T5" fmla="*/ 0 h 1"/>
              <a:gd name="T6" fmla="*/ 65 w 65"/>
              <a:gd name="T7" fmla="*/ 0 h 1"/>
              <a:gd name="T8" fmla="*/ 65 w 65"/>
              <a:gd name="T9" fmla="*/ 1 h 1"/>
              <a:gd name="T10" fmla="*/ 65 w 65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5" h="1">
                <a:moveTo>
                  <a:pt x="65" y="1"/>
                </a:moveTo>
                <a:lnTo>
                  <a:pt x="0" y="1"/>
                </a:lnTo>
                <a:lnTo>
                  <a:pt x="0" y="0"/>
                </a:lnTo>
                <a:lnTo>
                  <a:pt x="65" y="0"/>
                </a:lnTo>
                <a:lnTo>
                  <a:pt x="65" y="1"/>
                </a:lnTo>
                <a:lnTo>
                  <a:pt x="65" y="1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0" name="Freeform 1022">
            <a:extLst>
              <a:ext uri="{FF2B5EF4-FFF2-40B4-BE49-F238E27FC236}">
                <a16:creationId xmlns:a16="http://schemas.microsoft.com/office/drawing/2014/main" id="{C96B7B9D-A3C5-4F74-8546-487C0814A7BA}"/>
              </a:ext>
            </a:extLst>
          </p:cNvPr>
          <p:cNvSpPr>
            <a:spLocks/>
          </p:cNvSpPr>
          <p:nvPr/>
        </p:nvSpPr>
        <p:spPr bwMode="auto">
          <a:xfrm>
            <a:off x="10222236" y="6071207"/>
            <a:ext cx="78891" cy="2504"/>
          </a:xfrm>
          <a:custGeom>
            <a:avLst/>
            <a:gdLst>
              <a:gd name="T0" fmla="*/ 63 w 63"/>
              <a:gd name="T1" fmla="*/ 2 h 2"/>
              <a:gd name="T2" fmla="*/ 0 w 63"/>
              <a:gd name="T3" fmla="*/ 2 h 2"/>
              <a:gd name="T4" fmla="*/ 0 w 63"/>
              <a:gd name="T5" fmla="*/ 0 h 2"/>
              <a:gd name="T6" fmla="*/ 63 w 63"/>
              <a:gd name="T7" fmla="*/ 0 h 2"/>
              <a:gd name="T8" fmla="*/ 63 w 63"/>
              <a:gd name="T9" fmla="*/ 2 h 2"/>
              <a:gd name="T10" fmla="*/ 63 w 63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3" h="2">
                <a:moveTo>
                  <a:pt x="63" y="2"/>
                </a:moveTo>
                <a:lnTo>
                  <a:pt x="0" y="2"/>
                </a:lnTo>
                <a:lnTo>
                  <a:pt x="0" y="0"/>
                </a:lnTo>
                <a:lnTo>
                  <a:pt x="63" y="0"/>
                </a:lnTo>
                <a:lnTo>
                  <a:pt x="63" y="2"/>
                </a:lnTo>
                <a:lnTo>
                  <a:pt x="63" y="2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1" name="Freeform 1023">
            <a:extLst>
              <a:ext uri="{FF2B5EF4-FFF2-40B4-BE49-F238E27FC236}">
                <a16:creationId xmlns:a16="http://schemas.microsoft.com/office/drawing/2014/main" id="{B8902935-CF9B-4B52-BDFB-118DF2FC07FC}"/>
              </a:ext>
            </a:extLst>
          </p:cNvPr>
          <p:cNvSpPr>
            <a:spLocks/>
          </p:cNvSpPr>
          <p:nvPr/>
        </p:nvSpPr>
        <p:spPr bwMode="auto">
          <a:xfrm>
            <a:off x="10222236" y="6054928"/>
            <a:ext cx="82647" cy="22540"/>
          </a:xfrm>
          <a:custGeom>
            <a:avLst/>
            <a:gdLst>
              <a:gd name="T0" fmla="*/ 137 w 158"/>
              <a:gd name="T1" fmla="*/ 0 h 42"/>
              <a:gd name="T2" fmla="*/ 158 w 158"/>
              <a:gd name="T3" fmla="*/ 21 h 42"/>
              <a:gd name="T4" fmla="*/ 137 w 158"/>
              <a:gd name="T5" fmla="*/ 42 h 42"/>
              <a:gd name="T6" fmla="*/ 0 w 158"/>
              <a:gd name="T7" fmla="*/ 42 h 42"/>
              <a:gd name="T8" fmla="*/ 0 w 158"/>
              <a:gd name="T9" fmla="*/ 38 h 42"/>
              <a:gd name="T10" fmla="*/ 137 w 158"/>
              <a:gd name="T11" fmla="*/ 38 h 42"/>
              <a:gd name="T12" fmla="*/ 154 w 158"/>
              <a:gd name="T13" fmla="*/ 21 h 42"/>
              <a:gd name="T14" fmla="*/ 137 w 158"/>
              <a:gd name="T15" fmla="*/ 4 h 42"/>
              <a:gd name="T16" fmla="*/ 0 w 158"/>
              <a:gd name="T17" fmla="*/ 4 h 42"/>
              <a:gd name="T18" fmla="*/ 0 w 158"/>
              <a:gd name="T19" fmla="*/ 0 h 42"/>
              <a:gd name="T20" fmla="*/ 137 w 158"/>
              <a:gd name="T21" fmla="*/ 0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58" h="42">
                <a:moveTo>
                  <a:pt x="137" y="0"/>
                </a:moveTo>
                <a:cubicBezTo>
                  <a:pt x="148" y="0"/>
                  <a:pt x="158" y="9"/>
                  <a:pt x="158" y="21"/>
                </a:cubicBezTo>
                <a:cubicBezTo>
                  <a:pt x="158" y="32"/>
                  <a:pt x="148" y="42"/>
                  <a:pt x="137" y="42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38"/>
                  <a:pt x="0" y="38"/>
                  <a:pt x="0" y="38"/>
                </a:cubicBezTo>
                <a:cubicBezTo>
                  <a:pt x="137" y="38"/>
                  <a:pt x="137" y="38"/>
                  <a:pt x="137" y="38"/>
                </a:cubicBezTo>
                <a:cubicBezTo>
                  <a:pt x="146" y="38"/>
                  <a:pt x="154" y="30"/>
                  <a:pt x="154" y="21"/>
                </a:cubicBezTo>
                <a:cubicBezTo>
                  <a:pt x="154" y="11"/>
                  <a:pt x="146" y="4"/>
                  <a:pt x="137" y="4"/>
                </a:cubicBezTo>
                <a:cubicBezTo>
                  <a:pt x="0" y="4"/>
                  <a:pt x="0" y="4"/>
                  <a:pt x="0" y="4"/>
                </a:cubicBezTo>
                <a:cubicBezTo>
                  <a:pt x="0" y="0"/>
                  <a:pt x="0" y="0"/>
                  <a:pt x="0" y="0"/>
                </a:cubicBezTo>
                <a:lnTo>
                  <a:pt x="137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2" name="Freeform 1024">
            <a:extLst>
              <a:ext uri="{FF2B5EF4-FFF2-40B4-BE49-F238E27FC236}">
                <a16:creationId xmlns:a16="http://schemas.microsoft.com/office/drawing/2014/main" id="{FE5A1062-090D-4EE2-9FD3-9204145F52CD}"/>
              </a:ext>
            </a:extLst>
          </p:cNvPr>
          <p:cNvSpPr>
            <a:spLocks/>
          </p:cNvSpPr>
          <p:nvPr/>
        </p:nvSpPr>
        <p:spPr bwMode="auto">
          <a:xfrm>
            <a:off x="10225992" y="6081225"/>
            <a:ext cx="75134" cy="21288"/>
          </a:xfrm>
          <a:custGeom>
            <a:avLst/>
            <a:gdLst>
              <a:gd name="T0" fmla="*/ 145 w 145"/>
              <a:gd name="T1" fmla="*/ 20 h 40"/>
              <a:gd name="T2" fmla="*/ 125 w 145"/>
              <a:gd name="T3" fmla="*/ 40 h 40"/>
              <a:gd name="T4" fmla="*/ 0 w 145"/>
              <a:gd name="T5" fmla="*/ 40 h 40"/>
              <a:gd name="T6" fmla="*/ 0 w 145"/>
              <a:gd name="T7" fmla="*/ 0 h 40"/>
              <a:gd name="T8" fmla="*/ 125 w 145"/>
              <a:gd name="T9" fmla="*/ 0 h 40"/>
              <a:gd name="T10" fmla="*/ 145 w 145"/>
              <a:gd name="T11" fmla="*/ 2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5" h="40">
                <a:moveTo>
                  <a:pt x="145" y="20"/>
                </a:moveTo>
                <a:cubicBezTo>
                  <a:pt x="145" y="31"/>
                  <a:pt x="136" y="40"/>
                  <a:pt x="125" y="4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0"/>
                  <a:pt x="0" y="0"/>
                  <a:pt x="0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136" y="0"/>
                  <a:pt x="145" y="9"/>
                  <a:pt x="145" y="20"/>
                </a:cubicBez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3" name="Freeform 1025">
            <a:extLst>
              <a:ext uri="{FF2B5EF4-FFF2-40B4-BE49-F238E27FC236}">
                <a16:creationId xmlns:a16="http://schemas.microsoft.com/office/drawing/2014/main" id="{018185A1-08F7-47F9-A61B-FD99A139F988}"/>
              </a:ext>
            </a:extLst>
          </p:cNvPr>
          <p:cNvSpPr>
            <a:spLocks/>
          </p:cNvSpPr>
          <p:nvPr/>
        </p:nvSpPr>
        <p:spPr bwMode="auto">
          <a:xfrm>
            <a:off x="10225992" y="6084982"/>
            <a:ext cx="75134" cy="1253"/>
          </a:xfrm>
          <a:custGeom>
            <a:avLst/>
            <a:gdLst>
              <a:gd name="T0" fmla="*/ 60 w 60"/>
              <a:gd name="T1" fmla="*/ 1 h 1"/>
              <a:gd name="T2" fmla="*/ 0 w 60"/>
              <a:gd name="T3" fmla="*/ 1 h 1"/>
              <a:gd name="T4" fmla="*/ 0 w 60"/>
              <a:gd name="T5" fmla="*/ 0 h 1"/>
              <a:gd name="T6" fmla="*/ 60 w 60"/>
              <a:gd name="T7" fmla="*/ 0 h 1"/>
              <a:gd name="T8" fmla="*/ 60 w 60"/>
              <a:gd name="T9" fmla="*/ 1 h 1"/>
              <a:gd name="T10" fmla="*/ 60 w 60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0" h="1">
                <a:moveTo>
                  <a:pt x="60" y="1"/>
                </a:moveTo>
                <a:lnTo>
                  <a:pt x="0" y="1"/>
                </a:lnTo>
                <a:lnTo>
                  <a:pt x="0" y="0"/>
                </a:lnTo>
                <a:lnTo>
                  <a:pt x="60" y="0"/>
                </a:lnTo>
                <a:lnTo>
                  <a:pt x="60" y="1"/>
                </a:lnTo>
                <a:lnTo>
                  <a:pt x="60" y="1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4" name="Freeform 1026">
            <a:extLst>
              <a:ext uri="{FF2B5EF4-FFF2-40B4-BE49-F238E27FC236}">
                <a16:creationId xmlns:a16="http://schemas.microsoft.com/office/drawing/2014/main" id="{1F5B3632-14B0-4730-B11A-D3D468148A52}"/>
              </a:ext>
            </a:extLst>
          </p:cNvPr>
          <p:cNvSpPr>
            <a:spLocks/>
          </p:cNvSpPr>
          <p:nvPr/>
        </p:nvSpPr>
        <p:spPr bwMode="auto">
          <a:xfrm>
            <a:off x="10225992" y="6088738"/>
            <a:ext cx="76387" cy="2504"/>
          </a:xfrm>
          <a:custGeom>
            <a:avLst/>
            <a:gdLst>
              <a:gd name="T0" fmla="*/ 61 w 61"/>
              <a:gd name="T1" fmla="*/ 2 h 2"/>
              <a:gd name="T2" fmla="*/ 0 w 61"/>
              <a:gd name="T3" fmla="*/ 2 h 2"/>
              <a:gd name="T4" fmla="*/ 0 w 61"/>
              <a:gd name="T5" fmla="*/ 0 h 2"/>
              <a:gd name="T6" fmla="*/ 61 w 61"/>
              <a:gd name="T7" fmla="*/ 0 h 2"/>
              <a:gd name="T8" fmla="*/ 61 w 61"/>
              <a:gd name="T9" fmla="*/ 2 h 2"/>
              <a:gd name="T10" fmla="*/ 61 w 61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1" h="2">
                <a:moveTo>
                  <a:pt x="61" y="2"/>
                </a:moveTo>
                <a:lnTo>
                  <a:pt x="0" y="2"/>
                </a:lnTo>
                <a:lnTo>
                  <a:pt x="0" y="0"/>
                </a:lnTo>
                <a:lnTo>
                  <a:pt x="61" y="0"/>
                </a:lnTo>
                <a:lnTo>
                  <a:pt x="61" y="2"/>
                </a:lnTo>
                <a:lnTo>
                  <a:pt x="61" y="2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5" name="Freeform 1027">
            <a:extLst>
              <a:ext uri="{FF2B5EF4-FFF2-40B4-BE49-F238E27FC236}">
                <a16:creationId xmlns:a16="http://schemas.microsoft.com/office/drawing/2014/main" id="{CD787B14-BE29-4681-85FA-FA8CEEE9D5D7}"/>
              </a:ext>
            </a:extLst>
          </p:cNvPr>
          <p:cNvSpPr>
            <a:spLocks/>
          </p:cNvSpPr>
          <p:nvPr/>
        </p:nvSpPr>
        <p:spPr bwMode="auto">
          <a:xfrm>
            <a:off x="10225992" y="6092495"/>
            <a:ext cx="76387" cy="2504"/>
          </a:xfrm>
          <a:custGeom>
            <a:avLst/>
            <a:gdLst>
              <a:gd name="T0" fmla="*/ 61 w 61"/>
              <a:gd name="T1" fmla="*/ 2 h 2"/>
              <a:gd name="T2" fmla="*/ 0 w 61"/>
              <a:gd name="T3" fmla="*/ 2 h 2"/>
              <a:gd name="T4" fmla="*/ 0 w 61"/>
              <a:gd name="T5" fmla="*/ 0 h 2"/>
              <a:gd name="T6" fmla="*/ 61 w 61"/>
              <a:gd name="T7" fmla="*/ 0 h 2"/>
              <a:gd name="T8" fmla="*/ 61 w 61"/>
              <a:gd name="T9" fmla="*/ 2 h 2"/>
              <a:gd name="T10" fmla="*/ 61 w 61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1" h="2">
                <a:moveTo>
                  <a:pt x="61" y="2"/>
                </a:moveTo>
                <a:lnTo>
                  <a:pt x="0" y="2"/>
                </a:lnTo>
                <a:lnTo>
                  <a:pt x="0" y="0"/>
                </a:lnTo>
                <a:lnTo>
                  <a:pt x="61" y="0"/>
                </a:lnTo>
                <a:lnTo>
                  <a:pt x="61" y="2"/>
                </a:lnTo>
                <a:lnTo>
                  <a:pt x="61" y="2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6" name="Freeform 1028">
            <a:extLst>
              <a:ext uri="{FF2B5EF4-FFF2-40B4-BE49-F238E27FC236}">
                <a16:creationId xmlns:a16="http://schemas.microsoft.com/office/drawing/2014/main" id="{6BAB3576-722E-4D6B-ABE2-8723F21B740C}"/>
              </a:ext>
            </a:extLst>
          </p:cNvPr>
          <p:cNvSpPr>
            <a:spLocks/>
          </p:cNvSpPr>
          <p:nvPr/>
        </p:nvSpPr>
        <p:spPr bwMode="auto">
          <a:xfrm>
            <a:off x="10225992" y="6097504"/>
            <a:ext cx="75134" cy="1253"/>
          </a:xfrm>
          <a:custGeom>
            <a:avLst/>
            <a:gdLst>
              <a:gd name="T0" fmla="*/ 60 w 60"/>
              <a:gd name="T1" fmla="*/ 1 h 1"/>
              <a:gd name="T2" fmla="*/ 0 w 60"/>
              <a:gd name="T3" fmla="*/ 1 h 1"/>
              <a:gd name="T4" fmla="*/ 0 w 60"/>
              <a:gd name="T5" fmla="*/ 0 h 1"/>
              <a:gd name="T6" fmla="*/ 60 w 60"/>
              <a:gd name="T7" fmla="*/ 0 h 1"/>
              <a:gd name="T8" fmla="*/ 60 w 60"/>
              <a:gd name="T9" fmla="*/ 1 h 1"/>
              <a:gd name="T10" fmla="*/ 60 w 60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0" h="1">
                <a:moveTo>
                  <a:pt x="60" y="1"/>
                </a:moveTo>
                <a:lnTo>
                  <a:pt x="0" y="1"/>
                </a:lnTo>
                <a:lnTo>
                  <a:pt x="0" y="0"/>
                </a:lnTo>
                <a:lnTo>
                  <a:pt x="60" y="0"/>
                </a:lnTo>
                <a:lnTo>
                  <a:pt x="60" y="1"/>
                </a:lnTo>
                <a:lnTo>
                  <a:pt x="60" y="1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7" name="Freeform 1029">
            <a:extLst>
              <a:ext uri="{FF2B5EF4-FFF2-40B4-BE49-F238E27FC236}">
                <a16:creationId xmlns:a16="http://schemas.microsoft.com/office/drawing/2014/main" id="{21C2BAFE-2636-4626-BD7F-4E649E69BBB9}"/>
              </a:ext>
            </a:extLst>
          </p:cNvPr>
          <p:cNvSpPr>
            <a:spLocks/>
          </p:cNvSpPr>
          <p:nvPr/>
        </p:nvSpPr>
        <p:spPr bwMode="auto">
          <a:xfrm>
            <a:off x="10225992" y="6079973"/>
            <a:ext cx="77638" cy="25045"/>
          </a:xfrm>
          <a:custGeom>
            <a:avLst/>
            <a:gdLst>
              <a:gd name="T0" fmla="*/ 125 w 149"/>
              <a:gd name="T1" fmla="*/ 48 h 48"/>
              <a:gd name="T2" fmla="*/ 0 w 149"/>
              <a:gd name="T3" fmla="*/ 48 h 48"/>
              <a:gd name="T4" fmla="*/ 0 w 149"/>
              <a:gd name="T5" fmla="*/ 44 h 48"/>
              <a:gd name="T6" fmla="*/ 125 w 149"/>
              <a:gd name="T7" fmla="*/ 44 h 48"/>
              <a:gd name="T8" fmla="*/ 145 w 149"/>
              <a:gd name="T9" fmla="*/ 24 h 48"/>
              <a:gd name="T10" fmla="*/ 125 w 149"/>
              <a:gd name="T11" fmla="*/ 4 h 48"/>
              <a:gd name="T12" fmla="*/ 0 w 149"/>
              <a:gd name="T13" fmla="*/ 4 h 48"/>
              <a:gd name="T14" fmla="*/ 0 w 149"/>
              <a:gd name="T15" fmla="*/ 0 h 48"/>
              <a:gd name="T16" fmla="*/ 125 w 149"/>
              <a:gd name="T17" fmla="*/ 0 h 48"/>
              <a:gd name="T18" fmla="*/ 149 w 149"/>
              <a:gd name="T19" fmla="*/ 24 h 48"/>
              <a:gd name="T20" fmla="*/ 125 w 149"/>
              <a:gd name="T21" fmla="*/ 4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9" h="48">
                <a:moveTo>
                  <a:pt x="125" y="48"/>
                </a:moveTo>
                <a:cubicBezTo>
                  <a:pt x="0" y="48"/>
                  <a:pt x="0" y="48"/>
                  <a:pt x="0" y="48"/>
                </a:cubicBezTo>
                <a:cubicBezTo>
                  <a:pt x="0" y="44"/>
                  <a:pt x="0" y="44"/>
                  <a:pt x="0" y="44"/>
                </a:cubicBezTo>
                <a:cubicBezTo>
                  <a:pt x="125" y="44"/>
                  <a:pt x="125" y="44"/>
                  <a:pt x="125" y="44"/>
                </a:cubicBezTo>
                <a:cubicBezTo>
                  <a:pt x="136" y="44"/>
                  <a:pt x="145" y="35"/>
                  <a:pt x="145" y="24"/>
                </a:cubicBezTo>
                <a:cubicBezTo>
                  <a:pt x="145" y="13"/>
                  <a:pt x="136" y="4"/>
                  <a:pt x="125" y="4"/>
                </a:cubicBezTo>
                <a:cubicBezTo>
                  <a:pt x="0" y="4"/>
                  <a:pt x="0" y="4"/>
                  <a:pt x="0" y="4"/>
                </a:cubicBezTo>
                <a:cubicBezTo>
                  <a:pt x="0" y="0"/>
                  <a:pt x="0" y="0"/>
                  <a:pt x="0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139" y="0"/>
                  <a:pt x="149" y="11"/>
                  <a:pt x="149" y="24"/>
                </a:cubicBezTo>
                <a:cubicBezTo>
                  <a:pt x="149" y="37"/>
                  <a:pt x="139" y="48"/>
                  <a:pt x="125" y="48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8" name="Rectangle 1030">
            <a:extLst>
              <a:ext uri="{FF2B5EF4-FFF2-40B4-BE49-F238E27FC236}">
                <a16:creationId xmlns:a16="http://schemas.microsoft.com/office/drawing/2014/main" id="{E983980E-ACA3-43EF-9817-6E2ED60377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34937" y="6007343"/>
            <a:ext cx="91413" cy="28802"/>
          </a:xfrm>
          <a:prstGeom prst="rect">
            <a:avLst/>
          </a:pr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9" name="Freeform 1031">
            <a:extLst>
              <a:ext uri="{FF2B5EF4-FFF2-40B4-BE49-F238E27FC236}">
                <a16:creationId xmlns:a16="http://schemas.microsoft.com/office/drawing/2014/main" id="{A8B045D6-9FA0-48D2-A860-C24DDF971C82}"/>
              </a:ext>
            </a:extLst>
          </p:cNvPr>
          <p:cNvSpPr>
            <a:spLocks/>
          </p:cNvSpPr>
          <p:nvPr/>
        </p:nvSpPr>
        <p:spPr bwMode="auto">
          <a:xfrm>
            <a:off x="10351216" y="6007343"/>
            <a:ext cx="57603" cy="11270"/>
          </a:xfrm>
          <a:custGeom>
            <a:avLst/>
            <a:gdLst>
              <a:gd name="T0" fmla="*/ 23 w 46"/>
              <a:gd name="T1" fmla="*/ 0 h 9"/>
              <a:gd name="T2" fmla="*/ 46 w 46"/>
              <a:gd name="T3" fmla="*/ 0 h 9"/>
              <a:gd name="T4" fmla="*/ 41 w 46"/>
              <a:gd name="T5" fmla="*/ 9 h 9"/>
              <a:gd name="T6" fmla="*/ 23 w 46"/>
              <a:gd name="T7" fmla="*/ 9 h 9"/>
              <a:gd name="T8" fmla="*/ 5 w 46"/>
              <a:gd name="T9" fmla="*/ 9 h 9"/>
              <a:gd name="T10" fmla="*/ 0 w 46"/>
              <a:gd name="T11" fmla="*/ 0 h 9"/>
              <a:gd name="T12" fmla="*/ 23 w 46"/>
              <a:gd name="T13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6" h="9">
                <a:moveTo>
                  <a:pt x="23" y="0"/>
                </a:moveTo>
                <a:lnTo>
                  <a:pt x="46" y="0"/>
                </a:lnTo>
                <a:lnTo>
                  <a:pt x="41" y="9"/>
                </a:lnTo>
                <a:lnTo>
                  <a:pt x="23" y="9"/>
                </a:lnTo>
                <a:lnTo>
                  <a:pt x="5" y="9"/>
                </a:lnTo>
                <a:lnTo>
                  <a:pt x="0" y="0"/>
                </a:lnTo>
                <a:lnTo>
                  <a:pt x="23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0" name="Rectangle 1032">
            <a:extLst>
              <a:ext uri="{FF2B5EF4-FFF2-40B4-BE49-F238E27FC236}">
                <a16:creationId xmlns:a16="http://schemas.microsoft.com/office/drawing/2014/main" id="{FBA3D231-7BED-4443-8E33-548FA9F586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61234" y="6023622"/>
            <a:ext cx="37567" cy="500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1" name="Freeform 1033">
            <a:extLst>
              <a:ext uri="{FF2B5EF4-FFF2-40B4-BE49-F238E27FC236}">
                <a16:creationId xmlns:a16="http://schemas.microsoft.com/office/drawing/2014/main" id="{8EEBBBAF-F676-4933-851E-5898453FF98E}"/>
              </a:ext>
            </a:extLst>
          </p:cNvPr>
          <p:cNvSpPr>
            <a:spLocks/>
          </p:cNvSpPr>
          <p:nvPr/>
        </p:nvSpPr>
        <p:spPr bwMode="auto">
          <a:xfrm>
            <a:off x="10227245" y="5954749"/>
            <a:ext cx="73882" cy="71378"/>
          </a:xfrm>
          <a:custGeom>
            <a:avLst/>
            <a:gdLst>
              <a:gd name="T0" fmla="*/ 57 w 59"/>
              <a:gd name="T1" fmla="*/ 57 h 57"/>
              <a:gd name="T2" fmla="*/ 55 w 59"/>
              <a:gd name="T3" fmla="*/ 34 h 57"/>
              <a:gd name="T4" fmla="*/ 59 w 59"/>
              <a:gd name="T5" fmla="*/ 34 h 57"/>
              <a:gd name="T6" fmla="*/ 57 w 59"/>
              <a:gd name="T7" fmla="*/ 20 h 57"/>
              <a:gd name="T8" fmla="*/ 54 w 59"/>
              <a:gd name="T9" fmla="*/ 20 h 57"/>
              <a:gd name="T10" fmla="*/ 54 w 59"/>
              <a:gd name="T11" fmla="*/ 11 h 57"/>
              <a:gd name="T12" fmla="*/ 59 w 59"/>
              <a:gd name="T13" fmla="*/ 11 h 57"/>
              <a:gd name="T14" fmla="*/ 59 w 59"/>
              <a:gd name="T15" fmla="*/ 0 h 57"/>
              <a:gd name="T16" fmla="*/ 5 w 59"/>
              <a:gd name="T17" fmla="*/ 0 h 57"/>
              <a:gd name="T18" fmla="*/ 5 w 59"/>
              <a:gd name="T19" fmla="*/ 11 h 57"/>
              <a:gd name="T20" fmla="*/ 0 w 59"/>
              <a:gd name="T21" fmla="*/ 11 h 57"/>
              <a:gd name="T22" fmla="*/ 0 w 59"/>
              <a:gd name="T23" fmla="*/ 20 h 57"/>
              <a:gd name="T24" fmla="*/ 5 w 59"/>
              <a:gd name="T25" fmla="*/ 20 h 57"/>
              <a:gd name="T26" fmla="*/ 6 w 59"/>
              <a:gd name="T27" fmla="*/ 32 h 57"/>
              <a:gd name="T28" fmla="*/ 4 w 59"/>
              <a:gd name="T29" fmla="*/ 33 h 57"/>
              <a:gd name="T30" fmla="*/ 3 w 59"/>
              <a:gd name="T31" fmla="*/ 57 h 57"/>
              <a:gd name="T32" fmla="*/ 57 w 59"/>
              <a:gd name="T33" fmla="*/ 57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9" h="57">
                <a:moveTo>
                  <a:pt x="57" y="57"/>
                </a:moveTo>
                <a:lnTo>
                  <a:pt x="55" y="34"/>
                </a:lnTo>
                <a:lnTo>
                  <a:pt x="59" y="34"/>
                </a:lnTo>
                <a:lnTo>
                  <a:pt x="57" y="20"/>
                </a:lnTo>
                <a:lnTo>
                  <a:pt x="54" y="20"/>
                </a:lnTo>
                <a:lnTo>
                  <a:pt x="54" y="11"/>
                </a:lnTo>
                <a:lnTo>
                  <a:pt x="59" y="11"/>
                </a:lnTo>
                <a:lnTo>
                  <a:pt x="59" y="0"/>
                </a:lnTo>
                <a:lnTo>
                  <a:pt x="5" y="0"/>
                </a:lnTo>
                <a:lnTo>
                  <a:pt x="5" y="11"/>
                </a:lnTo>
                <a:lnTo>
                  <a:pt x="0" y="11"/>
                </a:lnTo>
                <a:lnTo>
                  <a:pt x="0" y="20"/>
                </a:lnTo>
                <a:lnTo>
                  <a:pt x="5" y="20"/>
                </a:lnTo>
                <a:lnTo>
                  <a:pt x="6" y="32"/>
                </a:lnTo>
                <a:lnTo>
                  <a:pt x="4" y="33"/>
                </a:lnTo>
                <a:lnTo>
                  <a:pt x="3" y="57"/>
                </a:lnTo>
                <a:lnTo>
                  <a:pt x="57" y="5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Rectangle 1035">
            <a:extLst>
              <a:ext uri="{FF2B5EF4-FFF2-40B4-BE49-F238E27FC236}">
                <a16:creationId xmlns:a16="http://schemas.microsoft.com/office/drawing/2014/main" id="{09FE9392-8FD7-48DC-9798-C3BE0BDC32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19732" y="6007343"/>
            <a:ext cx="91413" cy="28802"/>
          </a:xfrm>
          <a:prstGeom prst="rect">
            <a:avLst/>
          </a:pr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3" name="Freeform 1036">
            <a:extLst>
              <a:ext uri="{FF2B5EF4-FFF2-40B4-BE49-F238E27FC236}">
                <a16:creationId xmlns:a16="http://schemas.microsoft.com/office/drawing/2014/main" id="{02A4151A-70EE-4A95-9FC7-9BEEE7F5D30B}"/>
              </a:ext>
            </a:extLst>
          </p:cNvPr>
          <p:cNvSpPr>
            <a:spLocks/>
          </p:cNvSpPr>
          <p:nvPr/>
        </p:nvSpPr>
        <p:spPr bwMode="auto">
          <a:xfrm>
            <a:off x="10234758" y="6007343"/>
            <a:ext cx="60107" cy="11270"/>
          </a:xfrm>
          <a:custGeom>
            <a:avLst/>
            <a:gdLst>
              <a:gd name="T0" fmla="*/ 24 w 48"/>
              <a:gd name="T1" fmla="*/ 0 h 9"/>
              <a:gd name="T2" fmla="*/ 48 w 48"/>
              <a:gd name="T3" fmla="*/ 0 h 9"/>
              <a:gd name="T4" fmla="*/ 42 w 48"/>
              <a:gd name="T5" fmla="*/ 9 h 9"/>
              <a:gd name="T6" fmla="*/ 24 w 48"/>
              <a:gd name="T7" fmla="*/ 9 h 9"/>
              <a:gd name="T8" fmla="*/ 6 w 48"/>
              <a:gd name="T9" fmla="*/ 9 h 9"/>
              <a:gd name="T10" fmla="*/ 0 w 48"/>
              <a:gd name="T11" fmla="*/ 0 h 9"/>
              <a:gd name="T12" fmla="*/ 24 w 48"/>
              <a:gd name="T13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" h="9">
                <a:moveTo>
                  <a:pt x="24" y="0"/>
                </a:moveTo>
                <a:lnTo>
                  <a:pt x="48" y="0"/>
                </a:lnTo>
                <a:lnTo>
                  <a:pt x="42" y="9"/>
                </a:lnTo>
                <a:lnTo>
                  <a:pt x="24" y="9"/>
                </a:lnTo>
                <a:lnTo>
                  <a:pt x="6" y="9"/>
                </a:lnTo>
                <a:lnTo>
                  <a:pt x="0" y="0"/>
                </a:lnTo>
                <a:lnTo>
                  <a:pt x="24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Rectangle 1037">
            <a:extLst>
              <a:ext uri="{FF2B5EF4-FFF2-40B4-BE49-F238E27FC236}">
                <a16:creationId xmlns:a16="http://schemas.microsoft.com/office/drawing/2014/main" id="{A0478A78-65A9-4B08-B603-13548C6221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46028" y="6023622"/>
            <a:ext cx="37567" cy="500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Freeform 1038">
            <a:extLst>
              <a:ext uri="{FF2B5EF4-FFF2-40B4-BE49-F238E27FC236}">
                <a16:creationId xmlns:a16="http://schemas.microsoft.com/office/drawing/2014/main" id="{7C77A31A-C146-4206-B869-95406D4B100A}"/>
              </a:ext>
            </a:extLst>
          </p:cNvPr>
          <p:cNvSpPr>
            <a:spLocks/>
          </p:cNvSpPr>
          <p:nvPr/>
        </p:nvSpPr>
        <p:spPr bwMode="auto">
          <a:xfrm>
            <a:off x="10227245" y="5968524"/>
            <a:ext cx="67621" cy="2504"/>
          </a:xfrm>
          <a:custGeom>
            <a:avLst/>
            <a:gdLst>
              <a:gd name="T0" fmla="*/ 54 w 54"/>
              <a:gd name="T1" fmla="*/ 0 h 2"/>
              <a:gd name="T2" fmla="*/ 5 w 54"/>
              <a:gd name="T3" fmla="*/ 0 h 2"/>
              <a:gd name="T4" fmla="*/ 0 w 54"/>
              <a:gd name="T5" fmla="*/ 0 h 2"/>
              <a:gd name="T6" fmla="*/ 0 w 54"/>
              <a:gd name="T7" fmla="*/ 2 h 2"/>
              <a:gd name="T8" fmla="*/ 54 w 54"/>
              <a:gd name="T9" fmla="*/ 2 h 2"/>
              <a:gd name="T10" fmla="*/ 54 w 54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" h="2">
                <a:moveTo>
                  <a:pt x="54" y="0"/>
                </a:moveTo>
                <a:lnTo>
                  <a:pt x="5" y="0"/>
                </a:lnTo>
                <a:lnTo>
                  <a:pt x="0" y="0"/>
                </a:lnTo>
                <a:lnTo>
                  <a:pt x="0" y="2"/>
                </a:lnTo>
                <a:lnTo>
                  <a:pt x="54" y="2"/>
                </a:lnTo>
                <a:lnTo>
                  <a:pt x="54" y="0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Freeform 1039">
            <a:extLst>
              <a:ext uri="{FF2B5EF4-FFF2-40B4-BE49-F238E27FC236}">
                <a16:creationId xmlns:a16="http://schemas.microsoft.com/office/drawing/2014/main" id="{1D14F574-F8B9-4099-B946-B508B1A49996}"/>
              </a:ext>
            </a:extLst>
          </p:cNvPr>
          <p:cNvSpPr>
            <a:spLocks/>
          </p:cNvSpPr>
          <p:nvPr/>
        </p:nvSpPr>
        <p:spPr bwMode="auto">
          <a:xfrm>
            <a:off x="10233506" y="5979794"/>
            <a:ext cx="65116" cy="2504"/>
          </a:xfrm>
          <a:custGeom>
            <a:avLst/>
            <a:gdLst>
              <a:gd name="T0" fmla="*/ 0 w 52"/>
              <a:gd name="T1" fmla="*/ 0 h 2"/>
              <a:gd name="T2" fmla="*/ 49 w 52"/>
              <a:gd name="T3" fmla="*/ 0 h 2"/>
              <a:gd name="T4" fmla="*/ 52 w 52"/>
              <a:gd name="T5" fmla="*/ 0 h 2"/>
              <a:gd name="T6" fmla="*/ 52 w 52"/>
              <a:gd name="T7" fmla="*/ 2 h 2"/>
              <a:gd name="T8" fmla="*/ 0 w 52"/>
              <a:gd name="T9" fmla="*/ 2 h 2"/>
              <a:gd name="T10" fmla="*/ 0 w 52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2" h="2">
                <a:moveTo>
                  <a:pt x="0" y="0"/>
                </a:moveTo>
                <a:lnTo>
                  <a:pt x="49" y="0"/>
                </a:lnTo>
                <a:lnTo>
                  <a:pt x="52" y="0"/>
                </a:lnTo>
                <a:lnTo>
                  <a:pt x="52" y="2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Freeform 1040">
            <a:extLst>
              <a:ext uri="{FF2B5EF4-FFF2-40B4-BE49-F238E27FC236}">
                <a16:creationId xmlns:a16="http://schemas.microsoft.com/office/drawing/2014/main" id="{C0F7646A-67F6-4ACB-9698-B93FC9C89C65}"/>
              </a:ext>
            </a:extLst>
          </p:cNvPr>
          <p:cNvSpPr>
            <a:spLocks/>
          </p:cNvSpPr>
          <p:nvPr/>
        </p:nvSpPr>
        <p:spPr bwMode="auto">
          <a:xfrm>
            <a:off x="10232254" y="5994821"/>
            <a:ext cx="63864" cy="6262"/>
          </a:xfrm>
          <a:custGeom>
            <a:avLst/>
            <a:gdLst>
              <a:gd name="T0" fmla="*/ 51 w 51"/>
              <a:gd name="T1" fmla="*/ 2 h 5"/>
              <a:gd name="T2" fmla="*/ 2 w 51"/>
              <a:gd name="T3" fmla="*/ 0 h 5"/>
              <a:gd name="T4" fmla="*/ 0 w 51"/>
              <a:gd name="T5" fmla="*/ 1 h 5"/>
              <a:gd name="T6" fmla="*/ 0 w 51"/>
              <a:gd name="T7" fmla="*/ 3 h 5"/>
              <a:gd name="T8" fmla="*/ 51 w 51"/>
              <a:gd name="T9" fmla="*/ 5 h 5"/>
              <a:gd name="T10" fmla="*/ 51 w 51"/>
              <a:gd name="T11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1" h="5">
                <a:moveTo>
                  <a:pt x="51" y="2"/>
                </a:moveTo>
                <a:lnTo>
                  <a:pt x="2" y="0"/>
                </a:lnTo>
                <a:lnTo>
                  <a:pt x="0" y="1"/>
                </a:lnTo>
                <a:lnTo>
                  <a:pt x="0" y="3"/>
                </a:lnTo>
                <a:lnTo>
                  <a:pt x="51" y="5"/>
                </a:lnTo>
                <a:lnTo>
                  <a:pt x="51" y="2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Freeform 1041">
            <a:extLst>
              <a:ext uri="{FF2B5EF4-FFF2-40B4-BE49-F238E27FC236}">
                <a16:creationId xmlns:a16="http://schemas.microsoft.com/office/drawing/2014/main" id="{E25A6BBB-7B14-4B9B-A0A8-C02463DE4659}"/>
              </a:ext>
            </a:extLst>
          </p:cNvPr>
          <p:cNvSpPr>
            <a:spLocks/>
          </p:cNvSpPr>
          <p:nvPr/>
        </p:nvSpPr>
        <p:spPr bwMode="auto">
          <a:xfrm>
            <a:off x="10364991" y="6182656"/>
            <a:ext cx="62612" cy="10018"/>
          </a:xfrm>
          <a:custGeom>
            <a:avLst/>
            <a:gdLst>
              <a:gd name="T0" fmla="*/ 0 w 50"/>
              <a:gd name="T1" fmla="*/ 0 h 8"/>
              <a:gd name="T2" fmla="*/ 49 w 50"/>
              <a:gd name="T3" fmla="*/ 0 h 8"/>
              <a:gd name="T4" fmla="*/ 50 w 50"/>
              <a:gd name="T5" fmla="*/ 8 h 8"/>
              <a:gd name="T6" fmla="*/ 1 w 50"/>
              <a:gd name="T7" fmla="*/ 8 h 8"/>
              <a:gd name="T8" fmla="*/ 0 w 50"/>
              <a:gd name="T9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" h="8">
                <a:moveTo>
                  <a:pt x="0" y="0"/>
                </a:moveTo>
                <a:lnTo>
                  <a:pt x="49" y="0"/>
                </a:lnTo>
                <a:lnTo>
                  <a:pt x="50" y="8"/>
                </a:lnTo>
                <a:lnTo>
                  <a:pt x="1" y="8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Freeform 1042">
            <a:extLst>
              <a:ext uri="{FF2B5EF4-FFF2-40B4-BE49-F238E27FC236}">
                <a16:creationId xmlns:a16="http://schemas.microsoft.com/office/drawing/2014/main" id="{F48092AB-E195-4273-84BF-E2B2F85AE206}"/>
              </a:ext>
            </a:extLst>
          </p:cNvPr>
          <p:cNvSpPr>
            <a:spLocks/>
          </p:cNvSpPr>
          <p:nvPr/>
        </p:nvSpPr>
        <p:spPr bwMode="auto">
          <a:xfrm>
            <a:off x="10367495" y="6171385"/>
            <a:ext cx="62612" cy="11270"/>
          </a:xfrm>
          <a:custGeom>
            <a:avLst/>
            <a:gdLst>
              <a:gd name="T0" fmla="*/ 1 w 50"/>
              <a:gd name="T1" fmla="*/ 0 h 9"/>
              <a:gd name="T2" fmla="*/ 50 w 50"/>
              <a:gd name="T3" fmla="*/ 0 h 9"/>
              <a:gd name="T4" fmla="*/ 49 w 50"/>
              <a:gd name="T5" fmla="*/ 9 h 9"/>
              <a:gd name="T6" fmla="*/ 0 w 50"/>
              <a:gd name="T7" fmla="*/ 9 h 9"/>
              <a:gd name="T8" fmla="*/ 1 w 50"/>
              <a:gd name="T9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" h="9">
                <a:moveTo>
                  <a:pt x="1" y="0"/>
                </a:moveTo>
                <a:lnTo>
                  <a:pt x="50" y="0"/>
                </a:lnTo>
                <a:lnTo>
                  <a:pt x="49" y="9"/>
                </a:lnTo>
                <a:lnTo>
                  <a:pt x="0" y="9"/>
                </a:lnTo>
                <a:lnTo>
                  <a:pt x="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Freeform 1043">
            <a:extLst>
              <a:ext uri="{FF2B5EF4-FFF2-40B4-BE49-F238E27FC236}">
                <a16:creationId xmlns:a16="http://schemas.microsoft.com/office/drawing/2014/main" id="{6408CCE7-4F26-4414-AD2B-0F8BC7783E2B}"/>
              </a:ext>
            </a:extLst>
          </p:cNvPr>
          <p:cNvSpPr>
            <a:spLocks/>
          </p:cNvSpPr>
          <p:nvPr/>
        </p:nvSpPr>
        <p:spPr bwMode="auto">
          <a:xfrm>
            <a:off x="10363738" y="6155107"/>
            <a:ext cx="63864" cy="16279"/>
          </a:xfrm>
          <a:custGeom>
            <a:avLst/>
            <a:gdLst>
              <a:gd name="T0" fmla="*/ 0 w 51"/>
              <a:gd name="T1" fmla="*/ 0 h 13"/>
              <a:gd name="T2" fmla="*/ 49 w 51"/>
              <a:gd name="T3" fmla="*/ 0 h 13"/>
              <a:gd name="T4" fmla="*/ 51 w 51"/>
              <a:gd name="T5" fmla="*/ 13 h 13"/>
              <a:gd name="T6" fmla="*/ 1 w 51"/>
              <a:gd name="T7" fmla="*/ 13 h 13"/>
              <a:gd name="T8" fmla="*/ 0 w 51"/>
              <a:gd name="T9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" h="13">
                <a:moveTo>
                  <a:pt x="0" y="0"/>
                </a:moveTo>
                <a:lnTo>
                  <a:pt x="49" y="0"/>
                </a:lnTo>
                <a:lnTo>
                  <a:pt x="51" y="13"/>
                </a:lnTo>
                <a:lnTo>
                  <a:pt x="1" y="1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Rectangle 1044">
            <a:extLst>
              <a:ext uri="{FF2B5EF4-FFF2-40B4-BE49-F238E27FC236}">
                <a16:creationId xmlns:a16="http://schemas.microsoft.com/office/drawing/2014/main" id="{ED2751B7-7614-497A-9607-1E822096D0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67495" y="6140080"/>
            <a:ext cx="61360" cy="15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Freeform 1045">
            <a:extLst>
              <a:ext uri="{FF2B5EF4-FFF2-40B4-BE49-F238E27FC236}">
                <a16:creationId xmlns:a16="http://schemas.microsoft.com/office/drawing/2014/main" id="{35043C54-6667-45F7-B15D-C7F18EE5D81A}"/>
              </a:ext>
            </a:extLst>
          </p:cNvPr>
          <p:cNvSpPr>
            <a:spLocks/>
          </p:cNvSpPr>
          <p:nvPr/>
        </p:nvSpPr>
        <p:spPr bwMode="auto">
          <a:xfrm>
            <a:off x="10364991" y="6182656"/>
            <a:ext cx="61360" cy="1253"/>
          </a:xfrm>
          <a:custGeom>
            <a:avLst/>
            <a:gdLst>
              <a:gd name="T0" fmla="*/ 2 w 49"/>
              <a:gd name="T1" fmla="*/ 0 h 1"/>
              <a:gd name="T2" fmla="*/ 49 w 49"/>
              <a:gd name="T3" fmla="*/ 0 h 1"/>
              <a:gd name="T4" fmla="*/ 49 w 49"/>
              <a:gd name="T5" fmla="*/ 1 h 1"/>
              <a:gd name="T6" fmla="*/ 0 w 49"/>
              <a:gd name="T7" fmla="*/ 1 h 1"/>
              <a:gd name="T8" fmla="*/ 0 w 49"/>
              <a:gd name="T9" fmla="*/ 0 h 1"/>
              <a:gd name="T10" fmla="*/ 2 w 49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9" h="1">
                <a:moveTo>
                  <a:pt x="2" y="0"/>
                </a:moveTo>
                <a:lnTo>
                  <a:pt x="49" y="0"/>
                </a:lnTo>
                <a:lnTo>
                  <a:pt x="49" y="1"/>
                </a:lnTo>
                <a:lnTo>
                  <a:pt x="0" y="1"/>
                </a:lnTo>
                <a:lnTo>
                  <a:pt x="0" y="0"/>
                </a:lnTo>
                <a:lnTo>
                  <a:pt x="2" y="0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Freeform 1046">
            <a:extLst>
              <a:ext uri="{FF2B5EF4-FFF2-40B4-BE49-F238E27FC236}">
                <a16:creationId xmlns:a16="http://schemas.microsoft.com/office/drawing/2014/main" id="{9207B8B4-160B-463C-A1AF-2F07FD214F7C}"/>
              </a:ext>
            </a:extLst>
          </p:cNvPr>
          <p:cNvSpPr>
            <a:spLocks/>
          </p:cNvSpPr>
          <p:nvPr/>
        </p:nvSpPr>
        <p:spPr bwMode="auto">
          <a:xfrm>
            <a:off x="10368747" y="6171385"/>
            <a:ext cx="61360" cy="2504"/>
          </a:xfrm>
          <a:custGeom>
            <a:avLst/>
            <a:gdLst>
              <a:gd name="T0" fmla="*/ 0 w 49"/>
              <a:gd name="T1" fmla="*/ 0 h 2"/>
              <a:gd name="T2" fmla="*/ 47 w 49"/>
              <a:gd name="T3" fmla="*/ 0 h 2"/>
              <a:gd name="T4" fmla="*/ 49 w 49"/>
              <a:gd name="T5" fmla="*/ 0 h 2"/>
              <a:gd name="T6" fmla="*/ 49 w 49"/>
              <a:gd name="T7" fmla="*/ 2 h 2"/>
              <a:gd name="T8" fmla="*/ 0 w 49"/>
              <a:gd name="T9" fmla="*/ 1 h 2"/>
              <a:gd name="T10" fmla="*/ 0 w 49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9" h="2">
                <a:moveTo>
                  <a:pt x="0" y="0"/>
                </a:moveTo>
                <a:lnTo>
                  <a:pt x="47" y="0"/>
                </a:lnTo>
                <a:lnTo>
                  <a:pt x="49" y="0"/>
                </a:lnTo>
                <a:lnTo>
                  <a:pt x="49" y="2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Rectangle 1047">
            <a:extLst>
              <a:ext uri="{FF2B5EF4-FFF2-40B4-BE49-F238E27FC236}">
                <a16:creationId xmlns:a16="http://schemas.microsoft.com/office/drawing/2014/main" id="{090318D8-0387-4EB8-AA4C-DA7B08237F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63738" y="6155107"/>
            <a:ext cx="61360" cy="2504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Freeform 1048">
            <a:extLst>
              <a:ext uri="{FF2B5EF4-FFF2-40B4-BE49-F238E27FC236}">
                <a16:creationId xmlns:a16="http://schemas.microsoft.com/office/drawing/2014/main" id="{A3258052-CFC3-49B8-A5F8-B6A04A0479F1}"/>
              </a:ext>
            </a:extLst>
          </p:cNvPr>
          <p:cNvSpPr>
            <a:spLocks/>
          </p:cNvSpPr>
          <p:nvPr/>
        </p:nvSpPr>
        <p:spPr bwMode="auto">
          <a:xfrm>
            <a:off x="10203452" y="6183908"/>
            <a:ext cx="61360" cy="8766"/>
          </a:xfrm>
          <a:custGeom>
            <a:avLst/>
            <a:gdLst>
              <a:gd name="T0" fmla="*/ 0 w 49"/>
              <a:gd name="T1" fmla="*/ 0 h 7"/>
              <a:gd name="T2" fmla="*/ 49 w 49"/>
              <a:gd name="T3" fmla="*/ 0 h 7"/>
              <a:gd name="T4" fmla="*/ 49 w 49"/>
              <a:gd name="T5" fmla="*/ 7 h 7"/>
              <a:gd name="T6" fmla="*/ 1 w 49"/>
              <a:gd name="T7" fmla="*/ 7 h 7"/>
              <a:gd name="T8" fmla="*/ 0 w 49"/>
              <a:gd name="T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" h="7">
                <a:moveTo>
                  <a:pt x="0" y="0"/>
                </a:moveTo>
                <a:lnTo>
                  <a:pt x="49" y="0"/>
                </a:lnTo>
                <a:lnTo>
                  <a:pt x="49" y="7"/>
                </a:lnTo>
                <a:lnTo>
                  <a:pt x="1" y="7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Freeform 1049">
            <a:extLst>
              <a:ext uri="{FF2B5EF4-FFF2-40B4-BE49-F238E27FC236}">
                <a16:creationId xmlns:a16="http://schemas.microsoft.com/office/drawing/2014/main" id="{2C26AE0E-80FA-42D5-A77A-124286B85F56}"/>
              </a:ext>
            </a:extLst>
          </p:cNvPr>
          <p:cNvSpPr>
            <a:spLocks/>
          </p:cNvSpPr>
          <p:nvPr/>
        </p:nvSpPr>
        <p:spPr bwMode="auto">
          <a:xfrm>
            <a:off x="10205957" y="6171385"/>
            <a:ext cx="62612" cy="12522"/>
          </a:xfrm>
          <a:custGeom>
            <a:avLst/>
            <a:gdLst>
              <a:gd name="T0" fmla="*/ 1 w 50"/>
              <a:gd name="T1" fmla="*/ 1 h 10"/>
              <a:gd name="T2" fmla="*/ 50 w 50"/>
              <a:gd name="T3" fmla="*/ 0 h 10"/>
              <a:gd name="T4" fmla="*/ 49 w 50"/>
              <a:gd name="T5" fmla="*/ 10 h 10"/>
              <a:gd name="T6" fmla="*/ 0 w 50"/>
              <a:gd name="T7" fmla="*/ 10 h 10"/>
              <a:gd name="T8" fmla="*/ 1 w 50"/>
              <a:gd name="T9" fmla="*/ 1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" h="10">
                <a:moveTo>
                  <a:pt x="1" y="1"/>
                </a:moveTo>
                <a:lnTo>
                  <a:pt x="50" y="0"/>
                </a:lnTo>
                <a:lnTo>
                  <a:pt x="49" y="10"/>
                </a:lnTo>
                <a:lnTo>
                  <a:pt x="0" y="10"/>
                </a:lnTo>
                <a:lnTo>
                  <a:pt x="1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Freeform 1050">
            <a:extLst>
              <a:ext uri="{FF2B5EF4-FFF2-40B4-BE49-F238E27FC236}">
                <a16:creationId xmlns:a16="http://schemas.microsoft.com/office/drawing/2014/main" id="{42A1B727-178F-4015-B86D-C13BBF6ACC4B}"/>
              </a:ext>
            </a:extLst>
          </p:cNvPr>
          <p:cNvSpPr>
            <a:spLocks/>
          </p:cNvSpPr>
          <p:nvPr/>
        </p:nvSpPr>
        <p:spPr bwMode="auto">
          <a:xfrm>
            <a:off x="10202200" y="6160116"/>
            <a:ext cx="62612" cy="12522"/>
          </a:xfrm>
          <a:custGeom>
            <a:avLst/>
            <a:gdLst>
              <a:gd name="T0" fmla="*/ 0 w 50"/>
              <a:gd name="T1" fmla="*/ 0 h 10"/>
              <a:gd name="T2" fmla="*/ 49 w 50"/>
              <a:gd name="T3" fmla="*/ 0 h 10"/>
              <a:gd name="T4" fmla="*/ 50 w 50"/>
              <a:gd name="T5" fmla="*/ 9 h 10"/>
              <a:gd name="T6" fmla="*/ 1 w 50"/>
              <a:gd name="T7" fmla="*/ 10 h 10"/>
              <a:gd name="T8" fmla="*/ 0 w 50"/>
              <a:gd name="T9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" h="10">
                <a:moveTo>
                  <a:pt x="0" y="0"/>
                </a:moveTo>
                <a:lnTo>
                  <a:pt x="49" y="0"/>
                </a:lnTo>
                <a:lnTo>
                  <a:pt x="50" y="9"/>
                </a:lnTo>
                <a:lnTo>
                  <a:pt x="1" y="1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1051">
            <a:extLst>
              <a:ext uri="{FF2B5EF4-FFF2-40B4-BE49-F238E27FC236}">
                <a16:creationId xmlns:a16="http://schemas.microsoft.com/office/drawing/2014/main" id="{2FB41337-03CB-4616-9547-AE39C79969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05957" y="6148845"/>
            <a:ext cx="61360" cy="1127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Freeform 1052">
            <a:extLst>
              <a:ext uri="{FF2B5EF4-FFF2-40B4-BE49-F238E27FC236}">
                <a16:creationId xmlns:a16="http://schemas.microsoft.com/office/drawing/2014/main" id="{A2BE3970-C97A-4824-9948-D04DE8EE0C87}"/>
              </a:ext>
            </a:extLst>
          </p:cNvPr>
          <p:cNvSpPr>
            <a:spLocks/>
          </p:cNvSpPr>
          <p:nvPr/>
        </p:nvSpPr>
        <p:spPr bwMode="auto">
          <a:xfrm>
            <a:off x="10203452" y="6183908"/>
            <a:ext cx="61360" cy="2504"/>
          </a:xfrm>
          <a:custGeom>
            <a:avLst/>
            <a:gdLst>
              <a:gd name="T0" fmla="*/ 2 w 49"/>
              <a:gd name="T1" fmla="*/ 0 h 2"/>
              <a:gd name="T2" fmla="*/ 49 w 49"/>
              <a:gd name="T3" fmla="*/ 0 h 2"/>
              <a:gd name="T4" fmla="*/ 49 w 49"/>
              <a:gd name="T5" fmla="*/ 2 h 2"/>
              <a:gd name="T6" fmla="*/ 0 w 49"/>
              <a:gd name="T7" fmla="*/ 2 h 2"/>
              <a:gd name="T8" fmla="*/ 0 w 49"/>
              <a:gd name="T9" fmla="*/ 0 h 2"/>
              <a:gd name="T10" fmla="*/ 2 w 49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9" h="2">
                <a:moveTo>
                  <a:pt x="2" y="0"/>
                </a:moveTo>
                <a:lnTo>
                  <a:pt x="49" y="0"/>
                </a:lnTo>
                <a:lnTo>
                  <a:pt x="49" y="2"/>
                </a:lnTo>
                <a:lnTo>
                  <a:pt x="0" y="2"/>
                </a:lnTo>
                <a:lnTo>
                  <a:pt x="0" y="0"/>
                </a:lnTo>
                <a:lnTo>
                  <a:pt x="2" y="0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Freeform 1053">
            <a:extLst>
              <a:ext uri="{FF2B5EF4-FFF2-40B4-BE49-F238E27FC236}">
                <a16:creationId xmlns:a16="http://schemas.microsoft.com/office/drawing/2014/main" id="{461B1C94-B877-4022-BB3B-72394FF938AC}"/>
              </a:ext>
            </a:extLst>
          </p:cNvPr>
          <p:cNvSpPr>
            <a:spLocks/>
          </p:cNvSpPr>
          <p:nvPr/>
        </p:nvSpPr>
        <p:spPr bwMode="auto">
          <a:xfrm>
            <a:off x="10205957" y="6171385"/>
            <a:ext cx="62612" cy="5009"/>
          </a:xfrm>
          <a:custGeom>
            <a:avLst/>
            <a:gdLst>
              <a:gd name="T0" fmla="*/ 1 w 50"/>
              <a:gd name="T1" fmla="*/ 1 h 4"/>
              <a:gd name="T2" fmla="*/ 47 w 50"/>
              <a:gd name="T3" fmla="*/ 0 h 4"/>
              <a:gd name="T4" fmla="*/ 50 w 50"/>
              <a:gd name="T5" fmla="*/ 0 h 4"/>
              <a:gd name="T6" fmla="*/ 50 w 50"/>
              <a:gd name="T7" fmla="*/ 2 h 4"/>
              <a:gd name="T8" fmla="*/ 0 w 50"/>
              <a:gd name="T9" fmla="*/ 4 h 4"/>
              <a:gd name="T10" fmla="*/ 1 w 50"/>
              <a:gd name="T11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0" h="4">
                <a:moveTo>
                  <a:pt x="1" y="1"/>
                </a:moveTo>
                <a:lnTo>
                  <a:pt x="47" y="0"/>
                </a:lnTo>
                <a:lnTo>
                  <a:pt x="50" y="0"/>
                </a:lnTo>
                <a:lnTo>
                  <a:pt x="50" y="2"/>
                </a:lnTo>
                <a:lnTo>
                  <a:pt x="0" y="4"/>
                </a:lnTo>
                <a:lnTo>
                  <a:pt x="1" y="1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Freeform 1054">
            <a:extLst>
              <a:ext uri="{FF2B5EF4-FFF2-40B4-BE49-F238E27FC236}">
                <a16:creationId xmlns:a16="http://schemas.microsoft.com/office/drawing/2014/main" id="{2692593A-2E74-4C0C-A098-8F4FE6305AF3}"/>
              </a:ext>
            </a:extLst>
          </p:cNvPr>
          <p:cNvSpPr>
            <a:spLocks/>
          </p:cNvSpPr>
          <p:nvPr/>
        </p:nvSpPr>
        <p:spPr bwMode="auto">
          <a:xfrm>
            <a:off x="10202200" y="6160116"/>
            <a:ext cx="62612" cy="2504"/>
          </a:xfrm>
          <a:custGeom>
            <a:avLst/>
            <a:gdLst>
              <a:gd name="T0" fmla="*/ 0 w 50"/>
              <a:gd name="T1" fmla="*/ 0 h 2"/>
              <a:gd name="T2" fmla="*/ 49 w 50"/>
              <a:gd name="T3" fmla="*/ 0 h 2"/>
              <a:gd name="T4" fmla="*/ 50 w 50"/>
              <a:gd name="T5" fmla="*/ 2 h 2"/>
              <a:gd name="T6" fmla="*/ 0 w 50"/>
              <a:gd name="T7" fmla="*/ 2 h 2"/>
              <a:gd name="T8" fmla="*/ 0 w 50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" h="2">
                <a:moveTo>
                  <a:pt x="0" y="0"/>
                </a:moveTo>
                <a:lnTo>
                  <a:pt x="49" y="0"/>
                </a:lnTo>
                <a:lnTo>
                  <a:pt x="50" y="2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Freeform 1055">
            <a:extLst>
              <a:ext uri="{FF2B5EF4-FFF2-40B4-BE49-F238E27FC236}">
                <a16:creationId xmlns:a16="http://schemas.microsoft.com/office/drawing/2014/main" id="{19CA1283-8A3B-444E-B53B-AFBF165ED46E}"/>
              </a:ext>
            </a:extLst>
          </p:cNvPr>
          <p:cNvSpPr>
            <a:spLocks/>
          </p:cNvSpPr>
          <p:nvPr/>
        </p:nvSpPr>
        <p:spPr bwMode="auto">
          <a:xfrm>
            <a:off x="10279839" y="6166376"/>
            <a:ext cx="62612" cy="11270"/>
          </a:xfrm>
          <a:custGeom>
            <a:avLst/>
            <a:gdLst>
              <a:gd name="T0" fmla="*/ 0 w 50"/>
              <a:gd name="T1" fmla="*/ 0 h 9"/>
              <a:gd name="T2" fmla="*/ 49 w 50"/>
              <a:gd name="T3" fmla="*/ 0 h 9"/>
              <a:gd name="T4" fmla="*/ 50 w 50"/>
              <a:gd name="T5" fmla="*/ 9 h 9"/>
              <a:gd name="T6" fmla="*/ 1 w 50"/>
              <a:gd name="T7" fmla="*/ 9 h 9"/>
              <a:gd name="T8" fmla="*/ 0 w 50"/>
              <a:gd name="T9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" h="9">
                <a:moveTo>
                  <a:pt x="0" y="0"/>
                </a:moveTo>
                <a:lnTo>
                  <a:pt x="49" y="0"/>
                </a:lnTo>
                <a:lnTo>
                  <a:pt x="50" y="9"/>
                </a:lnTo>
                <a:lnTo>
                  <a:pt x="1" y="9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3" name="Freeform 1056">
            <a:extLst>
              <a:ext uri="{FF2B5EF4-FFF2-40B4-BE49-F238E27FC236}">
                <a16:creationId xmlns:a16="http://schemas.microsoft.com/office/drawing/2014/main" id="{79431B8D-6EC2-45CB-BA34-2CBE8BD5EF19}"/>
              </a:ext>
            </a:extLst>
          </p:cNvPr>
          <p:cNvSpPr>
            <a:spLocks/>
          </p:cNvSpPr>
          <p:nvPr/>
        </p:nvSpPr>
        <p:spPr bwMode="auto">
          <a:xfrm>
            <a:off x="10282343" y="6155107"/>
            <a:ext cx="62612" cy="11270"/>
          </a:xfrm>
          <a:custGeom>
            <a:avLst/>
            <a:gdLst>
              <a:gd name="T0" fmla="*/ 1 w 50"/>
              <a:gd name="T1" fmla="*/ 0 h 9"/>
              <a:gd name="T2" fmla="*/ 50 w 50"/>
              <a:gd name="T3" fmla="*/ 0 h 9"/>
              <a:gd name="T4" fmla="*/ 49 w 50"/>
              <a:gd name="T5" fmla="*/ 9 h 9"/>
              <a:gd name="T6" fmla="*/ 0 w 50"/>
              <a:gd name="T7" fmla="*/ 9 h 9"/>
              <a:gd name="T8" fmla="*/ 1 w 50"/>
              <a:gd name="T9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" h="9">
                <a:moveTo>
                  <a:pt x="1" y="0"/>
                </a:moveTo>
                <a:lnTo>
                  <a:pt x="50" y="0"/>
                </a:lnTo>
                <a:lnTo>
                  <a:pt x="49" y="9"/>
                </a:lnTo>
                <a:lnTo>
                  <a:pt x="0" y="9"/>
                </a:lnTo>
                <a:lnTo>
                  <a:pt x="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Freeform 1057">
            <a:extLst>
              <a:ext uri="{FF2B5EF4-FFF2-40B4-BE49-F238E27FC236}">
                <a16:creationId xmlns:a16="http://schemas.microsoft.com/office/drawing/2014/main" id="{7FD02AEB-EA9C-4F1A-9D59-6E369178F970}"/>
              </a:ext>
            </a:extLst>
          </p:cNvPr>
          <p:cNvSpPr>
            <a:spLocks/>
          </p:cNvSpPr>
          <p:nvPr/>
        </p:nvSpPr>
        <p:spPr bwMode="auto">
          <a:xfrm>
            <a:off x="10277334" y="6177647"/>
            <a:ext cx="62612" cy="15027"/>
          </a:xfrm>
          <a:custGeom>
            <a:avLst/>
            <a:gdLst>
              <a:gd name="T0" fmla="*/ 0 w 50"/>
              <a:gd name="T1" fmla="*/ 0 h 12"/>
              <a:gd name="T2" fmla="*/ 49 w 50"/>
              <a:gd name="T3" fmla="*/ 0 h 12"/>
              <a:gd name="T4" fmla="*/ 50 w 50"/>
              <a:gd name="T5" fmla="*/ 12 h 12"/>
              <a:gd name="T6" fmla="*/ 1 w 50"/>
              <a:gd name="T7" fmla="*/ 12 h 12"/>
              <a:gd name="T8" fmla="*/ 0 w 50"/>
              <a:gd name="T9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" h="12">
                <a:moveTo>
                  <a:pt x="0" y="0"/>
                </a:moveTo>
                <a:lnTo>
                  <a:pt x="49" y="0"/>
                </a:lnTo>
                <a:lnTo>
                  <a:pt x="50" y="12"/>
                </a:lnTo>
                <a:lnTo>
                  <a:pt x="1" y="12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5" name="Rectangle 1058">
            <a:extLst>
              <a:ext uri="{FF2B5EF4-FFF2-40B4-BE49-F238E27FC236}">
                <a16:creationId xmlns:a16="http://schemas.microsoft.com/office/drawing/2014/main" id="{488133BF-8005-4B04-8EBD-3D9DB84D97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86100" y="6140080"/>
            <a:ext cx="61360" cy="15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Freeform 1059">
            <a:extLst>
              <a:ext uri="{FF2B5EF4-FFF2-40B4-BE49-F238E27FC236}">
                <a16:creationId xmlns:a16="http://schemas.microsoft.com/office/drawing/2014/main" id="{115EED5D-C978-4C06-9D89-97B8A612F591}"/>
              </a:ext>
            </a:extLst>
          </p:cNvPr>
          <p:cNvSpPr>
            <a:spLocks/>
          </p:cNvSpPr>
          <p:nvPr/>
        </p:nvSpPr>
        <p:spPr bwMode="auto">
          <a:xfrm>
            <a:off x="10279839" y="6166376"/>
            <a:ext cx="61360" cy="2504"/>
          </a:xfrm>
          <a:custGeom>
            <a:avLst/>
            <a:gdLst>
              <a:gd name="T0" fmla="*/ 2 w 49"/>
              <a:gd name="T1" fmla="*/ 0 h 2"/>
              <a:gd name="T2" fmla="*/ 49 w 49"/>
              <a:gd name="T3" fmla="*/ 0 h 2"/>
              <a:gd name="T4" fmla="*/ 49 w 49"/>
              <a:gd name="T5" fmla="*/ 2 h 2"/>
              <a:gd name="T6" fmla="*/ 0 w 49"/>
              <a:gd name="T7" fmla="*/ 2 h 2"/>
              <a:gd name="T8" fmla="*/ 0 w 49"/>
              <a:gd name="T9" fmla="*/ 0 h 2"/>
              <a:gd name="T10" fmla="*/ 2 w 49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9" h="2">
                <a:moveTo>
                  <a:pt x="2" y="0"/>
                </a:moveTo>
                <a:lnTo>
                  <a:pt x="49" y="0"/>
                </a:lnTo>
                <a:lnTo>
                  <a:pt x="49" y="2"/>
                </a:lnTo>
                <a:lnTo>
                  <a:pt x="0" y="2"/>
                </a:lnTo>
                <a:lnTo>
                  <a:pt x="0" y="0"/>
                </a:lnTo>
                <a:lnTo>
                  <a:pt x="2" y="0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" name="Freeform 1060">
            <a:extLst>
              <a:ext uri="{FF2B5EF4-FFF2-40B4-BE49-F238E27FC236}">
                <a16:creationId xmlns:a16="http://schemas.microsoft.com/office/drawing/2014/main" id="{1FDF7556-7605-411C-A116-16863C3F81C5}"/>
              </a:ext>
            </a:extLst>
          </p:cNvPr>
          <p:cNvSpPr>
            <a:spLocks/>
          </p:cNvSpPr>
          <p:nvPr/>
        </p:nvSpPr>
        <p:spPr bwMode="auto">
          <a:xfrm>
            <a:off x="10283595" y="6155107"/>
            <a:ext cx="61360" cy="2504"/>
          </a:xfrm>
          <a:custGeom>
            <a:avLst/>
            <a:gdLst>
              <a:gd name="T0" fmla="*/ 0 w 49"/>
              <a:gd name="T1" fmla="*/ 0 h 2"/>
              <a:gd name="T2" fmla="*/ 47 w 49"/>
              <a:gd name="T3" fmla="*/ 0 h 2"/>
              <a:gd name="T4" fmla="*/ 49 w 49"/>
              <a:gd name="T5" fmla="*/ 0 h 2"/>
              <a:gd name="T6" fmla="*/ 49 w 49"/>
              <a:gd name="T7" fmla="*/ 2 h 2"/>
              <a:gd name="T8" fmla="*/ 0 w 49"/>
              <a:gd name="T9" fmla="*/ 2 h 2"/>
              <a:gd name="T10" fmla="*/ 0 w 49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9" h="2">
                <a:moveTo>
                  <a:pt x="0" y="0"/>
                </a:moveTo>
                <a:lnTo>
                  <a:pt x="47" y="0"/>
                </a:lnTo>
                <a:lnTo>
                  <a:pt x="49" y="0"/>
                </a:lnTo>
                <a:lnTo>
                  <a:pt x="49" y="2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Rectangle 1061">
            <a:extLst>
              <a:ext uri="{FF2B5EF4-FFF2-40B4-BE49-F238E27FC236}">
                <a16:creationId xmlns:a16="http://schemas.microsoft.com/office/drawing/2014/main" id="{D037CCFD-A687-40DC-ADDB-71113647A6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77334" y="6177647"/>
            <a:ext cx="61360" cy="1253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" name="Freeform 1062">
            <a:extLst>
              <a:ext uri="{FF2B5EF4-FFF2-40B4-BE49-F238E27FC236}">
                <a16:creationId xmlns:a16="http://schemas.microsoft.com/office/drawing/2014/main" id="{688DB46E-D1DE-486B-9434-CE1D64DC16CD}"/>
              </a:ext>
            </a:extLst>
          </p:cNvPr>
          <p:cNvSpPr>
            <a:spLocks/>
          </p:cNvSpPr>
          <p:nvPr/>
        </p:nvSpPr>
        <p:spPr bwMode="auto">
          <a:xfrm>
            <a:off x="6951402" y="5564053"/>
            <a:ext cx="48838" cy="57603"/>
          </a:xfrm>
          <a:custGeom>
            <a:avLst/>
            <a:gdLst>
              <a:gd name="T0" fmla="*/ 8 w 93"/>
              <a:gd name="T1" fmla="*/ 26 h 110"/>
              <a:gd name="T2" fmla="*/ 41 w 93"/>
              <a:gd name="T3" fmla="*/ 1 h 110"/>
              <a:gd name="T4" fmla="*/ 75 w 93"/>
              <a:gd name="T5" fmla="*/ 28 h 110"/>
              <a:gd name="T6" fmla="*/ 93 w 93"/>
              <a:gd name="T7" fmla="*/ 110 h 110"/>
              <a:gd name="T8" fmla="*/ 18 w 93"/>
              <a:gd name="T9" fmla="*/ 106 h 110"/>
              <a:gd name="T10" fmla="*/ 14 w 93"/>
              <a:gd name="T11" fmla="*/ 72 h 110"/>
              <a:gd name="T12" fmla="*/ 12 w 93"/>
              <a:gd name="T13" fmla="*/ 63 h 110"/>
              <a:gd name="T14" fmla="*/ 9 w 93"/>
              <a:gd name="T15" fmla="*/ 57 h 110"/>
              <a:gd name="T16" fmla="*/ 10 w 93"/>
              <a:gd name="T17" fmla="*/ 49 h 110"/>
              <a:gd name="T18" fmla="*/ 0 w 93"/>
              <a:gd name="T19" fmla="*/ 50 h 110"/>
              <a:gd name="T20" fmla="*/ 8 w 93"/>
              <a:gd name="T21" fmla="*/ 26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3" h="110">
                <a:moveTo>
                  <a:pt x="8" y="26"/>
                </a:moveTo>
                <a:cubicBezTo>
                  <a:pt x="13" y="13"/>
                  <a:pt x="24" y="3"/>
                  <a:pt x="41" y="1"/>
                </a:cubicBezTo>
                <a:cubicBezTo>
                  <a:pt x="61" y="0"/>
                  <a:pt x="69" y="6"/>
                  <a:pt x="75" y="28"/>
                </a:cubicBezTo>
                <a:cubicBezTo>
                  <a:pt x="78" y="40"/>
                  <a:pt x="89" y="84"/>
                  <a:pt x="93" y="110"/>
                </a:cubicBezTo>
                <a:cubicBezTo>
                  <a:pt x="18" y="106"/>
                  <a:pt x="18" y="106"/>
                  <a:pt x="18" y="106"/>
                </a:cubicBezTo>
                <a:cubicBezTo>
                  <a:pt x="17" y="97"/>
                  <a:pt x="16" y="82"/>
                  <a:pt x="14" y="72"/>
                </a:cubicBezTo>
                <a:cubicBezTo>
                  <a:pt x="11" y="69"/>
                  <a:pt x="10" y="65"/>
                  <a:pt x="12" y="63"/>
                </a:cubicBezTo>
                <a:cubicBezTo>
                  <a:pt x="10" y="61"/>
                  <a:pt x="8" y="60"/>
                  <a:pt x="9" y="57"/>
                </a:cubicBezTo>
                <a:cubicBezTo>
                  <a:pt x="10" y="55"/>
                  <a:pt x="10" y="49"/>
                  <a:pt x="10" y="49"/>
                </a:cubicBezTo>
                <a:cubicBezTo>
                  <a:pt x="0" y="50"/>
                  <a:pt x="0" y="50"/>
                  <a:pt x="0" y="50"/>
                </a:cubicBezTo>
                <a:cubicBezTo>
                  <a:pt x="0" y="50"/>
                  <a:pt x="4" y="39"/>
                  <a:pt x="8" y="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" name="Freeform 1063">
            <a:extLst>
              <a:ext uri="{FF2B5EF4-FFF2-40B4-BE49-F238E27FC236}">
                <a16:creationId xmlns:a16="http://schemas.microsoft.com/office/drawing/2014/main" id="{454D0CCC-045A-4FA1-A307-7776E8E4CB8E}"/>
              </a:ext>
            </a:extLst>
          </p:cNvPr>
          <p:cNvSpPr>
            <a:spLocks/>
          </p:cNvSpPr>
          <p:nvPr/>
        </p:nvSpPr>
        <p:spPr bwMode="auto">
          <a:xfrm>
            <a:off x="6958915" y="5579079"/>
            <a:ext cx="5009" cy="3757"/>
          </a:xfrm>
          <a:custGeom>
            <a:avLst/>
            <a:gdLst>
              <a:gd name="T0" fmla="*/ 1 w 9"/>
              <a:gd name="T1" fmla="*/ 3 h 8"/>
              <a:gd name="T2" fmla="*/ 4 w 9"/>
              <a:gd name="T3" fmla="*/ 8 h 8"/>
              <a:gd name="T4" fmla="*/ 8 w 9"/>
              <a:gd name="T5" fmla="*/ 5 h 8"/>
              <a:gd name="T6" fmla="*/ 5 w 9"/>
              <a:gd name="T7" fmla="*/ 0 h 8"/>
              <a:gd name="T8" fmla="*/ 1 w 9"/>
              <a:gd name="T9" fmla="*/ 3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8">
                <a:moveTo>
                  <a:pt x="1" y="3"/>
                </a:moveTo>
                <a:cubicBezTo>
                  <a:pt x="0" y="5"/>
                  <a:pt x="1" y="7"/>
                  <a:pt x="4" y="8"/>
                </a:cubicBezTo>
                <a:cubicBezTo>
                  <a:pt x="6" y="8"/>
                  <a:pt x="8" y="7"/>
                  <a:pt x="8" y="5"/>
                </a:cubicBezTo>
                <a:cubicBezTo>
                  <a:pt x="9" y="3"/>
                  <a:pt x="7" y="0"/>
                  <a:pt x="5" y="0"/>
                </a:cubicBezTo>
                <a:cubicBezTo>
                  <a:pt x="3" y="0"/>
                  <a:pt x="1" y="1"/>
                  <a:pt x="1" y="3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" name="Freeform 1064">
            <a:extLst>
              <a:ext uri="{FF2B5EF4-FFF2-40B4-BE49-F238E27FC236}">
                <a16:creationId xmlns:a16="http://schemas.microsoft.com/office/drawing/2014/main" id="{5457B698-1A37-490D-A774-8156AE946D01}"/>
              </a:ext>
            </a:extLst>
          </p:cNvPr>
          <p:cNvSpPr>
            <a:spLocks/>
          </p:cNvSpPr>
          <p:nvPr/>
        </p:nvSpPr>
        <p:spPr bwMode="auto">
          <a:xfrm>
            <a:off x="6963924" y="5579079"/>
            <a:ext cx="3757" cy="3757"/>
          </a:xfrm>
          <a:custGeom>
            <a:avLst/>
            <a:gdLst>
              <a:gd name="T0" fmla="*/ 0 w 9"/>
              <a:gd name="T1" fmla="*/ 3 h 8"/>
              <a:gd name="T2" fmla="*/ 3 w 9"/>
              <a:gd name="T3" fmla="*/ 8 h 8"/>
              <a:gd name="T4" fmla="*/ 8 w 9"/>
              <a:gd name="T5" fmla="*/ 5 h 8"/>
              <a:gd name="T6" fmla="*/ 5 w 9"/>
              <a:gd name="T7" fmla="*/ 0 h 8"/>
              <a:gd name="T8" fmla="*/ 0 w 9"/>
              <a:gd name="T9" fmla="*/ 3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8">
                <a:moveTo>
                  <a:pt x="0" y="3"/>
                </a:moveTo>
                <a:cubicBezTo>
                  <a:pt x="0" y="5"/>
                  <a:pt x="1" y="7"/>
                  <a:pt x="3" y="8"/>
                </a:cubicBezTo>
                <a:cubicBezTo>
                  <a:pt x="5" y="8"/>
                  <a:pt x="8" y="7"/>
                  <a:pt x="8" y="5"/>
                </a:cubicBezTo>
                <a:cubicBezTo>
                  <a:pt x="9" y="3"/>
                  <a:pt x="7" y="1"/>
                  <a:pt x="5" y="0"/>
                </a:cubicBezTo>
                <a:cubicBezTo>
                  <a:pt x="3" y="0"/>
                  <a:pt x="1" y="1"/>
                  <a:pt x="0" y="3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" name="Freeform 1065">
            <a:extLst>
              <a:ext uri="{FF2B5EF4-FFF2-40B4-BE49-F238E27FC236}">
                <a16:creationId xmlns:a16="http://schemas.microsoft.com/office/drawing/2014/main" id="{1AE1C5C5-A322-4B3A-AD65-5BF53190892E}"/>
              </a:ext>
            </a:extLst>
          </p:cNvPr>
          <p:cNvSpPr>
            <a:spLocks/>
          </p:cNvSpPr>
          <p:nvPr/>
        </p:nvSpPr>
        <p:spPr bwMode="auto">
          <a:xfrm>
            <a:off x="6967680" y="5559044"/>
            <a:ext cx="26297" cy="20036"/>
          </a:xfrm>
          <a:custGeom>
            <a:avLst/>
            <a:gdLst>
              <a:gd name="T0" fmla="*/ 35 w 50"/>
              <a:gd name="T1" fmla="*/ 12 h 38"/>
              <a:gd name="T2" fmla="*/ 18 w 50"/>
              <a:gd name="T3" fmla="*/ 3 h 38"/>
              <a:gd name="T4" fmla="*/ 5 w 50"/>
              <a:gd name="T5" fmla="*/ 1 h 38"/>
              <a:gd name="T6" fmla="*/ 9 w 50"/>
              <a:gd name="T7" fmla="*/ 19 h 38"/>
              <a:gd name="T8" fmla="*/ 34 w 50"/>
              <a:gd name="T9" fmla="*/ 20 h 38"/>
              <a:gd name="T10" fmla="*/ 44 w 50"/>
              <a:gd name="T11" fmla="*/ 38 h 38"/>
              <a:gd name="T12" fmla="*/ 35 w 50"/>
              <a:gd name="T13" fmla="*/ 12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0" h="38">
                <a:moveTo>
                  <a:pt x="35" y="12"/>
                </a:moveTo>
                <a:cubicBezTo>
                  <a:pt x="34" y="5"/>
                  <a:pt x="25" y="0"/>
                  <a:pt x="18" y="3"/>
                </a:cubicBezTo>
                <a:cubicBezTo>
                  <a:pt x="11" y="6"/>
                  <a:pt x="5" y="4"/>
                  <a:pt x="5" y="1"/>
                </a:cubicBezTo>
                <a:cubicBezTo>
                  <a:pt x="0" y="6"/>
                  <a:pt x="3" y="16"/>
                  <a:pt x="9" y="19"/>
                </a:cubicBezTo>
                <a:cubicBezTo>
                  <a:pt x="15" y="22"/>
                  <a:pt x="31" y="21"/>
                  <a:pt x="34" y="20"/>
                </a:cubicBezTo>
                <a:cubicBezTo>
                  <a:pt x="33" y="24"/>
                  <a:pt x="40" y="38"/>
                  <a:pt x="44" y="38"/>
                </a:cubicBezTo>
                <a:cubicBezTo>
                  <a:pt x="50" y="30"/>
                  <a:pt x="46" y="12"/>
                  <a:pt x="35" y="12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" name="Freeform 1066">
            <a:extLst>
              <a:ext uri="{FF2B5EF4-FFF2-40B4-BE49-F238E27FC236}">
                <a16:creationId xmlns:a16="http://schemas.microsoft.com/office/drawing/2014/main" id="{48C104F4-ECF2-4ADC-805D-E6783B60E684}"/>
              </a:ext>
            </a:extLst>
          </p:cNvPr>
          <p:cNvSpPr>
            <a:spLocks/>
          </p:cNvSpPr>
          <p:nvPr/>
        </p:nvSpPr>
        <p:spPr bwMode="auto">
          <a:xfrm>
            <a:off x="7010256" y="6031135"/>
            <a:ext cx="31306" cy="10018"/>
          </a:xfrm>
          <a:custGeom>
            <a:avLst/>
            <a:gdLst>
              <a:gd name="T0" fmla="*/ 25 w 61"/>
              <a:gd name="T1" fmla="*/ 0 h 19"/>
              <a:gd name="T2" fmla="*/ 46 w 61"/>
              <a:gd name="T3" fmla="*/ 5 h 19"/>
              <a:gd name="T4" fmla="*/ 50 w 61"/>
              <a:gd name="T5" fmla="*/ 14 h 19"/>
              <a:gd name="T6" fmla="*/ 17 w 61"/>
              <a:gd name="T7" fmla="*/ 13 h 19"/>
              <a:gd name="T8" fmla="*/ 17 w 61"/>
              <a:gd name="T9" fmla="*/ 17 h 19"/>
              <a:gd name="T10" fmla="*/ 0 w 61"/>
              <a:gd name="T11" fmla="*/ 18 h 19"/>
              <a:gd name="T12" fmla="*/ 1 w 61"/>
              <a:gd name="T13" fmla="*/ 0 h 19"/>
              <a:gd name="T14" fmla="*/ 25 w 61"/>
              <a:gd name="T15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1" h="19">
                <a:moveTo>
                  <a:pt x="25" y="0"/>
                </a:moveTo>
                <a:cubicBezTo>
                  <a:pt x="27" y="4"/>
                  <a:pt x="38" y="6"/>
                  <a:pt x="46" y="5"/>
                </a:cubicBezTo>
                <a:cubicBezTo>
                  <a:pt x="52" y="4"/>
                  <a:pt x="61" y="10"/>
                  <a:pt x="50" y="14"/>
                </a:cubicBezTo>
                <a:cubicBezTo>
                  <a:pt x="36" y="19"/>
                  <a:pt x="22" y="18"/>
                  <a:pt x="17" y="13"/>
                </a:cubicBezTo>
                <a:cubicBezTo>
                  <a:pt x="17" y="15"/>
                  <a:pt x="17" y="17"/>
                  <a:pt x="17" y="17"/>
                </a:cubicBezTo>
                <a:cubicBezTo>
                  <a:pt x="0" y="18"/>
                  <a:pt x="0" y="18"/>
                  <a:pt x="0" y="18"/>
                </a:cubicBezTo>
                <a:cubicBezTo>
                  <a:pt x="1" y="0"/>
                  <a:pt x="1" y="0"/>
                  <a:pt x="1" y="0"/>
                </a:cubicBezTo>
                <a:lnTo>
                  <a:pt x="25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Freeform 1067">
            <a:extLst>
              <a:ext uri="{FF2B5EF4-FFF2-40B4-BE49-F238E27FC236}">
                <a16:creationId xmlns:a16="http://schemas.microsoft.com/office/drawing/2014/main" id="{6C37E90D-0BF1-4AF7-9135-DAC72FE2B0DF}"/>
              </a:ext>
            </a:extLst>
          </p:cNvPr>
          <p:cNvSpPr>
            <a:spLocks/>
          </p:cNvSpPr>
          <p:nvPr/>
        </p:nvSpPr>
        <p:spPr bwMode="auto">
          <a:xfrm>
            <a:off x="6977698" y="5785697"/>
            <a:ext cx="51342" cy="241681"/>
          </a:xfrm>
          <a:custGeom>
            <a:avLst/>
            <a:gdLst>
              <a:gd name="T0" fmla="*/ 97 w 101"/>
              <a:gd name="T1" fmla="*/ 76 h 464"/>
              <a:gd name="T2" fmla="*/ 88 w 101"/>
              <a:gd name="T3" fmla="*/ 463 h 464"/>
              <a:gd name="T4" fmla="*/ 64 w 101"/>
              <a:gd name="T5" fmla="*/ 464 h 464"/>
              <a:gd name="T6" fmla="*/ 8 w 101"/>
              <a:gd name="T7" fmla="*/ 76 h 464"/>
              <a:gd name="T8" fmla="*/ 97 w 101"/>
              <a:gd name="T9" fmla="*/ 76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" h="464">
                <a:moveTo>
                  <a:pt x="97" y="76"/>
                </a:moveTo>
                <a:cubicBezTo>
                  <a:pt x="90" y="174"/>
                  <a:pt x="84" y="318"/>
                  <a:pt x="88" y="463"/>
                </a:cubicBezTo>
                <a:cubicBezTo>
                  <a:pt x="82" y="463"/>
                  <a:pt x="88" y="463"/>
                  <a:pt x="64" y="464"/>
                </a:cubicBezTo>
                <a:cubicBezTo>
                  <a:pt x="40" y="343"/>
                  <a:pt x="22" y="211"/>
                  <a:pt x="8" y="76"/>
                </a:cubicBezTo>
                <a:cubicBezTo>
                  <a:pt x="0" y="0"/>
                  <a:pt x="101" y="0"/>
                  <a:pt x="97" y="76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" name="Freeform 1068">
            <a:extLst>
              <a:ext uri="{FF2B5EF4-FFF2-40B4-BE49-F238E27FC236}">
                <a16:creationId xmlns:a16="http://schemas.microsoft.com/office/drawing/2014/main" id="{A3853455-7681-40AE-8C25-20E68C13FA13}"/>
              </a:ext>
            </a:extLst>
          </p:cNvPr>
          <p:cNvSpPr>
            <a:spLocks/>
          </p:cNvSpPr>
          <p:nvPr/>
        </p:nvSpPr>
        <p:spPr bwMode="auto">
          <a:xfrm>
            <a:off x="6951402" y="6034892"/>
            <a:ext cx="32558" cy="10018"/>
          </a:xfrm>
          <a:custGeom>
            <a:avLst/>
            <a:gdLst>
              <a:gd name="T0" fmla="*/ 24 w 61"/>
              <a:gd name="T1" fmla="*/ 0 h 20"/>
              <a:gd name="T2" fmla="*/ 45 w 61"/>
              <a:gd name="T3" fmla="*/ 5 h 20"/>
              <a:gd name="T4" fmla="*/ 49 w 61"/>
              <a:gd name="T5" fmla="*/ 15 h 20"/>
              <a:gd name="T6" fmla="*/ 17 w 61"/>
              <a:gd name="T7" fmla="*/ 13 h 20"/>
              <a:gd name="T8" fmla="*/ 17 w 61"/>
              <a:gd name="T9" fmla="*/ 18 h 20"/>
              <a:gd name="T10" fmla="*/ 0 w 61"/>
              <a:gd name="T11" fmla="*/ 18 h 20"/>
              <a:gd name="T12" fmla="*/ 1 w 61"/>
              <a:gd name="T13" fmla="*/ 1 h 20"/>
              <a:gd name="T14" fmla="*/ 24 w 61"/>
              <a:gd name="T15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1" h="20">
                <a:moveTo>
                  <a:pt x="24" y="0"/>
                </a:moveTo>
                <a:cubicBezTo>
                  <a:pt x="26" y="4"/>
                  <a:pt x="37" y="6"/>
                  <a:pt x="45" y="5"/>
                </a:cubicBezTo>
                <a:cubicBezTo>
                  <a:pt x="52" y="4"/>
                  <a:pt x="61" y="11"/>
                  <a:pt x="49" y="15"/>
                </a:cubicBezTo>
                <a:cubicBezTo>
                  <a:pt x="36" y="20"/>
                  <a:pt x="21" y="18"/>
                  <a:pt x="17" y="13"/>
                </a:cubicBezTo>
                <a:cubicBezTo>
                  <a:pt x="17" y="15"/>
                  <a:pt x="17" y="18"/>
                  <a:pt x="17" y="18"/>
                </a:cubicBezTo>
                <a:cubicBezTo>
                  <a:pt x="0" y="18"/>
                  <a:pt x="0" y="18"/>
                  <a:pt x="0" y="18"/>
                </a:cubicBezTo>
                <a:cubicBezTo>
                  <a:pt x="1" y="1"/>
                  <a:pt x="1" y="1"/>
                  <a:pt x="1" y="1"/>
                </a:cubicBezTo>
                <a:lnTo>
                  <a:pt x="24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Freeform 1069">
            <a:extLst>
              <a:ext uri="{FF2B5EF4-FFF2-40B4-BE49-F238E27FC236}">
                <a16:creationId xmlns:a16="http://schemas.microsoft.com/office/drawing/2014/main" id="{13B0B55F-F282-46BF-A58F-7EA407C9171D}"/>
              </a:ext>
            </a:extLst>
          </p:cNvPr>
          <p:cNvSpPr>
            <a:spLocks/>
          </p:cNvSpPr>
          <p:nvPr/>
        </p:nvSpPr>
        <p:spPr bwMode="auto">
          <a:xfrm>
            <a:off x="6938879" y="5789455"/>
            <a:ext cx="52594" cy="240429"/>
          </a:xfrm>
          <a:custGeom>
            <a:avLst/>
            <a:gdLst>
              <a:gd name="T0" fmla="*/ 97 w 101"/>
              <a:gd name="T1" fmla="*/ 76 h 464"/>
              <a:gd name="T2" fmla="*/ 49 w 101"/>
              <a:gd name="T3" fmla="*/ 463 h 464"/>
              <a:gd name="T4" fmla="*/ 26 w 101"/>
              <a:gd name="T5" fmla="*/ 464 h 464"/>
              <a:gd name="T6" fmla="*/ 8 w 101"/>
              <a:gd name="T7" fmla="*/ 76 h 464"/>
              <a:gd name="T8" fmla="*/ 97 w 101"/>
              <a:gd name="T9" fmla="*/ 76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" h="464">
                <a:moveTo>
                  <a:pt x="97" y="76"/>
                </a:moveTo>
                <a:cubicBezTo>
                  <a:pt x="91" y="174"/>
                  <a:pt x="63" y="318"/>
                  <a:pt x="49" y="463"/>
                </a:cubicBezTo>
                <a:cubicBezTo>
                  <a:pt x="43" y="464"/>
                  <a:pt x="49" y="463"/>
                  <a:pt x="26" y="464"/>
                </a:cubicBezTo>
                <a:cubicBezTo>
                  <a:pt x="25" y="329"/>
                  <a:pt x="22" y="212"/>
                  <a:pt x="8" y="76"/>
                </a:cubicBezTo>
                <a:cubicBezTo>
                  <a:pt x="0" y="0"/>
                  <a:pt x="101" y="0"/>
                  <a:pt x="97" y="76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Freeform 1070">
            <a:extLst>
              <a:ext uri="{FF2B5EF4-FFF2-40B4-BE49-F238E27FC236}">
                <a16:creationId xmlns:a16="http://schemas.microsoft.com/office/drawing/2014/main" id="{4AD2B809-30B8-421C-9466-EEF1BD19340E}"/>
              </a:ext>
            </a:extLst>
          </p:cNvPr>
          <p:cNvSpPr>
            <a:spLocks/>
          </p:cNvSpPr>
          <p:nvPr/>
        </p:nvSpPr>
        <p:spPr bwMode="auto">
          <a:xfrm>
            <a:off x="6912582" y="5617898"/>
            <a:ext cx="122719" cy="215384"/>
          </a:xfrm>
          <a:custGeom>
            <a:avLst/>
            <a:gdLst>
              <a:gd name="T0" fmla="*/ 227 w 235"/>
              <a:gd name="T1" fmla="*/ 0 h 415"/>
              <a:gd name="T2" fmla="*/ 235 w 235"/>
              <a:gd name="T3" fmla="*/ 410 h 415"/>
              <a:gd name="T4" fmla="*/ 44 w 235"/>
              <a:gd name="T5" fmla="*/ 415 h 415"/>
              <a:gd name="T6" fmla="*/ 3 w 235"/>
              <a:gd name="T7" fmla="*/ 45 h 415"/>
              <a:gd name="T8" fmla="*/ 50 w 235"/>
              <a:gd name="T9" fmla="*/ 0 h 415"/>
              <a:gd name="T10" fmla="*/ 227 w 235"/>
              <a:gd name="T11" fmla="*/ 0 h 4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35" h="415">
                <a:moveTo>
                  <a:pt x="227" y="0"/>
                </a:moveTo>
                <a:cubicBezTo>
                  <a:pt x="235" y="410"/>
                  <a:pt x="235" y="410"/>
                  <a:pt x="235" y="410"/>
                </a:cubicBezTo>
                <a:cubicBezTo>
                  <a:pt x="181" y="411"/>
                  <a:pt x="98" y="414"/>
                  <a:pt x="44" y="415"/>
                </a:cubicBezTo>
                <a:cubicBezTo>
                  <a:pt x="3" y="45"/>
                  <a:pt x="3" y="45"/>
                  <a:pt x="3" y="45"/>
                </a:cubicBezTo>
                <a:cubicBezTo>
                  <a:pt x="0" y="21"/>
                  <a:pt x="14" y="0"/>
                  <a:pt x="50" y="0"/>
                </a:cubicBezTo>
                <a:lnTo>
                  <a:pt x="227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Freeform 1071">
            <a:extLst>
              <a:ext uri="{FF2B5EF4-FFF2-40B4-BE49-F238E27FC236}">
                <a16:creationId xmlns:a16="http://schemas.microsoft.com/office/drawing/2014/main" id="{7D470640-2246-4337-95BA-18CFEFB4CED6}"/>
              </a:ext>
            </a:extLst>
          </p:cNvPr>
          <p:cNvSpPr>
            <a:spLocks/>
          </p:cNvSpPr>
          <p:nvPr/>
        </p:nvSpPr>
        <p:spPr bwMode="auto">
          <a:xfrm>
            <a:off x="6975194" y="5621655"/>
            <a:ext cx="31306" cy="117710"/>
          </a:xfrm>
          <a:custGeom>
            <a:avLst/>
            <a:gdLst>
              <a:gd name="T0" fmla="*/ 15 w 59"/>
              <a:gd name="T1" fmla="*/ 14 h 227"/>
              <a:gd name="T2" fmla="*/ 31 w 59"/>
              <a:gd name="T3" fmla="*/ 12 h 227"/>
              <a:gd name="T4" fmla="*/ 59 w 59"/>
              <a:gd name="T5" fmla="*/ 197 h 227"/>
              <a:gd name="T6" fmla="*/ 31 w 59"/>
              <a:gd name="T7" fmla="*/ 227 h 227"/>
              <a:gd name="T8" fmla="*/ 2 w 59"/>
              <a:gd name="T9" fmla="*/ 198 h 227"/>
              <a:gd name="T10" fmla="*/ 15 w 59"/>
              <a:gd name="T11" fmla="*/ 14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9" h="227">
                <a:moveTo>
                  <a:pt x="15" y="14"/>
                </a:moveTo>
                <a:cubicBezTo>
                  <a:pt x="15" y="1"/>
                  <a:pt x="31" y="0"/>
                  <a:pt x="31" y="12"/>
                </a:cubicBezTo>
                <a:cubicBezTo>
                  <a:pt x="33" y="48"/>
                  <a:pt x="44" y="123"/>
                  <a:pt x="59" y="197"/>
                </a:cubicBezTo>
                <a:cubicBezTo>
                  <a:pt x="48" y="209"/>
                  <a:pt x="31" y="227"/>
                  <a:pt x="31" y="227"/>
                </a:cubicBezTo>
                <a:cubicBezTo>
                  <a:pt x="31" y="227"/>
                  <a:pt x="9" y="206"/>
                  <a:pt x="2" y="198"/>
                </a:cubicBezTo>
                <a:cubicBezTo>
                  <a:pt x="0" y="126"/>
                  <a:pt x="13" y="62"/>
                  <a:pt x="15" y="14"/>
                </a:cubicBez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" name="Freeform 1072">
            <a:extLst>
              <a:ext uri="{FF2B5EF4-FFF2-40B4-BE49-F238E27FC236}">
                <a16:creationId xmlns:a16="http://schemas.microsoft.com/office/drawing/2014/main" id="{E265A674-C049-4217-9836-DF7F9D1F0F93}"/>
              </a:ext>
            </a:extLst>
          </p:cNvPr>
          <p:cNvSpPr>
            <a:spLocks/>
          </p:cNvSpPr>
          <p:nvPr/>
        </p:nvSpPr>
        <p:spPr bwMode="auto">
          <a:xfrm>
            <a:off x="6981455" y="5617898"/>
            <a:ext cx="12522" cy="10018"/>
          </a:xfrm>
          <a:custGeom>
            <a:avLst/>
            <a:gdLst>
              <a:gd name="T0" fmla="*/ 0 w 10"/>
              <a:gd name="T1" fmla="*/ 0 h 8"/>
              <a:gd name="T2" fmla="*/ 9 w 10"/>
              <a:gd name="T3" fmla="*/ 0 h 8"/>
              <a:gd name="T4" fmla="*/ 10 w 10"/>
              <a:gd name="T5" fmla="*/ 8 h 8"/>
              <a:gd name="T6" fmla="*/ 0 w 10"/>
              <a:gd name="T7" fmla="*/ 8 h 8"/>
              <a:gd name="T8" fmla="*/ 0 w 10"/>
              <a:gd name="T9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" h="8">
                <a:moveTo>
                  <a:pt x="0" y="0"/>
                </a:moveTo>
                <a:lnTo>
                  <a:pt x="9" y="0"/>
                </a:lnTo>
                <a:lnTo>
                  <a:pt x="10" y="8"/>
                </a:lnTo>
                <a:lnTo>
                  <a:pt x="0" y="8"/>
                </a:lnTo>
                <a:lnTo>
                  <a:pt x="0" y="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" name="Freeform 1073">
            <a:extLst>
              <a:ext uri="{FF2B5EF4-FFF2-40B4-BE49-F238E27FC236}">
                <a16:creationId xmlns:a16="http://schemas.microsoft.com/office/drawing/2014/main" id="{562AA71E-2DE3-48B3-9928-6440CE89E9F6}"/>
              </a:ext>
            </a:extLst>
          </p:cNvPr>
          <p:cNvSpPr>
            <a:spLocks/>
          </p:cNvSpPr>
          <p:nvPr/>
        </p:nvSpPr>
        <p:spPr bwMode="auto">
          <a:xfrm>
            <a:off x="7001491" y="5617898"/>
            <a:ext cx="150268" cy="123972"/>
          </a:xfrm>
          <a:custGeom>
            <a:avLst/>
            <a:gdLst>
              <a:gd name="T0" fmla="*/ 26 w 290"/>
              <a:gd name="T1" fmla="*/ 104 h 238"/>
              <a:gd name="T2" fmla="*/ 132 w 290"/>
              <a:gd name="T3" fmla="*/ 232 h 238"/>
              <a:gd name="T4" fmla="*/ 289 w 290"/>
              <a:gd name="T5" fmla="*/ 166 h 238"/>
              <a:gd name="T6" fmla="*/ 290 w 290"/>
              <a:gd name="T7" fmla="*/ 137 h 238"/>
              <a:gd name="T8" fmla="*/ 153 w 290"/>
              <a:gd name="T9" fmla="*/ 179 h 238"/>
              <a:gd name="T10" fmla="*/ 57 w 290"/>
              <a:gd name="T11" fmla="*/ 0 h 238"/>
              <a:gd name="T12" fmla="*/ 26 w 290"/>
              <a:gd name="T13" fmla="*/ 104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0" h="238">
                <a:moveTo>
                  <a:pt x="26" y="104"/>
                </a:moveTo>
                <a:cubicBezTo>
                  <a:pt x="57" y="150"/>
                  <a:pt x="106" y="226"/>
                  <a:pt x="132" y="232"/>
                </a:cubicBezTo>
                <a:cubicBezTo>
                  <a:pt x="158" y="238"/>
                  <a:pt x="195" y="213"/>
                  <a:pt x="289" y="166"/>
                </a:cubicBezTo>
                <a:cubicBezTo>
                  <a:pt x="290" y="137"/>
                  <a:pt x="290" y="137"/>
                  <a:pt x="290" y="137"/>
                </a:cubicBezTo>
                <a:cubicBezTo>
                  <a:pt x="227" y="159"/>
                  <a:pt x="166" y="182"/>
                  <a:pt x="153" y="179"/>
                </a:cubicBezTo>
                <a:cubicBezTo>
                  <a:pt x="135" y="175"/>
                  <a:pt x="83" y="0"/>
                  <a:pt x="57" y="0"/>
                </a:cubicBezTo>
                <a:cubicBezTo>
                  <a:pt x="15" y="0"/>
                  <a:pt x="0" y="65"/>
                  <a:pt x="26" y="104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" name="Freeform 1074">
            <a:extLst>
              <a:ext uri="{FF2B5EF4-FFF2-40B4-BE49-F238E27FC236}">
                <a16:creationId xmlns:a16="http://schemas.microsoft.com/office/drawing/2014/main" id="{7CD5D40F-3ECA-4460-A938-7ADA30659E0A}"/>
              </a:ext>
            </a:extLst>
          </p:cNvPr>
          <p:cNvSpPr>
            <a:spLocks/>
          </p:cNvSpPr>
          <p:nvPr/>
        </p:nvSpPr>
        <p:spPr bwMode="auto">
          <a:xfrm>
            <a:off x="7148002" y="5688023"/>
            <a:ext cx="15027" cy="20036"/>
          </a:xfrm>
          <a:custGeom>
            <a:avLst/>
            <a:gdLst>
              <a:gd name="T0" fmla="*/ 4 w 29"/>
              <a:gd name="T1" fmla="*/ 35 h 39"/>
              <a:gd name="T2" fmla="*/ 0 w 29"/>
              <a:gd name="T3" fmla="*/ 30 h 39"/>
              <a:gd name="T4" fmla="*/ 6 w 29"/>
              <a:gd name="T5" fmla="*/ 4 h 39"/>
              <a:gd name="T6" fmla="*/ 12 w 29"/>
              <a:gd name="T7" fmla="*/ 1 h 39"/>
              <a:gd name="T8" fmla="*/ 25 w 29"/>
              <a:gd name="T9" fmla="*/ 4 h 39"/>
              <a:gd name="T10" fmla="*/ 28 w 29"/>
              <a:gd name="T11" fmla="*/ 9 h 39"/>
              <a:gd name="T12" fmla="*/ 22 w 29"/>
              <a:gd name="T13" fmla="*/ 35 h 39"/>
              <a:gd name="T14" fmla="*/ 17 w 29"/>
              <a:gd name="T15" fmla="*/ 38 h 39"/>
              <a:gd name="T16" fmla="*/ 4 w 29"/>
              <a:gd name="T17" fmla="*/ 35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9" h="39">
                <a:moveTo>
                  <a:pt x="4" y="35"/>
                </a:moveTo>
                <a:cubicBezTo>
                  <a:pt x="1" y="34"/>
                  <a:pt x="0" y="32"/>
                  <a:pt x="0" y="30"/>
                </a:cubicBezTo>
                <a:cubicBezTo>
                  <a:pt x="6" y="4"/>
                  <a:pt x="6" y="4"/>
                  <a:pt x="6" y="4"/>
                </a:cubicBezTo>
                <a:cubicBezTo>
                  <a:pt x="7" y="2"/>
                  <a:pt x="10" y="0"/>
                  <a:pt x="12" y="1"/>
                </a:cubicBezTo>
                <a:cubicBezTo>
                  <a:pt x="25" y="4"/>
                  <a:pt x="25" y="4"/>
                  <a:pt x="25" y="4"/>
                </a:cubicBezTo>
                <a:cubicBezTo>
                  <a:pt x="28" y="5"/>
                  <a:pt x="29" y="7"/>
                  <a:pt x="28" y="9"/>
                </a:cubicBezTo>
                <a:cubicBezTo>
                  <a:pt x="22" y="35"/>
                  <a:pt x="22" y="35"/>
                  <a:pt x="22" y="35"/>
                </a:cubicBezTo>
                <a:cubicBezTo>
                  <a:pt x="22" y="37"/>
                  <a:pt x="19" y="39"/>
                  <a:pt x="17" y="38"/>
                </a:cubicBezTo>
                <a:lnTo>
                  <a:pt x="4" y="3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" name="Freeform 1075">
            <a:extLst>
              <a:ext uri="{FF2B5EF4-FFF2-40B4-BE49-F238E27FC236}">
                <a16:creationId xmlns:a16="http://schemas.microsoft.com/office/drawing/2014/main" id="{0979508D-3E87-4442-8914-C0B2028D1B3A}"/>
              </a:ext>
            </a:extLst>
          </p:cNvPr>
          <p:cNvSpPr>
            <a:spLocks/>
          </p:cNvSpPr>
          <p:nvPr/>
        </p:nvSpPr>
        <p:spPr bwMode="auto">
          <a:xfrm>
            <a:off x="7150506" y="5684267"/>
            <a:ext cx="11270" cy="8766"/>
          </a:xfrm>
          <a:custGeom>
            <a:avLst/>
            <a:gdLst>
              <a:gd name="T0" fmla="*/ 3 w 22"/>
              <a:gd name="T1" fmla="*/ 7 h 16"/>
              <a:gd name="T2" fmla="*/ 1 w 22"/>
              <a:gd name="T3" fmla="*/ 13 h 16"/>
              <a:gd name="T4" fmla="*/ 7 w 22"/>
              <a:gd name="T5" fmla="*/ 15 h 16"/>
              <a:gd name="T6" fmla="*/ 19 w 22"/>
              <a:gd name="T7" fmla="*/ 9 h 16"/>
              <a:gd name="T8" fmla="*/ 21 w 22"/>
              <a:gd name="T9" fmla="*/ 3 h 16"/>
              <a:gd name="T10" fmla="*/ 21 w 22"/>
              <a:gd name="T11" fmla="*/ 3 h 16"/>
              <a:gd name="T12" fmla="*/ 15 w 22"/>
              <a:gd name="T13" fmla="*/ 1 h 16"/>
              <a:gd name="T14" fmla="*/ 3 w 22"/>
              <a:gd name="T15" fmla="*/ 7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" h="16">
                <a:moveTo>
                  <a:pt x="3" y="7"/>
                </a:moveTo>
                <a:cubicBezTo>
                  <a:pt x="1" y="9"/>
                  <a:pt x="0" y="11"/>
                  <a:pt x="1" y="13"/>
                </a:cubicBezTo>
                <a:cubicBezTo>
                  <a:pt x="3" y="15"/>
                  <a:pt x="5" y="16"/>
                  <a:pt x="7" y="15"/>
                </a:cubicBezTo>
                <a:cubicBezTo>
                  <a:pt x="19" y="9"/>
                  <a:pt x="19" y="9"/>
                  <a:pt x="19" y="9"/>
                </a:cubicBezTo>
                <a:cubicBezTo>
                  <a:pt x="21" y="8"/>
                  <a:pt x="22" y="5"/>
                  <a:pt x="21" y="3"/>
                </a:cubicBezTo>
                <a:cubicBezTo>
                  <a:pt x="21" y="3"/>
                  <a:pt x="21" y="3"/>
                  <a:pt x="21" y="3"/>
                </a:cubicBezTo>
                <a:cubicBezTo>
                  <a:pt x="20" y="1"/>
                  <a:pt x="17" y="0"/>
                  <a:pt x="15" y="1"/>
                </a:cubicBezTo>
                <a:lnTo>
                  <a:pt x="3" y="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" name="Freeform 1076">
            <a:extLst>
              <a:ext uri="{FF2B5EF4-FFF2-40B4-BE49-F238E27FC236}">
                <a16:creationId xmlns:a16="http://schemas.microsoft.com/office/drawing/2014/main" id="{BA61CE5A-1D6C-4757-9CC8-13582F794B75}"/>
              </a:ext>
            </a:extLst>
          </p:cNvPr>
          <p:cNvSpPr>
            <a:spLocks/>
          </p:cNvSpPr>
          <p:nvPr/>
        </p:nvSpPr>
        <p:spPr bwMode="auto">
          <a:xfrm>
            <a:off x="7104174" y="5640438"/>
            <a:ext cx="58855" cy="100179"/>
          </a:xfrm>
          <a:custGeom>
            <a:avLst/>
            <a:gdLst>
              <a:gd name="T0" fmla="*/ 0 w 47"/>
              <a:gd name="T1" fmla="*/ 73 h 80"/>
              <a:gd name="T2" fmla="*/ 32 w 47"/>
              <a:gd name="T3" fmla="*/ 80 h 80"/>
              <a:gd name="T4" fmla="*/ 47 w 47"/>
              <a:gd name="T5" fmla="*/ 7 h 80"/>
              <a:gd name="T6" fmla="*/ 16 w 47"/>
              <a:gd name="T7" fmla="*/ 0 h 80"/>
              <a:gd name="T8" fmla="*/ 0 w 47"/>
              <a:gd name="T9" fmla="*/ 73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" h="80">
                <a:moveTo>
                  <a:pt x="0" y="73"/>
                </a:moveTo>
                <a:lnTo>
                  <a:pt x="32" y="80"/>
                </a:lnTo>
                <a:lnTo>
                  <a:pt x="47" y="7"/>
                </a:lnTo>
                <a:lnTo>
                  <a:pt x="16" y="0"/>
                </a:lnTo>
                <a:lnTo>
                  <a:pt x="0" y="73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" name="Freeform 1077">
            <a:extLst>
              <a:ext uri="{FF2B5EF4-FFF2-40B4-BE49-F238E27FC236}">
                <a16:creationId xmlns:a16="http://schemas.microsoft.com/office/drawing/2014/main" id="{C02E81C3-DA8D-42F5-AAAA-6E20B57DA7B1}"/>
              </a:ext>
            </a:extLst>
          </p:cNvPr>
          <p:cNvSpPr>
            <a:spLocks/>
          </p:cNvSpPr>
          <p:nvPr/>
        </p:nvSpPr>
        <p:spPr bwMode="auto">
          <a:xfrm>
            <a:off x="7144246" y="5649204"/>
            <a:ext cx="23793" cy="92665"/>
          </a:xfrm>
          <a:custGeom>
            <a:avLst/>
            <a:gdLst>
              <a:gd name="T0" fmla="*/ 0 w 19"/>
              <a:gd name="T1" fmla="*/ 73 h 74"/>
              <a:gd name="T2" fmla="*/ 4 w 19"/>
              <a:gd name="T3" fmla="*/ 74 h 74"/>
              <a:gd name="T4" fmla="*/ 19 w 19"/>
              <a:gd name="T5" fmla="*/ 1 h 74"/>
              <a:gd name="T6" fmla="*/ 15 w 19"/>
              <a:gd name="T7" fmla="*/ 0 h 74"/>
              <a:gd name="T8" fmla="*/ 0 w 19"/>
              <a:gd name="T9" fmla="*/ 73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" h="74">
                <a:moveTo>
                  <a:pt x="0" y="73"/>
                </a:moveTo>
                <a:lnTo>
                  <a:pt x="4" y="74"/>
                </a:lnTo>
                <a:lnTo>
                  <a:pt x="19" y="1"/>
                </a:lnTo>
                <a:lnTo>
                  <a:pt x="15" y="0"/>
                </a:lnTo>
                <a:lnTo>
                  <a:pt x="0" y="7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" name="Freeform 1078">
            <a:extLst>
              <a:ext uri="{FF2B5EF4-FFF2-40B4-BE49-F238E27FC236}">
                <a16:creationId xmlns:a16="http://schemas.microsoft.com/office/drawing/2014/main" id="{71269018-CAAE-4BAC-931B-6C4391893CB8}"/>
              </a:ext>
            </a:extLst>
          </p:cNvPr>
          <p:cNvSpPr>
            <a:spLocks/>
          </p:cNvSpPr>
          <p:nvPr/>
        </p:nvSpPr>
        <p:spPr bwMode="auto">
          <a:xfrm>
            <a:off x="7109183" y="5649204"/>
            <a:ext cx="48838" cy="82647"/>
          </a:xfrm>
          <a:custGeom>
            <a:avLst/>
            <a:gdLst>
              <a:gd name="T0" fmla="*/ 26 w 39"/>
              <a:gd name="T1" fmla="*/ 66 h 66"/>
              <a:gd name="T2" fmla="*/ 39 w 39"/>
              <a:gd name="T3" fmla="*/ 5 h 66"/>
              <a:gd name="T4" fmla="*/ 14 w 39"/>
              <a:gd name="T5" fmla="*/ 0 h 66"/>
              <a:gd name="T6" fmla="*/ 0 w 39"/>
              <a:gd name="T7" fmla="*/ 61 h 66"/>
              <a:gd name="T8" fmla="*/ 26 w 39"/>
              <a:gd name="T9" fmla="*/ 66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" h="66">
                <a:moveTo>
                  <a:pt x="26" y="66"/>
                </a:moveTo>
                <a:lnTo>
                  <a:pt x="39" y="5"/>
                </a:lnTo>
                <a:lnTo>
                  <a:pt x="14" y="0"/>
                </a:lnTo>
                <a:lnTo>
                  <a:pt x="0" y="61"/>
                </a:lnTo>
                <a:lnTo>
                  <a:pt x="26" y="6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6" name="Freeform 1079">
            <a:extLst>
              <a:ext uri="{FF2B5EF4-FFF2-40B4-BE49-F238E27FC236}">
                <a16:creationId xmlns:a16="http://schemas.microsoft.com/office/drawing/2014/main" id="{36060ED5-E6BB-4690-9C00-4E01E71CEA20}"/>
              </a:ext>
            </a:extLst>
          </p:cNvPr>
          <p:cNvSpPr>
            <a:spLocks/>
          </p:cNvSpPr>
          <p:nvPr/>
        </p:nvSpPr>
        <p:spPr bwMode="auto">
          <a:xfrm>
            <a:off x="7131723" y="5637934"/>
            <a:ext cx="21288" cy="21288"/>
          </a:xfrm>
          <a:custGeom>
            <a:avLst/>
            <a:gdLst>
              <a:gd name="T0" fmla="*/ 14 w 17"/>
              <a:gd name="T1" fmla="*/ 17 h 17"/>
              <a:gd name="T2" fmla="*/ 17 w 17"/>
              <a:gd name="T3" fmla="*/ 3 h 17"/>
              <a:gd name="T4" fmla="*/ 3 w 17"/>
              <a:gd name="T5" fmla="*/ 0 h 17"/>
              <a:gd name="T6" fmla="*/ 0 w 17"/>
              <a:gd name="T7" fmla="*/ 14 h 17"/>
              <a:gd name="T8" fmla="*/ 14 w 17"/>
              <a:gd name="T9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17">
                <a:moveTo>
                  <a:pt x="14" y="17"/>
                </a:moveTo>
                <a:lnTo>
                  <a:pt x="17" y="3"/>
                </a:lnTo>
                <a:lnTo>
                  <a:pt x="3" y="0"/>
                </a:lnTo>
                <a:lnTo>
                  <a:pt x="0" y="14"/>
                </a:lnTo>
                <a:lnTo>
                  <a:pt x="14" y="17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7" name="Freeform 1080">
            <a:extLst>
              <a:ext uri="{FF2B5EF4-FFF2-40B4-BE49-F238E27FC236}">
                <a16:creationId xmlns:a16="http://schemas.microsoft.com/office/drawing/2014/main" id="{67510D89-B2A9-4D0C-AF5A-218CC0DD8CB5}"/>
              </a:ext>
            </a:extLst>
          </p:cNvPr>
          <p:cNvSpPr>
            <a:spLocks/>
          </p:cNvSpPr>
          <p:nvPr/>
        </p:nvSpPr>
        <p:spPr bwMode="auto">
          <a:xfrm>
            <a:off x="7124210" y="5671745"/>
            <a:ext cx="25045" cy="10018"/>
          </a:xfrm>
          <a:custGeom>
            <a:avLst/>
            <a:gdLst>
              <a:gd name="T0" fmla="*/ 19 w 20"/>
              <a:gd name="T1" fmla="*/ 8 h 8"/>
              <a:gd name="T2" fmla="*/ 20 w 20"/>
              <a:gd name="T3" fmla="*/ 3 h 8"/>
              <a:gd name="T4" fmla="*/ 1 w 20"/>
              <a:gd name="T5" fmla="*/ 0 h 8"/>
              <a:gd name="T6" fmla="*/ 0 w 20"/>
              <a:gd name="T7" fmla="*/ 4 h 8"/>
              <a:gd name="T8" fmla="*/ 19 w 20"/>
              <a:gd name="T9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" h="8">
                <a:moveTo>
                  <a:pt x="19" y="8"/>
                </a:moveTo>
                <a:lnTo>
                  <a:pt x="20" y="3"/>
                </a:lnTo>
                <a:lnTo>
                  <a:pt x="1" y="0"/>
                </a:lnTo>
                <a:lnTo>
                  <a:pt x="0" y="4"/>
                </a:lnTo>
                <a:lnTo>
                  <a:pt x="19" y="8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8" name="Freeform 1081">
            <a:extLst>
              <a:ext uri="{FF2B5EF4-FFF2-40B4-BE49-F238E27FC236}">
                <a16:creationId xmlns:a16="http://schemas.microsoft.com/office/drawing/2014/main" id="{DEB414C1-A2D0-40E3-B685-29E2E645C4AF}"/>
              </a:ext>
            </a:extLst>
          </p:cNvPr>
          <p:cNvSpPr>
            <a:spLocks/>
          </p:cNvSpPr>
          <p:nvPr/>
        </p:nvSpPr>
        <p:spPr bwMode="auto">
          <a:xfrm>
            <a:off x="7120453" y="5688023"/>
            <a:ext cx="25045" cy="11270"/>
          </a:xfrm>
          <a:custGeom>
            <a:avLst/>
            <a:gdLst>
              <a:gd name="T0" fmla="*/ 19 w 20"/>
              <a:gd name="T1" fmla="*/ 9 h 9"/>
              <a:gd name="T2" fmla="*/ 20 w 20"/>
              <a:gd name="T3" fmla="*/ 4 h 9"/>
              <a:gd name="T4" fmla="*/ 1 w 20"/>
              <a:gd name="T5" fmla="*/ 0 h 9"/>
              <a:gd name="T6" fmla="*/ 0 w 20"/>
              <a:gd name="T7" fmla="*/ 5 h 9"/>
              <a:gd name="T8" fmla="*/ 19 w 20"/>
              <a:gd name="T9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" h="9">
                <a:moveTo>
                  <a:pt x="19" y="9"/>
                </a:moveTo>
                <a:lnTo>
                  <a:pt x="20" y="4"/>
                </a:lnTo>
                <a:lnTo>
                  <a:pt x="1" y="0"/>
                </a:lnTo>
                <a:lnTo>
                  <a:pt x="0" y="5"/>
                </a:lnTo>
                <a:lnTo>
                  <a:pt x="19" y="9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9" name="Freeform 1082">
            <a:extLst>
              <a:ext uri="{FF2B5EF4-FFF2-40B4-BE49-F238E27FC236}">
                <a16:creationId xmlns:a16="http://schemas.microsoft.com/office/drawing/2014/main" id="{35894FCD-1F37-469B-880E-A42E8211EBBC}"/>
              </a:ext>
            </a:extLst>
          </p:cNvPr>
          <p:cNvSpPr>
            <a:spLocks/>
          </p:cNvSpPr>
          <p:nvPr/>
        </p:nvSpPr>
        <p:spPr bwMode="auto">
          <a:xfrm>
            <a:off x="7116696" y="5705555"/>
            <a:ext cx="25045" cy="11270"/>
          </a:xfrm>
          <a:custGeom>
            <a:avLst/>
            <a:gdLst>
              <a:gd name="T0" fmla="*/ 19 w 20"/>
              <a:gd name="T1" fmla="*/ 9 h 9"/>
              <a:gd name="T2" fmla="*/ 20 w 20"/>
              <a:gd name="T3" fmla="*/ 4 h 9"/>
              <a:gd name="T4" fmla="*/ 1 w 20"/>
              <a:gd name="T5" fmla="*/ 0 h 9"/>
              <a:gd name="T6" fmla="*/ 0 w 20"/>
              <a:gd name="T7" fmla="*/ 5 h 9"/>
              <a:gd name="T8" fmla="*/ 19 w 20"/>
              <a:gd name="T9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" h="9">
                <a:moveTo>
                  <a:pt x="19" y="9"/>
                </a:moveTo>
                <a:lnTo>
                  <a:pt x="20" y="4"/>
                </a:lnTo>
                <a:lnTo>
                  <a:pt x="1" y="0"/>
                </a:lnTo>
                <a:lnTo>
                  <a:pt x="0" y="5"/>
                </a:lnTo>
                <a:lnTo>
                  <a:pt x="19" y="9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0" name="Freeform 1083">
            <a:extLst>
              <a:ext uri="{FF2B5EF4-FFF2-40B4-BE49-F238E27FC236}">
                <a16:creationId xmlns:a16="http://schemas.microsoft.com/office/drawing/2014/main" id="{2879FAC7-540A-405A-A392-830B1F53E697}"/>
              </a:ext>
            </a:extLst>
          </p:cNvPr>
          <p:cNvSpPr>
            <a:spLocks/>
          </p:cNvSpPr>
          <p:nvPr/>
        </p:nvSpPr>
        <p:spPr bwMode="auto">
          <a:xfrm>
            <a:off x="7156768" y="5694285"/>
            <a:ext cx="10018" cy="6262"/>
          </a:xfrm>
          <a:custGeom>
            <a:avLst/>
            <a:gdLst>
              <a:gd name="T0" fmla="*/ 6 w 19"/>
              <a:gd name="T1" fmla="*/ 1 h 12"/>
              <a:gd name="T2" fmla="*/ 1 w 19"/>
              <a:gd name="T3" fmla="*/ 4 h 12"/>
              <a:gd name="T4" fmla="*/ 4 w 19"/>
              <a:gd name="T5" fmla="*/ 9 h 12"/>
              <a:gd name="T6" fmla="*/ 13 w 19"/>
              <a:gd name="T7" fmla="*/ 11 h 12"/>
              <a:gd name="T8" fmla="*/ 18 w 19"/>
              <a:gd name="T9" fmla="*/ 8 h 12"/>
              <a:gd name="T10" fmla="*/ 18 w 19"/>
              <a:gd name="T11" fmla="*/ 8 h 12"/>
              <a:gd name="T12" fmla="*/ 15 w 19"/>
              <a:gd name="T13" fmla="*/ 3 h 12"/>
              <a:gd name="T14" fmla="*/ 6 w 19"/>
              <a:gd name="T15" fmla="*/ 1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9" h="12">
                <a:moveTo>
                  <a:pt x="6" y="1"/>
                </a:moveTo>
                <a:cubicBezTo>
                  <a:pt x="4" y="0"/>
                  <a:pt x="1" y="1"/>
                  <a:pt x="1" y="4"/>
                </a:cubicBezTo>
                <a:cubicBezTo>
                  <a:pt x="0" y="6"/>
                  <a:pt x="2" y="8"/>
                  <a:pt x="4" y="9"/>
                </a:cubicBezTo>
                <a:cubicBezTo>
                  <a:pt x="13" y="11"/>
                  <a:pt x="13" y="11"/>
                  <a:pt x="13" y="11"/>
                </a:cubicBezTo>
                <a:cubicBezTo>
                  <a:pt x="15" y="12"/>
                  <a:pt x="17" y="10"/>
                  <a:pt x="18" y="8"/>
                </a:cubicBezTo>
                <a:cubicBezTo>
                  <a:pt x="18" y="8"/>
                  <a:pt x="18" y="8"/>
                  <a:pt x="18" y="8"/>
                </a:cubicBezTo>
                <a:cubicBezTo>
                  <a:pt x="19" y="6"/>
                  <a:pt x="17" y="3"/>
                  <a:pt x="15" y="3"/>
                </a:cubicBezTo>
                <a:lnTo>
                  <a:pt x="6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1" name="Freeform 1084">
            <a:extLst>
              <a:ext uri="{FF2B5EF4-FFF2-40B4-BE49-F238E27FC236}">
                <a16:creationId xmlns:a16="http://schemas.microsoft.com/office/drawing/2014/main" id="{6DA6DFF1-BAF9-4597-9570-911786145ABD}"/>
              </a:ext>
            </a:extLst>
          </p:cNvPr>
          <p:cNvSpPr>
            <a:spLocks/>
          </p:cNvSpPr>
          <p:nvPr/>
        </p:nvSpPr>
        <p:spPr bwMode="auto">
          <a:xfrm>
            <a:off x="7158020" y="5689276"/>
            <a:ext cx="8766" cy="6262"/>
          </a:xfrm>
          <a:custGeom>
            <a:avLst/>
            <a:gdLst>
              <a:gd name="T0" fmla="*/ 6 w 19"/>
              <a:gd name="T1" fmla="*/ 1 h 12"/>
              <a:gd name="T2" fmla="*/ 1 w 19"/>
              <a:gd name="T3" fmla="*/ 4 h 12"/>
              <a:gd name="T4" fmla="*/ 4 w 19"/>
              <a:gd name="T5" fmla="*/ 10 h 12"/>
              <a:gd name="T6" fmla="*/ 13 w 19"/>
              <a:gd name="T7" fmla="*/ 12 h 12"/>
              <a:gd name="T8" fmla="*/ 18 w 19"/>
              <a:gd name="T9" fmla="*/ 8 h 12"/>
              <a:gd name="T10" fmla="*/ 18 w 19"/>
              <a:gd name="T11" fmla="*/ 8 h 12"/>
              <a:gd name="T12" fmla="*/ 15 w 19"/>
              <a:gd name="T13" fmla="*/ 3 h 12"/>
              <a:gd name="T14" fmla="*/ 6 w 19"/>
              <a:gd name="T15" fmla="*/ 1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9" h="12">
                <a:moveTo>
                  <a:pt x="6" y="1"/>
                </a:moveTo>
                <a:cubicBezTo>
                  <a:pt x="4" y="0"/>
                  <a:pt x="1" y="2"/>
                  <a:pt x="1" y="4"/>
                </a:cubicBezTo>
                <a:cubicBezTo>
                  <a:pt x="0" y="7"/>
                  <a:pt x="2" y="9"/>
                  <a:pt x="4" y="10"/>
                </a:cubicBezTo>
                <a:cubicBezTo>
                  <a:pt x="13" y="12"/>
                  <a:pt x="13" y="12"/>
                  <a:pt x="13" y="12"/>
                </a:cubicBezTo>
                <a:cubicBezTo>
                  <a:pt x="15" y="12"/>
                  <a:pt x="18" y="11"/>
                  <a:pt x="18" y="8"/>
                </a:cubicBezTo>
                <a:cubicBezTo>
                  <a:pt x="18" y="8"/>
                  <a:pt x="18" y="8"/>
                  <a:pt x="18" y="8"/>
                </a:cubicBezTo>
                <a:cubicBezTo>
                  <a:pt x="19" y="6"/>
                  <a:pt x="17" y="4"/>
                  <a:pt x="15" y="3"/>
                </a:cubicBezTo>
                <a:lnTo>
                  <a:pt x="6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2" name="Freeform 1085">
            <a:extLst>
              <a:ext uri="{FF2B5EF4-FFF2-40B4-BE49-F238E27FC236}">
                <a16:creationId xmlns:a16="http://schemas.microsoft.com/office/drawing/2014/main" id="{D9393522-8939-450F-9F53-854C239013A7}"/>
              </a:ext>
            </a:extLst>
          </p:cNvPr>
          <p:cNvSpPr>
            <a:spLocks/>
          </p:cNvSpPr>
          <p:nvPr/>
        </p:nvSpPr>
        <p:spPr bwMode="auto">
          <a:xfrm>
            <a:off x="7155515" y="5698041"/>
            <a:ext cx="10018" cy="6262"/>
          </a:xfrm>
          <a:custGeom>
            <a:avLst/>
            <a:gdLst>
              <a:gd name="T0" fmla="*/ 1 w 19"/>
              <a:gd name="T1" fmla="*/ 4 h 12"/>
              <a:gd name="T2" fmla="*/ 4 w 19"/>
              <a:gd name="T3" fmla="*/ 10 h 12"/>
              <a:gd name="T4" fmla="*/ 13 w 19"/>
              <a:gd name="T5" fmla="*/ 12 h 12"/>
              <a:gd name="T6" fmla="*/ 18 w 19"/>
              <a:gd name="T7" fmla="*/ 9 h 12"/>
              <a:gd name="T8" fmla="*/ 18 w 19"/>
              <a:gd name="T9" fmla="*/ 9 h 12"/>
              <a:gd name="T10" fmla="*/ 15 w 19"/>
              <a:gd name="T11" fmla="*/ 3 h 12"/>
              <a:gd name="T12" fmla="*/ 6 w 19"/>
              <a:gd name="T13" fmla="*/ 1 h 12"/>
              <a:gd name="T14" fmla="*/ 1 w 19"/>
              <a:gd name="T15" fmla="*/ 4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9" h="12">
                <a:moveTo>
                  <a:pt x="1" y="4"/>
                </a:moveTo>
                <a:cubicBezTo>
                  <a:pt x="0" y="7"/>
                  <a:pt x="2" y="9"/>
                  <a:pt x="4" y="10"/>
                </a:cubicBezTo>
                <a:cubicBezTo>
                  <a:pt x="13" y="12"/>
                  <a:pt x="13" y="12"/>
                  <a:pt x="13" y="12"/>
                </a:cubicBezTo>
                <a:cubicBezTo>
                  <a:pt x="15" y="12"/>
                  <a:pt x="17" y="11"/>
                  <a:pt x="18" y="9"/>
                </a:cubicBezTo>
                <a:cubicBezTo>
                  <a:pt x="18" y="9"/>
                  <a:pt x="18" y="9"/>
                  <a:pt x="18" y="9"/>
                </a:cubicBezTo>
                <a:cubicBezTo>
                  <a:pt x="19" y="6"/>
                  <a:pt x="17" y="4"/>
                  <a:pt x="15" y="3"/>
                </a:cubicBezTo>
                <a:cubicBezTo>
                  <a:pt x="6" y="1"/>
                  <a:pt x="6" y="1"/>
                  <a:pt x="6" y="1"/>
                </a:cubicBezTo>
                <a:cubicBezTo>
                  <a:pt x="4" y="0"/>
                  <a:pt x="1" y="2"/>
                  <a:pt x="1" y="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3" name="Freeform 1086">
            <a:extLst>
              <a:ext uri="{FF2B5EF4-FFF2-40B4-BE49-F238E27FC236}">
                <a16:creationId xmlns:a16="http://schemas.microsoft.com/office/drawing/2014/main" id="{2A175773-5CF1-44A3-AB28-B737C41A3EB8}"/>
              </a:ext>
            </a:extLst>
          </p:cNvPr>
          <p:cNvSpPr>
            <a:spLocks/>
          </p:cNvSpPr>
          <p:nvPr/>
        </p:nvSpPr>
        <p:spPr bwMode="auto">
          <a:xfrm>
            <a:off x="7154263" y="5703050"/>
            <a:ext cx="10018" cy="6262"/>
          </a:xfrm>
          <a:custGeom>
            <a:avLst/>
            <a:gdLst>
              <a:gd name="T0" fmla="*/ 6 w 18"/>
              <a:gd name="T1" fmla="*/ 1 h 12"/>
              <a:gd name="T2" fmla="*/ 1 w 18"/>
              <a:gd name="T3" fmla="*/ 4 h 12"/>
              <a:gd name="T4" fmla="*/ 4 w 18"/>
              <a:gd name="T5" fmla="*/ 9 h 12"/>
              <a:gd name="T6" fmla="*/ 13 w 18"/>
              <a:gd name="T7" fmla="*/ 11 h 12"/>
              <a:gd name="T8" fmla="*/ 18 w 18"/>
              <a:gd name="T9" fmla="*/ 8 h 12"/>
              <a:gd name="T10" fmla="*/ 15 w 18"/>
              <a:gd name="T11" fmla="*/ 3 h 12"/>
              <a:gd name="T12" fmla="*/ 6 w 18"/>
              <a:gd name="T13" fmla="*/ 1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" h="12">
                <a:moveTo>
                  <a:pt x="6" y="1"/>
                </a:moveTo>
                <a:cubicBezTo>
                  <a:pt x="4" y="0"/>
                  <a:pt x="1" y="2"/>
                  <a:pt x="1" y="4"/>
                </a:cubicBezTo>
                <a:cubicBezTo>
                  <a:pt x="0" y="6"/>
                  <a:pt x="1" y="9"/>
                  <a:pt x="4" y="9"/>
                </a:cubicBezTo>
                <a:cubicBezTo>
                  <a:pt x="13" y="11"/>
                  <a:pt x="13" y="11"/>
                  <a:pt x="13" y="11"/>
                </a:cubicBezTo>
                <a:cubicBezTo>
                  <a:pt x="15" y="12"/>
                  <a:pt x="17" y="10"/>
                  <a:pt x="18" y="8"/>
                </a:cubicBezTo>
                <a:cubicBezTo>
                  <a:pt x="18" y="6"/>
                  <a:pt x="17" y="3"/>
                  <a:pt x="15" y="3"/>
                </a:cubicBezTo>
                <a:lnTo>
                  <a:pt x="6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4" name="Freeform 1087">
            <a:extLst>
              <a:ext uri="{FF2B5EF4-FFF2-40B4-BE49-F238E27FC236}">
                <a16:creationId xmlns:a16="http://schemas.microsoft.com/office/drawing/2014/main" id="{8F696015-7C75-428C-89ED-3E9C4AD95CEB}"/>
              </a:ext>
            </a:extLst>
          </p:cNvPr>
          <p:cNvSpPr>
            <a:spLocks/>
          </p:cNvSpPr>
          <p:nvPr/>
        </p:nvSpPr>
        <p:spPr bwMode="auto">
          <a:xfrm>
            <a:off x="6913835" y="5616646"/>
            <a:ext cx="118963" cy="136494"/>
          </a:xfrm>
          <a:custGeom>
            <a:avLst/>
            <a:gdLst>
              <a:gd name="T0" fmla="*/ 117 w 228"/>
              <a:gd name="T1" fmla="*/ 250 h 262"/>
              <a:gd name="T2" fmla="*/ 12 w 228"/>
              <a:gd name="T3" fmla="*/ 69 h 262"/>
              <a:gd name="T4" fmla="*/ 84 w 228"/>
              <a:gd name="T5" fmla="*/ 30 h 262"/>
              <a:gd name="T6" fmla="*/ 149 w 228"/>
              <a:gd name="T7" fmla="*/ 184 h 262"/>
              <a:gd name="T8" fmla="*/ 227 w 228"/>
              <a:gd name="T9" fmla="*/ 165 h 262"/>
              <a:gd name="T10" fmla="*/ 228 w 228"/>
              <a:gd name="T11" fmla="*/ 220 h 262"/>
              <a:gd name="T12" fmla="*/ 117 w 228"/>
              <a:gd name="T13" fmla="*/ 250 h 2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28" h="262">
                <a:moveTo>
                  <a:pt x="117" y="250"/>
                </a:moveTo>
                <a:cubicBezTo>
                  <a:pt x="71" y="233"/>
                  <a:pt x="33" y="162"/>
                  <a:pt x="12" y="69"/>
                </a:cubicBezTo>
                <a:cubicBezTo>
                  <a:pt x="0" y="14"/>
                  <a:pt x="78" y="0"/>
                  <a:pt x="84" y="30"/>
                </a:cubicBezTo>
                <a:cubicBezTo>
                  <a:pt x="100" y="117"/>
                  <a:pt x="117" y="170"/>
                  <a:pt x="149" y="184"/>
                </a:cubicBezTo>
                <a:cubicBezTo>
                  <a:pt x="164" y="190"/>
                  <a:pt x="195" y="179"/>
                  <a:pt x="227" y="165"/>
                </a:cubicBezTo>
                <a:cubicBezTo>
                  <a:pt x="228" y="220"/>
                  <a:pt x="228" y="220"/>
                  <a:pt x="228" y="220"/>
                </a:cubicBezTo>
                <a:cubicBezTo>
                  <a:pt x="189" y="245"/>
                  <a:pt x="148" y="262"/>
                  <a:pt x="117" y="250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" name="Freeform 1088">
            <a:extLst>
              <a:ext uri="{FF2B5EF4-FFF2-40B4-BE49-F238E27FC236}">
                <a16:creationId xmlns:a16="http://schemas.microsoft.com/office/drawing/2014/main" id="{1E28D3DF-46FD-4476-8276-2AFCA5E4F370}"/>
              </a:ext>
            </a:extLst>
          </p:cNvPr>
          <p:cNvSpPr>
            <a:spLocks/>
          </p:cNvSpPr>
          <p:nvPr/>
        </p:nvSpPr>
        <p:spPr bwMode="auto">
          <a:xfrm>
            <a:off x="7035301" y="5684267"/>
            <a:ext cx="37567" cy="36315"/>
          </a:xfrm>
          <a:custGeom>
            <a:avLst/>
            <a:gdLst>
              <a:gd name="T0" fmla="*/ 60 w 73"/>
              <a:gd name="T1" fmla="*/ 0 h 68"/>
              <a:gd name="T2" fmla="*/ 73 w 73"/>
              <a:gd name="T3" fmla="*/ 30 h 68"/>
              <a:gd name="T4" fmla="*/ 27 w 73"/>
              <a:gd name="T5" fmla="*/ 68 h 68"/>
              <a:gd name="T6" fmla="*/ 0 w 73"/>
              <a:gd name="T7" fmla="*/ 32 h 68"/>
              <a:gd name="T8" fmla="*/ 60 w 73"/>
              <a:gd name="T9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3" h="68">
                <a:moveTo>
                  <a:pt x="60" y="0"/>
                </a:moveTo>
                <a:cubicBezTo>
                  <a:pt x="65" y="11"/>
                  <a:pt x="69" y="22"/>
                  <a:pt x="73" y="30"/>
                </a:cubicBezTo>
                <a:cubicBezTo>
                  <a:pt x="61" y="42"/>
                  <a:pt x="45" y="55"/>
                  <a:pt x="27" y="68"/>
                </a:cubicBezTo>
                <a:cubicBezTo>
                  <a:pt x="18" y="58"/>
                  <a:pt x="9" y="45"/>
                  <a:pt x="0" y="32"/>
                </a:cubicBezTo>
                <a:cubicBezTo>
                  <a:pt x="22" y="22"/>
                  <a:pt x="44" y="9"/>
                  <a:pt x="60" y="0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" name="Freeform 1089">
            <a:extLst>
              <a:ext uri="{FF2B5EF4-FFF2-40B4-BE49-F238E27FC236}">
                <a16:creationId xmlns:a16="http://schemas.microsoft.com/office/drawing/2014/main" id="{ACADD2AE-12EC-4B4E-9C75-8681B38D8636}"/>
              </a:ext>
            </a:extLst>
          </p:cNvPr>
          <p:cNvSpPr>
            <a:spLocks/>
          </p:cNvSpPr>
          <p:nvPr/>
        </p:nvSpPr>
        <p:spPr bwMode="auto">
          <a:xfrm>
            <a:off x="7075372" y="5672996"/>
            <a:ext cx="10018" cy="11270"/>
          </a:xfrm>
          <a:custGeom>
            <a:avLst/>
            <a:gdLst>
              <a:gd name="T0" fmla="*/ 1 w 19"/>
              <a:gd name="T1" fmla="*/ 18 h 20"/>
              <a:gd name="T2" fmla="*/ 8 w 19"/>
              <a:gd name="T3" fmla="*/ 18 h 20"/>
              <a:gd name="T4" fmla="*/ 18 w 19"/>
              <a:gd name="T5" fmla="*/ 8 h 20"/>
              <a:gd name="T6" fmla="*/ 18 w 19"/>
              <a:gd name="T7" fmla="*/ 2 h 20"/>
              <a:gd name="T8" fmla="*/ 18 w 19"/>
              <a:gd name="T9" fmla="*/ 2 h 20"/>
              <a:gd name="T10" fmla="*/ 12 w 19"/>
              <a:gd name="T11" fmla="*/ 2 h 20"/>
              <a:gd name="T12" fmla="*/ 1 w 19"/>
              <a:gd name="T13" fmla="*/ 12 h 20"/>
              <a:gd name="T14" fmla="*/ 1 w 19"/>
              <a:gd name="T15" fmla="*/ 18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9" h="20">
                <a:moveTo>
                  <a:pt x="1" y="18"/>
                </a:moveTo>
                <a:cubicBezTo>
                  <a:pt x="3" y="20"/>
                  <a:pt x="6" y="20"/>
                  <a:pt x="8" y="18"/>
                </a:cubicBezTo>
                <a:cubicBezTo>
                  <a:pt x="18" y="8"/>
                  <a:pt x="18" y="8"/>
                  <a:pt x="18" y="8"/>
                </a:cubicBezTo>
                <a:cubicBezTo>
                  <a:pt x="19" y="6"/>
                  <a:pt x="19" y="3"/>
                  <a:pt x="18" y="2"/>
                </a:cubicBezTo>
                <a:cubicBezTo>
                  <a:pt x="18" y="2"/>
                  <a:pt x="18" y="2"/>
                  <a:pt x="18" y="2"/>
                </a:cubicBezTo>
                <a:cubicBezTo>
                  <a:pt x="16" y="0"/>
                  <a:pt x="13" y="0"/>
                  <a:pt x="12" y="2"/>
                </a:cubicBezTo>
                <a:cubicBezTo>
                  <a:pt x="1" y="12"/>
                  <a:pt x="1" y="12"/>
                  <a:pt x="1" y="12"/>
                </a:cubicBezTo>
                <a:cubicBezTo>
                  <a:pt x="0" y="13"/>
                  <a:pt x="0" y="16"/>
                  <a:pt x="1" y="1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" name="Freeform 1090">
            <a:extLst>
              <a:ext uri="{FF2B5EF4-FFF2-40B4-BE49-F238E27FC236}">
                <a16:creationId xmlns:a16="http://schemas.microsoft.com/office/drawing/2014/main" id="{5EE4EE45-CB4A-44D3-A9FD-DD0A4CBEE610}"/>
              </a:ext>
            </a:extLst>
          </p:cNvPr>
          <p:cNvSpPr>
            <a:spLocks/>
          </p:cNvSpPr>
          <p:nvPr/>
        </p:nvSpPr>
        <p:spPr bwMode="auto">
          <a:xfrm>
            <a:off x="7071616" y="5670492"/>
            <a:ext cx="27549" cy="17531"/>
          </a:xfrm>
          <a:custGeom>
            <a:avLst/>
            <a:gdLst>
              <a:gd name="T0" fmla="*/ 2 w 22"/>
              <a:gd name="T1" fmla="*/ 0 h 14"/>
              <a:gd name="T2" fmla="*/ 22 w 22"/>
              <a:gd name="T3" fmla="*/ 11 h 14"/>
              <a:gd name="T4" fmla="*/ 21 w 22"/>
              <a:gd name="T5" fmla="*/ 14 h 14"/>
              <a:gd name="T6" fmla="*/ 0 w 22"/>
              <a:gd name="T7" fmla="*/ 4 h 14"/>
              <a:gd name="T8" fmla="*/ 2 w 22"/>
              <a:gd name="T9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" h="14">
                <a:moveTo>
                  <a:pt x="2" y="0"/>
                </a:moveTo>
                <a:lnTo>
                  <a:pt x="22" y="11"/>
                </a:lnTo>
                <a:lnTo>
                  <a:pt x="21" y="14"/>
                </a:lnTo>
                <a:lnTo>
                  <a:pt x="0" y="4"/>
                </a:lnTo>
                <a:lnTo>
                  <a:pt x="2" y="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" name="Freeform 1091">
            <a:extLst>
              <a:ext uri="{FF2B5EF4-FFF2-40B4-BE49-F238E27FC236}">
                <a16:creationId xmlns:a16="http://schemas.microsoft.com/office/drawing/2014/main" id="{4393051D-8A90-46AD-A5EE-5773F321E850}"/>
              </a:ext>
            </a:extLst>
          </p:cNvPr>
          <p:cNvSpPr>
            <a:spLocks/>
          </p:cNvSpPr>
          <p:nvPr/>
        </p:nvSpPr>
        <p:spPr bwMode="auto">
          <a:xfrm>
            <a:off x="7097913" y="5684267"/>
            <a:ext cx="5009" cy="3757"/>
          </a:xfrm>
          <a:custGeom>
            <a:avLst/>
            <a:gdLst>
              <a:gd name="T0" fmla="*/ 4 w 4"/>
              <a:gd name="T1" fmla="*/ 3 h 3"/>
              <a:gd name="T2" fmla="*/ 0 w 4"/>
              <a:gd name="T3" fmla="*/ 3 h 3"/>
              <a:gd name="T4" fmla="*/ 1 w 4"/>
              <a:gd name="T5" fmla="*/ 0 h 3"/>
              <a:gd name="T6" fmla="*/ 4 w 4"/>
              <a:gd name="T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3">
                <a:moveTo>
                  <a:pt x="4" y="3"/>
                </a:moveTo>
                <a:lnTo>
                  <a:pt x="0" y="3"/>
                </a:lnTo>
                <a:lnTo>
                  <a:pt x="1" y="0"/>
                </a:lnTo>
                <a:lnTo>
                  <a:pt x="4" y="3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" name="Freeform 1092">
            <a:extLst>
              <a:ext uri="{FF2B5EF4-FFF2-40B4-BE49-F238E27FC236}">
                <a16:creationId xmlns:a16="http://schemas.microsoft.com/office/drawing/2014/main" id="{B2A7FEAF-CBFF-4A60-9C2F-DF02121AD7D7}"/>
              </a:ext>
            </a:extLst>
          </p:cNvPr>
          <p:cNvSpPr>
            <a:spLocks/>
          </p:cNvSpPr>
          <p:nvPr/>
        </p:nvSpPr>
        <p:spPr bwMode="auto">
          <a:xfrm>
            <a:off x="7075372" y="5678005"/>
            <a:ext cx="12522" cy="18784"/>
          </a:xfrm>
          <a:custGeom>
            <a:avLst/>
            <a:gdLst>
              <a:gd name="T0" fmla="*/ 5 w 23"/>
              <a:gd name="T1" fmla="*/ 36 h 36"/>
              <a:gd name="T2" fmla="*/ 0 w 23"/>
              <a:gd name="T3" fmla="*/ 31 h 36"/>
              <a:gd name="T4" fmla="*/ 0 w 23"/>
              <a:gd name="T5" fmla="*/ 5 h 36"/>
              <a:gd name="T6" fmla="*/ 5 w 23"/>
              <a:gd name="T7" fmla="*/ 0 h 36"/>
              <a:gd name="T8" fmla="*/ 18 w 23"/>
              <a:gd name="T9" fmla="*/ 0 h 36"/>
              <a:gd name="T10" fmla="*/ 23 w 23"/>
              <a:gd name="T11" fmla="*/ 5 h 36"/>
              <a:gd name="T12" fmla="*/ 23 w 23"/>
              <a:gd name="T13" fmla="*/ 31 h 36"/>
              <a:gd name="T14" fmla="*/ 18 w 23"/>
              <a:gd name="T15" fmla="*/ 36 h 36"/>
              <a:gd name="T16" fmla="*/ 5 w 23"/>
              <a:gd name="T17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" h="36">
                <a:moveTo>
                  <a:pt x="5" y="36"/>
                </a:moveTo>
                <a:cubicBezTo>
                  <a:pt x="2" y="36"/>
                  <a:pt x="0" y="34"/>
                  <a:pt x="0" y="31"/>
                </a:cubicBezTo>
                <a:cubicBezTo>
                  <a:pt x="0" y="5"/>
                  <a:pt x="0" y="5"/>
                  <a:pt x="0" y="5"/>
                </a:cubicBezTo>
                <a:cubicBezTo>
                  <a:pt x="0" y="2"/>
                  <a:pt x="2" y="0"/>
                  <a:pt x="5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21" y="0"/>
                  <a:pt x="23" y="2"/>
                  <a:pt x="23" y="5"/>
                </a:cubicBezTo>
                <a:cubicBezTo>
                  <a:pt x="23" y="31"/>
                  <a:pt x="23" y="31"/>
                  <a:pt x="23" y="31"/>
                </a:cubicBezTo>
                <a:cubicBezTo>
                  <a:pt x="23" y="34"/>
                  <a:pt x="21" y="36"/>
                  <a:pt x="18" y="36"/>
                </a:cubicBezTo>
                <a:lnTo>
                  <a:pt x="5" y="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" name="Freeform 1093">
            <a:extLst>
              <a:ext uri="{FF2B5EF4-FFF2-40B4-BE49-F238E27FC236}">
                <a16:creationId xmlns:a16="http://schemas.microsoft.com/office/drawing/2014/main" id="{4652AF6F-4039-4BAE-9C6F-AD979FA02D53}"/>
              </a:ext>
            </a:extLst>
          </p:cNvPr>
          <p:cNvSpPr>
            <a:spLocks/>
          </p:cNvSpPr>
          <p:nvPr/>
        </p:nvSpPr>
        <p:spPr bwMode="auto">
          <a:xfrm>
            <a:off x="7082886" y="5683014"/>
            <a:ext cx="10018" cy="5009"/>
          </a:xfrm>
          <a:custGeom>
            <a:avLst/>
            <a:gdLst>
              <a:gd name="T0" fmla="*/ 4 w 18"/>
              <a:gd name="T1" fmla="*/ 0 h 9"/>
              <a:gd name="T2" fmla="*/ 0 w 18"/>
              <a:gd name="T3" fmla="*/ 5 h 9"/>
              <a:gd name="T4" fmla="*/ 4 w 18"/>
              <a:gd name="T5" fmla="*/ 9 h 9"/>
              <a:gd name="T6" fmla="*/ 13 w 18"/>
              <a:gd name="T7" fmla="*/ 9 h 9"/>
              <a:gd name="T8" fmla="*/ 18 w 18"/>
              <a:gd name="T9" fmla="*/ 5 h 9"/>
              <a:gd name="T10" fmla="*/ 18 w 18"/>
              <a:gd name="T11" fmla="*/ 5 h 9"/>
              <a:gd name="T12" fmla="*/ 13 w 18"/>
              <a:gd name="T13" fmla="*/ 0 h 9"/>
              <a:gd name="T14" fmla="*/ 4 w 18"/>
              <a:gd name="T15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9">
                <a:moveTo>
                  <a:pt x="4" y="0"/>
                </a:moveTo>
                <a:cubicBezTo>
                  <a:pt x="2" y="0"/>
                  <a:pt x="0" y="2"/>
                  <a:pt x="0" y="5"/>
                </a:cubicBezTo>
                <a:cubicBezTo>
                  <a:pt x="0" y="7"/>
                  <a:pt x="2" y="9"/>
                  <a:pt x="4" y="9"/>
                </a:cubicBezTo>
                <a:cubicBezTo>
                  <a:pt x="13" y="9"/>
                  <a:pt x="13" y="9"/>
                  <a:pt x="13" y="9"/>
                </a:cubicBezTo>
                <a:cubicBezTo>
                  <a:pt x="16" y="9"/>
                  <a:pt x="18" y="7"/>
                  <a:pt x="18" y="5"/>
                </a:cubicBezTo>
                <a:cubicBezTo>
                  <a:pt x="18" y="5"/>
                  <a:pt x="18" y="5"/>
                  <a:pt x="18" y="5"/>
                </a:cubicBezTo>
                <a:cubicBezTo>
                  <a:pt x="18" y="2"/>
                  <a:pt x="16" y="0"/>
                  <a:pt x="13" y="0"/>
                </a:cubicBezTo>
                <a:lnTo>
                  <a:pt x="4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" name="Freeform 1094">
            <a:extLst>
              <a:ext uri="{FF2B5EF4-FFF2-40B4-BE49-F238E27FC236}">
                <a16:creationId xmlns:a16="http://schemas.microsoft.com/office/drawing/2014/main" id="{35A5D867-7F88-4418-B11B-4CF03A425CF0}"/>
              </a:ext>
            </a:extLst>
          </p:cNvPr>
          <p:cNvSpPr>
            <a:spLocks/>
          </p:cNvSpPr>
          <p:nvPr/>
        </p:nvSpPr>
        <p:spPr bwMode="auto">
          <a:xfrm>
            <a:off x="7082886" y="5678005"/>
            <a:ext cx="13775" cy="5009"/>
          </a:xfrm>
          <a:custGeom>
            <a:avLst/>
            <a:gdLst>
              <a:gd name="T0" fmla="*/ 4 w 26"/>
              <a:gd name="T1" fmla="*/ 0 h 9"/>
              <a:gd name="T2" fmla="*/ 0 w 26"/>
              <a:gd name="T3" fmla="*/ 5 h 9"/>
              <a:gd name="T4" fmla="*/ 4 w 26"/>
              <a:gd name="T5" fmla="*/ 9 h 9"/>
              <a:gd name="T6" fmla="*/ 22 w 26"/>
              <a:gd name="T7" fmla="*/ 9 h 9"/>
              <a:gd name="T8" fmla="*/ 26 w 26"/>
              <a:gd name="T9" fmla="*/ 5 h 9"/>
              <a:gd name="T10" fmla="*/ 26 w 26"/>
              <a:gd name="T11" fmla="*/ 5 h 9"/>
              <a:gd name="T12" fmla="*/ 22 w 26"/>
              <a:gd name="T13" fmla="*/ 0 h 9"/>
              <a:gd name="T14" fmla="*/ 4 w 26"/>
              <a:gd name="T15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6" h="9">
                <a:moveTo>
                  <a:pt x="4" y="0"/>
                </a:moveTo>
                <a:cubicBezTo>
                  <a:pt x="2" y="0"/>
                  <a:pt x="0" y="2"/>
                  <a:pt x="0" y="5"/>
                </a:cubicBezTo>
                <a:cubicBezTo>
                  <a:pt x="0" y="7"/>
                  <a:pt x="2" y="9"/>
                  <a:pt x="4" y="9"/>
                </a:cubicBezTo>
                <a:cubicBezTo>
                  <a:pt x="22" y="9"/>
                  <a:pt x="22" y="9"/>
                  <a:pt x="22" y="9"/>
                </a:cubicBezTo>
                <a:cubicBezTo>
                  <a:pt x="24" y="9"/>
                  <a:pt x="26" y="7"/>
                  <a:pt x="26" y="5"/>
                </a:cubicBezTo>
                <a:cubicBezTo>
                  <a:pt x="26" y="5"/>
                  <a:pt x="26" y="5"/>
                  <a:pt x="26" y="5"/>
                </a:cubicBezTo>
                <a:cubicBezTo>
                  <a:pt x="26" y="2"/>
                  <a:pt x="24" y="0"/>
                  <a:pt x="22" y="0"/>
                </a:cubicBezTo>
                <a:lnTo>
                  <a:pt x="4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" name="Freeform 1095">
            <a:extLst>
              <a:ext uri="{FF2B5EF4-FFF2-40B4-BE49-F238E27FC236}">
                <a16:creationId xmlns:a16="http://schemas.microsoft.com/office/drawing/2014/main" id="{9A831075-8E5D-4999-9E0D-63D9D4B8C460}"/>
              </a:ext>
            </a:extLst>
          </p:cNvPr>
          <p:cNvSpPr>
            <a:spLocks/>
          </p:cNvSpPr>
          <p:nvPr/>
        </p:nvSpPr>
        <p:spPr bwMode="auto">
          <a:xfrm>
            <a:off x="7082886" y="5688023"/>
            <a:ext cx="10018" cy="5009"/>
          </a:xfrm>
          <a:custGeom>
            <a:avLst/>
            <a:gdLst>
              <a:gd name="T0" fmla="*/ 0 w 18"/>
              <a:gd name="T1" fmla="*/ 4 h 9"/>
              <a:gd name="T2" fmla="*/ 4 w 18"/>
              <a:gd name="T3" fmla="*/ 9 h 9"/>
              <a:gd name="T4" fmla="*/ 13 w 18"/>
              <a:gd name="T5" fmla="*/ 9 h 9"/>
              <a:gd name="T6" fmla="*/ 18 w 18"/>
              <a:gd name="T7" fmla="*/ 4 h 9"/>
              <a:gd name="T8" fmla="*/ 18 w 18"/>
              <a:gd name="T9" fmla="*/ 4 h 9"/>
              <a:gd name="T10" fmla="*/ 13 w 18"/>
              <a:gd name="T11" fmla="*/ 0 h 9"/>
              <a:gd name="T12" fmla="*/ 4 w 18"/>
              <a:gd name="T13" fmla="*/ 0 h 9"/>
              <a:gd name="T14" fmla="*/ 0 w 18"/>
              <a:gd name="T15" fmla="*/ 4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9">
                <a:moveTo>
                  <a:pt x="0" y="4"/>
                </a:moveTo>
                <a:cubicBezTo>
                  <a:pt x="0" y="7"/>
                  <a:pt x="2" y="9"/>
                  <a:pt x="4" y="9"/>
                </a:cubicBezTo>
                <a:cubicBezTo>
                  <a:pt x="13" y="9"/>
                  <a:pt x="13" y="9"/>
                  <a:pt x="13" y="9"/>
                </a:cubicBezTo>
                <a:cubicBezTo>
                  <a:pt x="16" y="9"/>
                  <a:pt x="18" y="7"/>
                  <a:pt x="18" y="4"/>
                </a:cubicBezTo>
                <a:cubicBezTo>
                  <a:pt x="18" y="4"/>
                  <a:pt x="18" y="4"/>
                  <a:pt x="18" y="4"/>
                </a:cubicBezTo>
                <a:cubicBezTo>
                  <a:pt x="18" y="2"/>
                  <a:pt x="16" y="0"/>
                  <a:pt x="13" y="0"/>
                </a:cubicBez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" name="Freeform 1096">
            <a:extLst>
              <a:ext uri="{FF2B5EF4-FFF2-40B4-BE49-F238E27FC236}">
                <a16:creationId xmlns:a16="http://schemas.microsoft.com/office/drawing/2014/main" id="{45F20FD7-B5FA-4A66-A8CA-1C956F66A825}"/>
              </a:ext>
            </a:extLst>
          </p:cNvPr>
          <p:cNvSpPr>
            <a:spLocks/>
          </p:cNvSpPr>
          <p:nvPr/>
        </p:nvSpPr>
        <p:spPr bwMode="auto">
          <a:xfrm>
            <a:off x="7082886" y="5693032"/>
            <a:ext cx="10018" cy="3757"/>
          </a:xfrm>
          <a:custGeom>
            <a:avLst/>
            <a:gdLst>
              <a:gd name="T0" fmla="*/ 4 w 18"/>
              <a:gd name="T1" fmla="*/ 0 h 9"/>
              <a:gd name="T2" fmla="*/ 0 w 18"/>
              <a:gd name="T3" fmla="*/ 4 h 9"/>
              <a:gd name="T4" fmla="*/ 4 w 18"/>
              <a:gd name="T5" fmla="*/ 9 h 9"/>
              <a:gd name="T6" fmla="*/ 13 w 18"/>
              <a:gd name="T7" fmla="*/ 9 h 9"/>
              <a:gd name="T8" fmla="*/ 18 w 18"/>
              <a:gd name="T9" fmla="*/ 4 h 9"/>
              <a:gd name="T10" fmla="*/ 13 w 18"/>
              <a:gd name="T11" fmla="*/ 0 h 9"/>
              <a:gd name="T12" fmla="*/ 4 w 18"/>
              <a:gd name="T13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" h="9">
                <a:moveTo>
                  <a:pt x="4" y="0"/>
                </a:moveTo>
                <a:cubicBezTo>
                  <a:pt x="2" y="0"/>
                  <a:pt x="0" y="2"/>
                  <a:pt x="0" y="4"/>
                </a:cubicBezTo>
                <a:cubicBezTo>
                  <a:pt x="0" y="7"/>
                  <a:pt x="2" y="9"/>
                  <a:pt x="4" y="9"/>
                </a:cubicBezTo>
                <a:cubicBezTo>
                  <a:pt x="13" y="9"/>
                  <a:pt x="13" y="9"/>
                  <a:pt x="13" y="9"/>
                </a:cubicBezTo>
                <a:cubicBezTo>
                  <a:pt x="16" y="9"/>
                  <a:pt x="18" y="7"/>
                  <a:pt x="18" y="4"/>
                </a:cubicBezTo>
                <a:cubicBezTo>
                  <a:pt x="18" y="2"/>
                  <a:pt x="16" y="0"/>
                  <a:pt x="13" y="0"/>
                </a:cubicBezTo>
                <a:lnTo>
                  <a:pt x="4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" name="Freeform 1097">
            <a:extLst>
              <a:ext uri="{FF2B5EF4-FFF2-40B4-BE49-F238E27FC236}">
                <a16:creationId xmlns:a16="http://schemas.microsoft.com/office/drawing/2014/main" id="{818AD1B0-8710-45DB-88DB-F6632CCF1371}"/>
              </a:ext>
            </a:extLst>
          </p:cNvPr>
          <p:cNvSpPr>
            <a:spLocks/>
          </p:cNvSpPr>
          <p:nvPr/>
        </p:nvSpPr>
        <p:spPr bwMode="auto">
          <a:xfrm>
            <a:off x="6913835" y="5612889"/>
            <a:ext cx="161539" cy="141503"/>
          </a:xfrm>
          <a:custGeom>
            <a:avLst/>
            <a:gdLst>
              <a:gd name="T0" fmla="*/ 14 w 313"/>
              <a:gd name="T1" fmla="*/ 77 h 271"/>
              <a:gd name="T2" fmla="*/ 121 w 313"/>
              <a:gd name="T3" fmla="*/ 255 h 271"/>
              <a:gd name="T4" fmla="*/ 313 w 313"/>
              <a:gd name="T5" fmla="*/ 157 h 271"/>
              <a:gd name="T6" fmla="*/ 313 w 313"/>
              <a:gd name="T7" fmla="*/ 131 h 271"/>
              <a:gd name="T8" fmla="*/ 149 w 313"/>
              <a:gd name="T9" fmla="*/ 195 h 271"/>
              <a:gd name="T10" fmla="*/ 86 w 313"/>
              <a:gd name="T11" fmla="*/ 38 h 271"/>
              <a:gd name="T12" fmla="*/ 14 w 313"/>
              <a:gd name="T13" fmla="*/ 77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3" h="271">
                <a:moveTo>
                  <a:pt x="14" y="77"/>
                </a:moveTo>
                <a:cubicBezTo>
                  <a:pt x="35" y="169"/>
                  <a:pt x="76" y="238"/>
                  <a:pt x="121" y="255"/>
                </a:cubicBezTo>
                <a:cubicBezTo>
                  <a:pt x="166" y="271"/>
                  <a:pt x="244" y="222"/>
                  <a:pt x="313" y="157"/>
                </a:cubicBezTo>
                <a:cubicBezTo>
                  <a:pt x="313" y="131"/>
                  <a:pt x="313" y="131"/>
                  <a:pt x="313" y="131"/>
                </a:cubicBezTo>
                <a:cubicBezTo>
                  <a:pt x="264" y="162"/>
                  <a:pt x="179" y="208"/>
                  <a:pt x="149" y="195"/>
                </a:cubicBezTo>
                <a:cubicBezTo>
                  <a:pt x="115" y="181"/>
                  <a:pt x="102" y="125"/>
                  <a:pt x="86" y="38"/>
                </a:cubicBezTo>
                <a:cubicBezTo>
                  <a:pt x="79" y="0"/>
                  <a:pt x="0" y="13"/>
                  <a:pt x="14" y="77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" name="Freeform 1098">
            <a:extLst>
              <a:ext uri="{FF2B5EF4-FFF2-40B4-BE49-F238E27FC236}">
                <a16:creationId xmlns:a16="http://schemas.microsoft.com/office/drawing/2014/main" id="{3BD2B0A5-1FE9-4A53-8D6F-2DD531F7DEDD}"/>
              </a:ext>
            </a:extLst>
          </p:cNvPr>
          <p:cNvSpPr>
            <a:spLocks/>
          </p:cNvSpPr>
          <p:nvPr/>
        </p:nvSpPr>
        <p:spPr bwMode="auto">
          <a:xfrm>
            <a:off x="6729756" y="5620403"/>
            <a:ext cx="98927" cy="214132"/>
          </a:xfrm>
          <a:custGeom>
            <a:avLst/>
            <a:gdLst>
              <a:gd name="T0" fmla="*/ 159 w 190"/>
              <a:gd name="T1" fmla="*/ 0 h 413"/>
              <a:gd name="T2" fmla="*/ 190 w 190"/>
              <a:gd name="T3" fmla="*/ 408 h 413"/>
              <a:gd name="T4" fmla="*/ 0 w 190"/>
              <a:gd name="T5" fmla="*/ 413 h 413"/>
              <a:gd name="T6" fmla="*/ 74 w 190"/>
              <a:gd name="T7" fmla="*/ 0 h 413"/>
              <a:gd name="T8" fmla="*/ 159 w 190"/>
              <a:gd name="T9" fmla="*/ 0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0" h="413">
                <a:moveTo>
                  <a:pt x="159" y="0"/>
                </a:moveTo>
                <a:cubicBezTo>
                  <a:pt x="190" y="408"/>
                  <a:pt x="190" y="408"/>
                  <a:pt x="190" y="408"/>
                </a:cubicBezTo>
                <a:cubicBezTo>
                  <a:pt x="136" y="409"/>
                  <a:pt x="54" y="412"/>
                  <a:pt x="0" y="413"/>
                </a:cubicBezTo>
                <a:cubicBezTo>
                  <a:pt x="74" y="0"/>
                  <a:pt x="74" y="0"/>
                  <a:pt x="74" y="0"/>
                </a:cubicBezTo>
                <a:lnTo>
                  <a:pt x="159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" name="Freeform 1099">
            <a:extLst>
              <a:ext uri="{FF2B5EF4-FFF2-40B4-BE49-F238E27FC236}">
                <a16:creationId xmlns:a16="http://schemas.microsoft.com/office/drawing/2014/main" id="{92D2211F-125A-44E6-A34B-04F6F4D24036}"/>
              </a:ext>
            </a:extLst>
          </p:cNvPr>
          <p:cNvSpPr>
            <a:spLocks/>
          </p:cNvSpPr>
          <p:nvPr/>
        </p:nvSpPr>
        <p:spPr bwMode="auto">
          <a:xfrm>
            <a:off x="6787359" y="5622907"/>
            <a:ext cx="31306" cy="117710"/>
          </a:xfrm>
          <a:custGeom>
            <a:avLst/>
            <a:gdLst>
              <a:gd name="T0" fmla="*/ 14 w 59"/>
              <a:gd name="T1" fmla="*/ 15 h 227"/>
              <a:gd name="T2" fmla="*/ 31 w 59"/>
              <a:gd name="T3" fmla="*/ 13 h 227"/>
              <a:gd name="T4" fmla="*/ 59 w 59"/>
              <a:gd name="T5" fmla="*/ 197 h 227"/>
              <a:gd name="T6" fmla="*/ 31 w 59"/>
              <a:gd name="T7" fmla="*/ 227 h 227"/>
              <a:gd name="T8" fmla="*/ 2 w 59"/>
              <a:gd name="T9" fmla="*/ 198 h 227"/>
              <a:gd name="T10" fmla="*/ 14 w 59"/>
              <a:gd name="T11" fmla="*/ 15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9" h="227">
                <a:moveTo>
                  <a:pt x="14" y="15"/>
                </a:moveTo>
                <a:cubicBezTo>
                  <a:pt x="15" y="1"/>
                  <a:pt x="30" y="0"/>
                  <a:pt x="31" y="13"/>
                </a:cubicBezTo>
                <a:cubicBezTo>
                  <a:pt x="32" y="48"/>
                  <a:pt x="44" y="123"/>
                  <a:pt x="59" y="197"/>
                </a:cubicBezTo>
                <a:cubicBezTo>
                  <a:pt x="48" y="209"/>
                  <a:pt x="31" y="227"/>
                  <a:pt x="31" y="227"/>
                </a:cubicBezTo>
                <a:cubicBezTo>
                  <a:pt x="31" y="227"/>
                  <a:pt x="9" y="206"/>
                  <a:pt x="2" y="198"/>
                </a:cubicBezTo>
                <a:cubicBezTo>
                  <a:pt x="0" y="126"/>
                  <a:pt x="12" y="62"/>
                  <a:pt x="14" y="15"/>
                </a:cubicBez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" name="Freeform 1100">
            <a:extLst>
              <a:ext uri="{FF2B5EF4-FFF2-40B4-BE49-F238E27FC236}">
                <a16:creationId xmlns:a16="http://schemas.microsoft.com/office/drawing/2014/main" id="{35F0CDDB-B9E1-45A8-AF27-0304948B874A}"/>
              </a:ext>
            </a:extLst>
          </p:cNvPr>
          <p:cNvSpPr>
            <a:spLocks/>
          </p:cNvSpPr>
          <p:nvPr/>
        </p:nvSpPr>
        <p:spPr bwMode="auto">
          <a:xfrm>
            <a:off x="6792368" y="5619151"/>
            <a:ext cx="13775" cy="11270"/>
          </a:xfrm>
          <a:custGeom>
            <a:avLst/>
            <a:gdLst>
              <a:gd name="T0" fmla="*/ 0 w 11"/>
              <a:gd name="T1" fmla="*/ 0 h 9"/>
              <a:gd name="T2" fmla="*/ 9 w 11"/>
              <a:gd name="T3" fmla="*/ 0 h 9"/>
              <a:gd name="T4" fmla="*/ 11 w 11"/>
              <a:gd name="T5" fmla="*/ 8 h 9"/>
              <a:gd name="T6" fmla="*/ 1 w 11"/>
              <a:gd name="T7" fmla="*/ 9 h 9"/>
              <a:gd name="T8" fmla="*/ 0 w 11"/>
              <a:gd name="T9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" h="9">
                <a:moveTo>
                  <a:pt x="0" y="0"/>
                </a:moveTo>
                <a:lnTo>
                  <a:pt x="9" y="0"/>
                </a:lnTo>
                <a:lnTo>
                  <a:pt x="11" y="8"/>
                </a:lnTo>
                <a:lnTo>
                  <a:pt x="1" y="9"/>
                </a:lnTo>
                <a:lnTo>
                  <a:pt x="0" y="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" name="Freeform 1101">
            <a:extLst>
              <a:ext uri="{FF2B5EF4-FFF2-40B4-BE49-F238E27FC236}">
                <a16:creationId xmlns:a16="http://schemas.microsoft.com/office/drawing/2014/main" id="{2E73F651-ADE9-4A1B-B98C-D0EABF9B2E9D}"/>
              </a:ext>
            </a:extLst>
          </p:cNvPr>
          <p:cNvSpPr>
            <a:spLocks/>
          </p:cNvSpPr>
          <p:nvPr/>
        </p:nvSpPr>
        <p:spPr bwMode="auto">
          <a:xfrm>
            <a:off x="6811151" y="6032388"/>
            <a:ext cx="31306" cy="10018"/>
          </a:xfrm>
          <a:custGeom>
            <a:avLst/>
            <a:gdLst>
              <a:gd name="T0" fmla="*/ 25 w 61"/>
              <a:gd name="T1" fmla="*/ 0 h 19"/>
              <a:gd name="T2" fmla="*/ 46 w 61"/>
              <a:gd name="T3" fmla="*/ 5 h 19"/>
              <a:gd name="T4" fmla="*/ 50 w 61"/>
              <a:gd name="T5" fmla="*/ 14 h 19"/>
              <a:gd name="T6" fmla="*/ 17 w 61"/>
              <a:gd name="T7" fmla="*/ 13 h 19"/>
              <a:gd name="T8" fmla="*/ 17 w 61"/>
              <a:gd name="T9" fmla="*/ 17 h 19"/>
              <a:gd name="T10" fmla="*/ 0 w 61"/>
              <a:gd name="T11" fmla="*/ 18 h 19"/>
              <a:gd name="T12" fmla="*/ 1 w 61"/>
              <a:gd name="T13" fmla="*/ 0 h 19"/>
              <a:gd name="T14" fmla="*/ 25 w 61"/>
              <a:gd name="T15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1" h="19">
                <a:moveTo>
                  <a:pt x="25" y="0"/>
                </a:moveTo>
                <a:cubicBezTo>
                  <a:pt x="27" y="4"/>
                  <a:pt x="38" y="6"/>
                  <a:pt x="46" y="5"/>
                </a:cubicBezTo>
                <a:cubicBezTo>
                  <a:pt x="52" y="4"/>
                  <a:pt x="61" y="10"/>
                  <a:pt x="50" y="14"/>
                </a:cubicBezTo>
                <a:cubicBezTo>
                  <a:pt x="36" y="19"/>
                  <a:pt x="22" y="18"/>
                  <a:pt x="17" y="13"/>
                </a:cubicBezTo>
                <a:cubicBezTo>
                  <a:pt x="17" y="15"/>
                  <a:pt x="17" y="17"/>
                  <a:pt x="17" y="17"/>
                </a:cubicBezTo>
                <a:cubicBezTo>
                  <a:pt x="0" y="18"/>
                  <a:pt x="0" y="18"/>
                  <a:pt x="0" y="18"/>
                </a:cubicBezTo>
                <a:cubicBezTo>
                  <a:pt x="1" y="0"/>
                  <a:pt x="1" y="0"/>
                  <a:pt x="1" y="0"/>
                </a:cubicBezTo>
                <a:lnTo>
                  <a:pt x="25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" name="Freeform 1102">
            <a:extLst>
              <a:ext uri="{FF2B5EF4-FFF2-40B4-BE49-F238E27FC236}">
                <a16:creationId xmlns:a16="http://schemas.microsoft.com/office/drawing/2014/main" id="{050F56D9-F339-4C71-B8A6-49C5A6A6B1A7}"/>
              </a:ext>
            </a:extLst>
          </p:cNvPr>
          <p:cNvSpPr>
            <a:spLocks/>
          </p:cNvSpPr>
          <p:nvPr/>
        </p:nvSpPr>
        <p:spPr bwMode="auto">
          <a:xfrm>
            <a:off x="6761062" y="5786950"/>
            <a:ext cx="70125" cy="241681"/>
          </a:xfrm>
          <a:custGeom>
            <a:avLst/>
            <a:gdLst>
              <a:gd name="T0" fmla="*/ 131 w 135"/>
              <a:gd name="T1" fmla="*/ 76 h 464"/>
              <a:gd name="T2" fmla="*/ 122 w 135"/>
              <a:gd name="T3" fmla="*/ 463 h 464"/>
              <a:gd name="T4" fmla="*/ 98 w 135"/>
              <a:gd name="T5" fmla="*/ 464 h 464"/>
              <a:gd name="T6" fmla="*/ 21 w 135"/>
              <a:gd name="T7" fmla="*/ 76 h 464"/>
              <a:gd name="T8" fmla="*/ 131 w 135"/>
              <a:gd name="T9" fmla="*/ 76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" h="464">
                <a:moveTo>
                  <a:pt x="131" y="76"/>
                </a:moveTo>
                <a:cubicBezTo>
                  <a:pt x="135" y="214"/>
                  <a:pt x="131" y="346"/>
                  <a:pt x="122" y="463"/>
                </a:cubicBezTo>
                <a:cubicBezTo>
                  <a:pt x="116" y="463"/>
                  <a:pt x="122" y="463"/>
                  <a:pt x="98" y="464"/>
                </a:cubicBezTo>
                <a:cubicBezTo>
                  <a:pt x="93" y="337"/>
                  <a:pt x="57" y="199"/>
                  <a:pt x="21" y="76"/>
                </a:cubicBezTo>
                <a:cubicBezTo>
                  <a:pt x="0" y="3"/>
                  <a:pt x="128" y="0"/>
                  <a:pt x="131" y="76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" name="Freeform 1103">
            <a:extLst>
              <a:ext uri="{FF2B5EF4-FFF2-40B4-BE49-F238E27FC236}">
                <a16:creationId xmlns:a16="http://schemas.microsoft.com/office/drawing/2014/main" id="{80ECAEBE-5F92-4580-8915-D430A1366001}"/>
              </a:ext>
            </a:extLst>
          </p:cNvPr>
          <p:cNvSpPr>
            <a:spLocks/>
          </p:cNvSpPr>
          <p:nvPr/>
        </p:nvSpPr>
        <p:spPr bwMode="auto">
          <a:xfrm>
            <a:off x="6736017" y="6034892"/>
            <a:ext cx="31306" cy="10018"/>
          </a:xfrm>
          <a:custGeom>
            <a:avLst/>
            <a:gdLst>
              <a:gd name="T0" fmla="*/ 25 w 62"/>
              <a:gd name="T1" fmla="*/ 0 h 20"/>
              <a:gd name="T2" fmla="*/ 46 w 62"/>
              <a:gd name="T3" fmla="*/ 5 h 20"/>
              <a:gd name="T4" fmla="*/ 50 w 62"/>
              <a:gd name="T5" fmla="*/ 15 h 20"/>
              <a:gd name="T6" fmla="*/ 18 w 62"/>
              <a:gd name="T7" fmla="*/ 13 h 20"/>
              <a:gd name="T8" fmla="*/ 18 w 62"/>
              <a:gd name="T9" fmla="*/ 18 h 20"/>
              <a:gd name="T10" fmla="*/ 0 w 62"/>
              <a:gd name="T11" fmla="*/ 18 h 20"/>
              <a:gd name="T12" fmla="*/ 2 w 62"/>
              <a:gd name="T13" fmla="*/ 1 h 20"/>
              <a:gd name="T14" fmla="*/ 25 w 62"/>
              <a:gd name="T15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2" h="20">
                <a:moveTo>
                  <a:pt x="25" y="0"/>
                </a:moveTo>
                <a:cubicBezTo>
                  <a:pt x="27" y="4"/>
                  <a:pt x="38" y="6"/>
                  <a:pt x="46" y="5"/>
                </a:cubicBezTo>
                <a:cubicBezTo>
                  <a:pt x="53" y="4"/>
                  <a:pt x="62" y="11"/>
                  <a:pt x="50" y="15"/>
                </a:cubicBezTo>
                <a:cubicBezTo>
                  <a:pt x="37" y="20"/>
                  <a:pt x="22" y="18"/>
                  <a:pt x="18" y="13"/>
                </a:cubicBezTo>
                <a:cubicBezTo>
                  <a:pt x="18" y="15"/>
                  <a:pt x="18" y="18"/>
                  <a:pt x="18" y="18"/>
                </a:cubicBezTo>
                <a:cubicBezTo>
                  <a:pt x="0" y="18"/>
                  <a:pt x="0" y="18"/>
                  <a:pt x="0" y="18"/>
                </a:cubicBezTo>
                <a:cubicBezTo>
                  <a:pt x="2" y="1"/>
                  <a:pt x="2" y="1"/>
                  <a:pt x="2" y="1"/>
                </a:cubicBezTo>
                <a:lnTo>
                  <a:pt x="25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" name="Freeform 1104">
            <a:extLst>
              <a:ext uri="{FF2B5EF4-FFF2-40B4-BE49-F238E27FC236}">
                <a16:creationId xmlns:a16="http://schemas.microsoft.com/office/drawing/2014/main" id="{E440E515-EB33-4B5F-B761-2B920429ADB7}"/>
              </a:ext>
            </a:extLst>
          </p:cNvPr>
          <p:cNvSpPr>
            <a:spLocks/>
          </p:cNvSpPr>
          <p:nvPr/>
        </p:nvSpPr>
        <p:spPr bwMode="auto">
          <a:xfrm>
            <a:off x="6717233" y="5788202"/>
            <a:ext cx="67621" cy="241681"/>
          </a:xfrm>
          <a:custGeom>
            <a:avLst/>
            <a:gdLst>
              <a:gd name="T0" fmla="*/ 119 w 129"/>
              <a:gd name="T1" fmla="*/ 76 h 465"/>
              <a:gd name="T2" fmla="*/ 60 w 129"/>
              <a:gd name="T3" fmla="*/ 464 h 465"/>
              <a:gd name="T4" fmla="*/ 36 w 129"/>
              <a:gd name="T5" fmla="*/ 465 h 465"/>
              <a:gd name="T6" fmla="*/ 10 w 129"/>
              <a:gd name="T7" fmla="*/ 76 h 465"/>
              <a:gd name="T8" fmla="*/ 119 w 129"/>
              <a:gd name="T9" fmla="*/ 76 h 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465">
                <a:moveTo>
                  <a:pt x="119" y="76"/>
                </a:moveTo>
                <a:cubicBezTo>
                  <a:pt x="99" y="230"/>
                  <a:pt x="70" y="348"/>
                  <a:pt x="60" y="464"/>
                </a:cubicBezTo>
                <a:cubicBezTo>
                  <a:pt x="54" y="465"/>
                  <a:pt x="60" y="464"/>
                  <a:pt x="36" y="465"/>
                </a:cubicBezTo>
                <a:cubicBezTo>
                  <a:pt x="32" y="339"/>
                  <a:pt x="29" y="220"/>
                  <a:pt x="10" y="76"/>
                </a:cubicBezTo>
                <a:cubicBezTo>
                  <a:pt x="0" y="0"/>
                  <a:pt x="129" y="1"/>
                  <a:pt x="119" y="76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" name="Freeform 1105">
            <a:extLst>
              <a:ext uri="{FF2B5EF4-FFF2-40B4-BE49-F238E27FC236}">
                <a16:creationId xmlns:a16="http://schemas.microsoft.com/office/drawing/2014/main" id="{66A2F768-246D-479F-8711-1843224EC9DE}"/>
              </a:ext>
            </a:extLst>
          </p:cNvPr>
          <p:cNvSpPr>
            <a:spLocks/>
          </p:cNvSpPr>
          <p:nvPr/>
        </p:nvSpPr>
        <p:spPr bwMode="auto">
          <a:xfrm>
            <a:off x="6714729" y="5620403"/>
            <a:ext cx="123972" cy="350625"/>
          </a:xfrm>
          <a:custGeom>
            <a:avLst/>
            <a:gdLst>
              <a:gd name="T0" fmla="*/ 1 w 239"/>
              <a:gd name="T1" fmla="*/ 394 h 675"/>
              <a:gd name="T2" fmla="*/ 9 w 239"/>
              <a:gd name="T3" fmla="*/ 0 h 675"/>
              <a:gd name="T4" fmla="*/ 105 w 239"/>
              <a:gd name="T5" fmla="*/ 0 h 675"/>
              <a:gd name="T6" fmla="*/ 176 w 239"/>
              <a:gd name="T7" fmla="*/ 210 h 675"/>
              <a:gd name="T8" fmla="*/ 190 w 239"/>
              <a:gd name="T9" fmla="*/ 0 h 675"/>
              <a:gd name="T10" fmla="*/ 229 w 239"/>
              <a:gd name="T11" fmla="*/ 0 h 675"/>
              <a:gd name="T12" fmla="*/ 235 w 239"/>
              <a:gd name="T13" fmla="*/ 408 h 675"/>
              <a:gd name="T14" fmla="*/ 227 w 239"/>
              <a:gd name="T15" fmla="*/ 663 h 675"/>
              <a:gd name="T16" fmla="*/ 155 w 239"/>
              <a:gd name="T17" fmla="*/ 669 h 675"/>
              <a:gd name="T18" fmla="*/ 134 w 239"/>
              <a:gd name="T19" fmla="*/ 510 h 675"/>
              <a:gd name="T20" fmla="*/ 118 w 239"/>
              <a:gd name="T21" fmla="*/ 669 h 675"/>
              <a:gd name="T22" fmla="*/ 24 w 239"/>
              <a:gd name="T23" fmla="*/ 675 h 675"/>
              <a:gd name="T24" fmla="*/ 1 w 239"/>
              <a:gd name="T25" fmla="*/ 394 h 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39" h="675">
                <a:moveTo>
                  <a:pt x="1" y="394"/>
                </a:moveTo>
                <a:cubicBezTo>
                  <a:pt x="0" y="372"/>
                  <a:pt x="9" y="0"/>
                  <a:pt x="9" y="0"/>
                </a:cubicBezTo>
                <a:cubicBezTo>
                  <a:pt x="105" y="0"/>
                  <a:pt x="105" y="0"/>
                  <a:pt x="105" y="0"/>
                </a:cubicBezTo>
                <a:cubicBezTo>
                  <a:pt x="105" y="0"/>
                  <a:pt x="169" y="187"/>
                  <a:pt x="176" y="210"/>
                </a:cubicBezTo>
                <a:cubicBezTo>
                  <a:pt x="190" y="0"/>
                  <a:pt x="190" y="0"/>
                  <a:pt x="190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29" y="0"/>
                  <a:pt x="231" y="356"/>
                  <a:pt x="235" y="408"/>
                </a:cubicBezTo>
                <a:cubicBezTo>
                  <a:pt x="239" y="461"/>
                  <a:pt x="227" y="663"/>
                  <a:pt x="227" y="663"/>
                </a:cubicBezTo>
                <a:cubicBezTo>
                  <a:pt x="155" y="669"/>
                  <a:pt x="155" y="669"/>
                  <a:pt x="155" y="669"/>
                </a:cubicBezTo>
                <a:cubicBezTo>
                  <a:pt x="134" y="510"/>
                  <a:pt x="134" y="510"/>
                  <a:pt x="134" y="510"/>
                </a:cubicBezTo>
                <a:cubicBezTo>
                  <a:pt x="118" y="669"/>
                  <a:pt x="118" y="669"/>
                  <a:pt x="118" y="669"/>
                </a:cubicBezTo>
                <a:cubicBezTo>
                  <a:pt x="24" y="675"/>
                  <a:pt x="24" y="675"/>
                  <a:pt x="24" y="675"/>
                </a:cubicBezTo>
                <a:cubicBezTo>
                  <a:pt x="24" y="675"/>
                  <a:pt x="2" y="416"/>
                  <a:pt x="1" y="39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" name="Freeform 1106">
            <a:extLst>
              <a:ext uri="{FF2B5EF4-FFF2-40B4-BE49-F238E27FC236}">
                <a16:creationId xmlns:a16="http://schemas.microsoft.com/office/drawing/2014/main" id="{83A0F5B7-A6BC-4508-93CF-00B95E1F47A1}"/>
              </a:ext>
            </a:extLst>
          </p:cNvPr>
          <p:cNvSpPr>
            <a:spLocks/>
          </p:cNvSpPr>
          <p:nvPr/>
        </p:nvSpPr>
        <p:spPr bwMode="auto">
          <a:xfrm>
            <a:off x="6768575" y="5565304"/>
            <a:ext cx="53846" cy="55098"/>
          </a:xfrm>
          <a:custGeom>
            <a:avLst/>
            <a:gdLst>
              <a:gd name="T0" fmla="*/ 95 w 103"/>
              <a:gd name="T1" fmla="*/ 26 h 104"/>
              <a:gd name="T2" fmla="*/ 62 w 103"/>
              <a:gd name="T3" fmla="*/ 1 h 104"/>
              <a:gd name="T4" fmla="*/ 29 w 103"/>
              <a:gd name="T5" fmla="*/ 28 h 104"/>
              <a:gd name="T6" fmla="*/ 0 w 103"/>
              <a:gd name="T7" fmla="*/ 104 h 104"/>
              <a:gd name="T8" fmla="*/ 85 w 103"/>
              <a:gd name="T9" fmla="*/ 104 h 104"/>
              <a:gd name="T10" fmla="*/ 90 w 103"/>
              <a:gd name="T11" fmla="*/ 72 h 104"/>
              <a:gd name="T12" fmla="*/ 91 w 103"/>
              <a:gd name="T13" fmla="*/ 63 h 104"/>
              <a:gd name="T14" fmla="*/ 94 w 103"/>
              <a:gd name="T15" fmla="*/ 57 h 104"/>
              <a:gd name="T16" fmla="*/ 94 w 103"/>
              <a:gd name="T17" fmla="*/ 49 h 104"/>
              <a:gd name="T18" fmla="*/ 103 w 103"/>
              <a:gd name="T19" fmla="*/ 50 h 104"/>
              <a:gd name="T20" fmla="*/ 95 w 103"/>
              <a:gd name="T21" fmla="*/ 26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3" h="104">
                <a:moveTo>
                  <a:pt x="95" y="26"/>
                </a:moveTo>
                <a:cubicBezTo>
                  <a:pt x="91" y="12"/>
                  <a:pt x="80" y="3"/>
                  <a:pt x="62" y="1"/>
                </a:cubicBezTo>
                <a:cubicBezTo>
                  <a:pt x="43" y="0"/>
                  <a:pt x="35" y="6"/>
                  <a:pt x="29" y="28"/>
                </a:cubicBezTo>
                <a:cubicBezTo>
                  <a:pt x="26" y="40"/>
                  <a:pt x="4" y="89"/>
                  <a:pt x="0" y="104"/>
                </a:cubicBezTo>
                <a:cubicBezTo>
                  <a:pt x="85" y="104"/>
                  <a:pt x="85" y="104"/>
                  <a:pt x="85" y="104"/>
                </a:cubicBezTo>
                <a:cubicBezTo>
                  <a:pt x="86" y="95"/>
                  <a:pt x="88" y="82"/>
                  <a:pt x="90" y="72"/>
                </a:cubicBezTo>
                <a:cubicBezTo>
                  <a:pt x="92" y="69"/>
                  <a:pt x="94" y="65"/>
                  <a:pt x="91" y="63"/>
                </a:cubicBezTo>
                <a:cubicBezTo>
                  <a:pt x="94" y="61"/>
                  <a:pt x="95" y="60"/>
                  <a:pt x="94" y="57"/>
                </a:cubicBezTo>
                <a:cubicBezTo>
                  <a:pt x="93" y="55"/>
                  <a:pt x="94" y="49"/>
                  <a:pt x="94" y="49"/>
                </a:cubicBezTo>
                <a:cubicBezTo>
                  <a:pt x="103" y="50"/>
                  <a:pt x="103" y="50"/>
                  <a:pt x="103" y="50"/>
                </a:cubicBezTo>
                <a:cubicBezTo>
                  <a:pt x="103" y="50"/>
                  <a:pt x="100" y="39"/>
                  <a:pt x="95" y="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" name="Freeform 1107">
            <a:extLst>
              <a:ext uri="{FF2B5EF4-FFF2-40B4-BE49-F238E27FC236}">
                <a16:creationId xmlns:a16="http://schemas.microsoft.com/office/drawing/2014/main" id="{45AC889F-DC14-432A-849A-FF726174D41A}"/>
              </a:ext>
            </a:extLst>
          </p:cNvPr>
          <p:cNvSpPr>
            <a:spLocks/>
          </p:cNvSpPr>
          <p:nvPr/>
        </p:nvSpPr>
        <p:spPr bwMode="auto">
          <a:xfrm>
            <a:off x="6811151" y="5580331"/>
            <a:ext cx="3757" cy="3757"/>
          </a:xfrm>
          <a:custGeom>
            <a:avLst/>
            <a:gdLst>
              <a:gd name="T0" fmla="*/ 8 w 9"/>
              <a:gd name="T1" fmla="*/ 4 h 9"/>
              <a:gd name="T2" fmla="*/ 5 w 9"/>
              <a:gd name="T3" fmla="*/ 8 h 9"/>
              <a:gd name="T4" fmla="*/ 1 w 9"/>
              <a:gd name="T5" fmla="*/ 6 h 9"/>
              <a:gd name="T6" fmla="*/ 3 w 9"/>
              <a:gd name="T7" fmla="*/ 1 h 9"/>
              <a:gd name="T8" fmla="*/ 8 w 9"/>
              <a:gd name="T9" fmla="*/ 4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9">
                <a:moveTo>
                  <a:pt x="8" y="4"/>
                </a:moveTo>
                <a:cubicBezTo>
                  <a:pt x="9" y="6"/>
                  <a:pt x="7" y="8"/>
                  <a:pt x="5" y="8"/>
                </a:cubicBezTo>
                <a:cubicBezTo>
                  <a:pt x="3" y="9"/>
                  <a:pt x="1" y="8"/>
                  <a:pt x="1" y="6"/>
                </a:cubicBezTo>
                <a:cubicBezTo>
                  <a:pt x="0" y="3"/>
                  <a:pt x="1" y="1"/>
                  <a:pt x="3" y="1"/>
                </a:cubicBezTo>
                <a:cubicBezTo>
                  <a:pt x="6" y="0"/>
                  <a:pt x="8" y="2"/>
                  <a:pt x="8" y="4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5" name="Freeform 1108">
            <a:extLst>
              <a:ext uri="{FF2B5EF4-FFF2-40B4-BE49-F238E27FC236}">
                <a16:creationId xmlns:a16="http://schemas.microsoft.com/office/drawing/2014/main" id="{5D772558-3204-46EB-9696-B055D94B2BB9}"/>
              </a:ext>
            </a:extLst>
          </p:cNvPr>
          <p:cNvSpPr>
            <a:spLocks/>
          </p:cNvSpPr>
          <p:nvPr/>
        </p:nvSpPr>
        <p:spPr bwMode="auto">
          <a:xfrm>
            <a:off x="6806142" y="5580331"/>
            <a:ext cx="5009" cy="3757"/>
          </a:xfrm>
          <a:custGeom>
            <a:avLst/>
            <a:gdLst>
              <a:gd name="T0" fmla="*/ 8 w 9"/>
              <a:gd name="T1" fmla="*/ 3 h 8"/>
              <a:gd name="T2" fmla="*/ 5 w 9"/>
              <a:gd name="T3" fmla="*/ 8 h 8"/>
              <a:gd name="T4" fmla="*/ 1 w 9"/>
              <a:gd name="T5" fmla="*/ 5 h 8"/>
              <a:gd name="T6" fmla="*/ 4 w 9"/>
              <a:gd name="T7" fmla="*/ 0 h 8"/>
              <a:gd name="T8" fmla="*/ 8 w 9"/>
              <a:gd name="T9" fmla="*/ 3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8">
                <a:moveTo>
                  <a:pt x="8" y="3"/>
                </a:moveTo>
                <a:cubicBezTo>
                  <a:pt x="9" y="5"/>
                  <a:pt x="7" y="7"/>
                  <a:pt x="5" y="8"/>
                </a:cubicBezTo>
                <a:cubicBezTo>
                  <a:pt x="3" y="8"/>
                  <a:pt x="1" y="7"/>
                  <a:pt x="1" y="5"/>
                </a:cubicBezTo>
                <a:cubicBezTo>
                  <a:pt x="0" y="3"/>
                  <a:pt x="1" y="1"/>
                  <a:pt x="4" y="0"/>
                </a:cubicBezTo>
                <a:cubicBezTo>
                  <a:pt x="6" y="0"/>
                  <a:pt x="8" y="1"/>
                  <a:pt x="8" y="3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6" name="Freeform 1109">
            <a:extLst>
              <a:ext uri="{FF2B5EF4-FFF2-40B4-BE49-F238E27FC236}">
                <a16:creationId xmlns:a16="http://schemas.microsoft.com/office/drawing/2014/main" id="{C591F351-D108-457D-8465-D9237DF2D019}"/>
              </a:ext>
            </a:extLst>
          </p:cNvPr>
          <p:cNvSpPr>
            <a:spLocks/>
          </p:cNvSpPr>
          <p:nvPr/>
        </p:nvSpPr>
        <p:spPr bwMode="auto">
          <a:xfrm>
            <a:off x="6781098" y="5560295"/>
            <a:ext cx="25045" cy="20036"/>
          </a:xfrm>
          <a:custGeom>
            <a:avLst/>
            <a:gdLst>
              <a:gd name="T0" fmla="*/ 15 w 50"/>
              <a:gd name="T1" fmla="*/ 12 h 38"/>
              <a:gd name="T2" fmla="*/ 31 w 50"/>
              <a:gd name="T3" fmla="*/ 3 h 38"/>
              <a:gd name="T4" fmla="*/ 44 w 50"/>
              <a:gd name="T5" fmla="*/ 1 h 38"/>
              <a:gd name="T6" fmla="*/ 41 w 50"/>
              <a:gd name="T7" fmla="*/ 19 h 38"/>
              <a:gd name="T8" fmla="*/ 16 w 50"/>
              <a:gd name="T9" fmla="*/ 20 h 38"/>
              <a:gd name="T10" fmla="*/ 6 w 50"/>
              <a:gd name="T11" fmla="*/ 38 h 38"/>
              <a:gd name="T12" fmla="*/ 15 w 50"/>
              <a:gd name="T13" fmla="*/ 12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0" h="38">
                <a:moveTo>
                  <a:pt x="15" y="12"/>
                </a:moveTo>
                <a:cubicBezTo>
                  <a:pt x="16" y="5"/>
                  <a:pt x="24" y="0"/>
                  <a:pt x="31" y="3"/>
                </a:cubicBezTo>
                <a:cubicBezTo>
                  <a:pt x="38" y="6"/>
                  <a:pt x="45" y="4"/>
                  <a:pt x="44" y="1"/>
                </a:cubicBezTo>
                <a:cubicBezTo>
                  <a:pt x="50" y="6"/>
                  <a:pt x="47" y="16"/>
                  <a:pt x="41" y="19"/>
                </a:cubicBezTo>
                <a:cubicBezTo>
                  <a:pt x="34" y="22"/>
                  <a:pt x="19" y="21"/>
                  <a:pt x="16" y="20"/>
                </a:cubicBezTo>
                <a:cubicBezTo>
                  <a:pt x="17" y="24"/>
                  <a:pt x="10" y="38"/>
                  <a:pt x="6" y="38"/>
                </a:cubicBezTo>
                <a:cubicBezTo>
                  <a:pt x="0" y="30"/>
                  <a:pt x="4" y="12"/>
                  <a:pt x="15" y="12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7" name="Rectangle 1110">
            <a:extLst>
              <a:ext uri="{FF2B5EF4-FFF2-40B4-BE49-F238E27FC236}">
                <a16:creationId xmlns:a16="http://schemas.microsoft.com/office/drawing/2014/main" id="{0BE9EFB5-CD0B-4450-BF37-562DE012F6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47108" y="5769419"/>
            <a:ext cx="93918" cy="77638"/>
          </a:xfrm>
          <a:prstGeom prst="rect">
            <a:avLst/>
          </a:pr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8" name="Rectangle 1111">
            <a:extLst>
              <a:ext uri="{FF2B5EF4-FFF2-40B4-BE49-F238E27FC236}">
                <a16:creationId xmlns:a16="http://schemas.microsoft.com/office/drawing/2014/main" id="{AA6D9D71-A868-46D5-A01D-1C8A38A417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5874" y="5776932"/>
            <a:ext cx="76387" cy="6136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9" name="Rectangle 1112">
            <a:extLst>
              <a:ext uri="{FF2B5EF4-FFF2-40B4-BE49-F238E27FC236}">
                <a16:creationId xmlns:a16="http://schemas.microsoft.com/office/drawing/2014/main" id="{746B9004-62ED-4A39-B74C-04B3730B8B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28504" y="5790706"/>
            <a:ext cx="17531" cy="35063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0" name="Rectangle 1113">
            <a:extLst>
              <a:ext uri="{FF2B5EF4-FFF2-40B4-BE49-F238E27FC236}">
                <a16:creationId xmlns:a16="http://schemas.microsoft.com/office/drawing/2014/main" id="{816D0CC1-F3C7-4873-9E45-C4F3AF5372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05964" y="5785697"/>
            <a:ext cx="5009" cy="45080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1" name="Rectangle 1114">
            <a:extLst>
              <a:ext uri="{FF2B5EF4-FFF2-40B4-BE49-F238E27FC236}">
                <a16:creationId xmlns:a16="http://schemas.microsoft.com/office/drawing/2014/main" id="{2285CE14-8ED6-4314-B3E4-03BDCAE422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88433" y="5785697"/>
            <a:ext cx="5009" cy="45080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2" name="Rectangle 1115">
            <a:extLst>
              <a:ext uri="{FF2B5EF4-FFF2-40B4-BE49-F238E27FC236}">
                <a16:creationId xmlns:a16="http://schemas.microsoft.com/office/drawing/2014/main" id="{76F6A69A-CA26-4E2B-83FB-F42901FFBD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70901" y="5785697"/>
            <a:ext cx="5009" cy="45080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3" name="Freeform 1116">
            <a:extLst>
              <a:ext uri="{FF2B5EF4-FFF2-40B4-BE49-F238E27FC236}">
                <a16:creationId xmlns:a16="http://schemas.microsoft.com/office/drawing/2014/main" id="{00AEECA8-A4E2-4364-AFEB-05EFDAEFF0AF}"/>
              </a:ext>
            </a:extLst>
          </p:cNvPr>
          <p:cNvSpPr>
            <a:spLocks/>
          </p:cNvSpPr>
          <p:nvPr/>
        </p:nvSpPr>
        <p:spPr bwMode="auto">
          <a:xfrm>
            <a:off x="6693441" y="5834535"/>
            <a:ext cx="11270" cy="11270"/>
          </a:xfrm>
          <a:custGeom>
            <a:avLst/>
            <a:gdLst>
              <a:gd name="T0" fmla="*/ 2 w 20"/>
              <a:gd name="T1" fmla="*/ 2 h 20"/>
              <a:gd name="T2" fmla="*/ 2 w 20"/>
              <a:gd name="T3" fmla="*/ 8 h 20"/>
              <a:gd name="T4" fmla="*/ 12 w 20"/>
              <a:gd name="T5" fmla="*/ 18 h 20"/>
              <a:gd name="T6" fmla="*/ 18 w 20"/>
              <a:gd name="T7" fmla="*/ 18 h 20"/>
              <a:gd name="T8" fmla="*/ 18 w 20"/>
              <a:gd name="T9" fmla="*/ 18 h 20"/>
              <a:gd name="T10" fmla="*/ 18 w 20"/>
              <a:gd name="T11" fmla="*/ 12 h 20"/>
              <a:gd name="T12" fmla="*/ 8 w 20"/>
              <a:gd name="T13" fmla="*/ 2 h 20"/>
              <a:gd name="T14" fmla="*/ 2 w 20"/>
              <a:gd name="T15" fmla="*/ 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" h="20">
                <a:moveTo>
                  <a:pt x="2" y="2"/>
                </a:moveTo>
                <a:cubicBezTo>
                  <a:pt x="0" y="4"/>
                  <a:pt x="0" y="6"/>
                  <a:pt x="2" y="8"/>
                </a:cubicBezTo>
                <a:cubicBezTo>
                  <a:pt x="12" y="18"/>
                  <a:pt x="12" y="18"/>
                  <a:pt x="12" y="18"/>
                </a:cubicBezTo>
                <a:cubicBezTo>
                  <a:pt x="14" y="20"/>
                  <a:pt x="17" y="20"/>
                  <a:pt x="18" y="18"/>
                </a:cubicBezTo>
                <a:cubicBezTo>
                  <a:pt x="18" y="18"/>
                  <a:pt x="18" y="18"/>
                  <a:pt x="18" y="18"/>
                </a:cubicBezTo>
                <a:cubicBezTo>
                  <a:pt x="20" y="17"/>
                  <a:pt x="20" y="14"/>
                  <a:pt x="18" y="12"/>
                </a:cubicBezTo>
                <a:cubicBezTo>
                  <a:pt x="8" y="2"/>
                  <a:pt x="8" y="2"/>
                  <a:pt x="8" y="2"/>
                </a:cubicBezTo>
                <a:cubicBezTo>
                  <a:pt x="6" y="0"/>
                  <a:pt x="4" y="0"/>
                  <a:pt x="2" y="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4" name="Freeform 1117">
            <a:extLst>
              <a:ext uri="{FF2B5EF4-FFF2-40B4-BE49-F238E27FC236}">
                <a16:creationId xmlns:a16="http://schemas.microsoft.com/office/drawing/2014/main" id="{CA12B6F4-D742-4733-9BFF-4A050BAEC195}"/>
              </a:ext>
            </a:extLst>
          </p:cNvPr>
          <p:cNvSpPr>
            <a:spLocks/>
          </p:cNvSpPr>
          <p:nvPr/>
        </p:nvSpPr>
        <p:spPr bwMode="auto">
          <a:xfrm>
            <a:off x="6680919" y="5835787"/>
            <a:ext cx="17531" cy="11270"/>
          </a:xfrm>
          <a:custGeom>
            <a:avLst/>
            <a:gdLst>
              <a:gd name="T0" fmla="*/ 0 w 35"/>
              <a:gd name="T1" fmla="*/ 4 h 22"/>
              <a:gd name="T2" fmla="*/ 5 w 35"/>
              <a:gd name="T3" fmla="*/ 0 h 22"/>
              <a:gd name="T4" fmla="*/ 31 w 35"/>
              <a:gd name="T5" fmla="*/ 0 h 22"/>
              <a:gd name="T6" fmla="*/ 35 w 35"/>
              <a:gd name="T7" fmla="*/ 4 h 22"/>
              <a:gd name="T8" fmla="*/ 35 w 35"/>
              <a:gd name="T9" fmla="*/ 18 h 22"/>
              <a:gd name="T10" fmla="*/ 31 w 35"/>
              <a:gd name="T11" fmla="*/ 22 h 22"/>
              <a:gd name="T12" fmla="*/ 5 w 35"/>
              <a:gd name="T13" fmla="*/ 22 h 22"/>
              <a:gd name="T14" fmla="*/ 0 w 35"/>
              <a:gd name="T15" fmla="*/ 18 h 22"/>
              <a:gd name="T16" fmla="*/ 0 w 35"/>
              <a:gd name="T17" fmla="*/ 4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5" h="22">
                <a:moveTo>
                  <a:pt x="0" y="4"/>
                </a:moveTo>
                <a:cubicBezTo>
                  <a:pt x="0" y="2"/>
                  <a:pt x="2" y="0"/>
                  <a:pt x="5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3" y="0"/>
                  <a:pt x="35" y="2"/>
                  <a:pt x="35" y="4"/>
                </a:cubicBezTo>
                <a:cubicBezTo>
                  <a:pt x="35" y="18"/>
                  <a:pt x="35" y="18"/>
                  <a:pt x="35" y="18"/>
                </a:cubicBezTo>
                <a:cubicBezTo>
                  <a:pt x="35" y="20"/>
                  <a:pt x="33" y="22"/>
                  <a:pt x="31" y="22"/>
                </a:cubicBezTo>
                <a:cubicBezTo>
                  <a:pt x="5" y="22"/>
                  <a:pt x="5" y="22"/>
                  <a:pt x="5" y="22"/>
                </a:cubicBezTo>
                <a:cubicBezTo>
                  <a:pt x="2" y="22"/>
                  <a:pt x="0" y="20"/>
                  <a:pt x="0" y="18"/>
                </a:cubicBezTo>
                <a:lnTo>
                  <a:pt x="0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5" name="Freeform 1118">
            <a:extLst>
              <a:ext uri="{FF2B5EF4-FFF2-40B4-BE49-F238E27FC236}">
                <a16:creationId xmlns:a16="http://schemas.microsoft.com/office/drawing/2014/main" id="{927EDFB5-2A7A-4D43-97D1-F6EFE07CDC11}"/>
              </a:ext>
            </a:extLst>
          </p:cNvPr>
          <p:cNvSpPr>
            <a:spLocks/>
          </p:cNvSpPr>
          <p:nvPr/>
        </p:nvSpPr>
        <p:spPr bwMode="auto">
          <a:xfrm>
            <a:off x="6689684" y="5842048"/>
            <a:ext cx="5009" cy="10018"/>
          </a:xfrm>
          <a:custGeom>
            <a:avLst/>
            <a:gdLst>
              <a:gd name="T0" fmla="*/ 9 w 9"/>
              <a:gd name="T1" fmla="*/ 5 h 18"/>
              <a:gd name="T2" fmla="*/ 4 w 9"/>
              <a:gd name="T3" fmla="*/ 0 h 18"/>
              <a:gd name="T4" fmla="*/ 0 w 9"/>
              <a:gd name="T5" fmla="*/ 5 h 18"/>
              <a:gd name="T6" fmla="*/ 0 w 9"/>
              <a:gd name="T7" fmla="*/ 14 h 18"/>
              <a:gd name="T8" fmla="*/ 4 w 9"/>
              <a:gd name="T9" fmla="*/ 18 h 18"/>
              <a:gd name="T10" fmla="*/ 4 w 9"/>
              <a:gd name="T11" fmla="*/ 18 h 18"/>
              <a:gd name="T12" fmla="*/ 9 w 9"/>
              <a:gd name="T13" fmla="*/ 14 h 18"/>
              <a:gd name="T14" fmla="*/ 9 w 9"/>
              <a:gd name="T15" fmla="*/ 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8">
                <a:moveTo>
                  <a:pt x="9" y="5"/>
                </a:moveTo>
                <a:cubicBezTo>
                  <a:pt x="9" y="2"/>
                  <a:pt x="7" y="0"/>
                  <a:pt x="4" y="0"/>
                </a:cubicBezTo>
                <a:cubicBezTo>
                  <a:pt x="2" y="0"/>
                  <a:pt x="0" y="2"/>
                  <a:pt x="0" y="5"/>
                </a:cubicBezTo>
                <a:cubicBezTo>
                  <a:pt x="0" y="14"/>
                  <a:pt x="0" y="14"/>
                  <a:pt x="0" y="14"/>
                </a:cubicBezTo>
                <a:cubicBezTo>
                  <a:pt x="0" y="16"/>
                  <a:pt x="2" y="18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7" y="18"/>
                  <a:pt x="9" y="16"/>
                  <a:pt x="9" y="14"/>
                </a:cubicBezTo>
                <a:lnTo>
                  <a:pt x="9" y="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6" name="Freeform 1119">
            <a:extLst>
              <a:ext uri="{FF2B5EF4-FFF2-40B4-BE49-F238E27FC236}">
                <a16:creationId xmlns:a16="http://schemas.microsoft.com/office/drawing/2014/main" id="{0F253C68-341B-4B9C-A59D-B4D479567AAD}"/>
              </a:ext>
            </a:extLst>
          </p:cNvPr>
          <p:cNvSpPr>
            <a:spLocks/>
          </p:cNvSpPr>
          <p:nvPr/>
        </p:nvSpPr>
        <p:spPr bwMode="auto">
          <a:xfrm>
            <a:off x="6694693" y="5842048"/>
            <a:ext cx="3757" cy="10018"/>
          </a:xfrm>
          <a:custGeom>
            <a:avLst/>
            <a:gdLst>
              <a:gd name="T0" fmla="*/ 8 w 8"/>
              <a:gd name="T1" fmla="*/ 5 h 18"/>
              <a:gd name="T2" fmla="*/ 4 w 8"/>
              <a:gd name="T3" fmla="*/ 0 h 18"/>
              <a:gd name="T4" fmla="*/ 0 w 8"/>
              <a:gd name="T5" fmla="*/ 5 h 18"/>
              <a:gd name="T6" fmla="*/ 0 w 8"/>
              <a:gd name="T7" fmla="*/ 14 h 18"/>
              <a:gd name="T8" fmla="*/ 4 w 8"/>
              <a:gd name="T9" fmla="*/ 18 h 18"/>
              <a:gd name="T10" fmla="*/ 4 w 8"/>
              <a:gd name="T11" fmla="*/ 18 h 18"/>
              <a:gd name="T12" fmla="*/ 8 w 8"/>
              <a:gd name="T13" fmla="*/ 14 h 18"/>
              <a:gd name="T14" fmla="*/ 8 w 8"/>
              <a:gd name="T15" fmla="*/ 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" h="18">
                <a:moveTo>
                  <a:pt x="8" y="5"/>
                </a:moveTo>
                <a:cubicBezTo>
                  <a:pt x="8" y="2"/>
                  <a:pt x="7" y="0"/>
                  <a:pt x="4" y="0"/>
                </a:cubicBezTo>
                <a:cubicBezTo>
                  <a:pt x="2" y="0"/>
                  <a:pt x="0" y="2"/>
                  <a:pt x="0" y="5"/>
                </a:cubicBezTo>
                <a:cubicBezTo>
                  <a:pt x="0" y="14"/>
                  <a:pt x="0" y="14"/>
                  <a:pt x="0" y="14"/>
                </a:cubicBezTo>
                <a:cubicBezTo>
                  <a:pt x="0" y="16"/>
                  <a:pt x="2" y="18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7" y="18"/>
                  <a:pt x="8" y="16"/>
                  <a:pt x="8" y="14"/>
                </a:cubicBezTo>
                <a:lnTo>
                  <a:pt x="8" y="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7" name="Freeform 1120">
            <a:extLst>
              <a:ext uri="{FF2B5EF4-FFF2-40B4-BE49-F238E27FC236}">
                <a16:creationId xmlns:a16="http://schemas.microsoft.com/office/drawing/2014/main" id="{93889AE4-6C35-4A3C-BEFE-F9218E3D538E}"/>
              </a:ext>
            </a:extLst>
          </p:cNvPr>
          <p:cNvSpPr>
            <a:spLocks/>
          </p:cNvSpPr>
          <p:nvPr/>
        </p:nvSpPr>
        <p:spPr bwMode="auto">
          <a:xfrm>
            <a:off x="6684675" y="5842048"/>
            <a:ext cx="5009" cy="10018"/>
          </a:xfrm>
          <a:custGeom>
            <a:avLst/>
            <a:gdLst>
              <a:gd name="T0" fmla="*/ 4 w 9"/>
              <a:gd name="T1" fmla="*/ 0 h 18"/>
              <a:gd name="T2" fmla="*/ 0 w 9"/>
              <a:gd name="T3" fmla="*/ 5 h 18"/>
              <a:gd name="T4" fmla="*/ 0 w 9"/>
              <a:gd name="T5" fmla="*/ 14 h 18"/>
              <a:gd name="T6" fmla="*/ 4 w 9"/>
              <a:gd name="T7" fmla="*/ 18 h 18"/>
              <a:gd name="T8" fmla="*/ 4 w 9"/>
              <a:gd name="T9" fmla="*/ 18 h 18"/>
              <a:gd name="T10" fmla="*/ 9 w 9"/>
              <a:gd name="T11" fmla="*/ 14 h 18"/>
              <a:gd name="T12" fmla="*/ 9 w 9"/>
              <a:gd name="T13" fmla="*/ 5 h 18"/>
              <a:gd name="T14" fmla="*/ 4 w 9"/>
              <a:gd name="T15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8">
                <a:moveTo>
                  <a:pt x="4" y="0"/>
                </a:moveTo>
                <a:cubicBezTo>
                  <a:pt x="2" y="0"/>
                  <a:pt x="0" y="2"/>
                  <a:pt x="0" y="5"/>
                </a:cubicBezTo>
                <a:cubicBezTo>
                  <a:pt x="0" y="14"/>
                  <a:pt x="0" y="14"/>
                  <a:pt x="0" y="14"/>
                </a:cubicBezTo>
                <a:cubicBezTo>
                  <a:pt x="0" y="16"/>
                  <a:pt x="2" y="18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7" y="18"/>
                  <a:pt x="9" y="16"/>
                  <a:pt x="9" y="14"/>
                </a:cubicBezTo>
                <a:cubicBezTo>
                  <a:pt x="9" y="5"/>
                  <a:pt x="9" y="5"/>
                  <a:pt x="9" y="5"/>
                </a:cubicBezTo>
                <a:cubicBezTo>
                  <a:pt x="9" y="2"/>
                  <a:pt x="7" y="0"/>
                  <a:pt x="4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8" name="Freeform 1121">
            <a:extLst>
              <a:ext uri="{FF2B5EF4-FFF2-40B4-BE49-F238E27FC236}">
                <a16:creationId xmlns:a16="http://schemas.microsoft.com/office/drawing/2014/main" id="{2B811779-F6A8-4E33-A6CD-388FBF08788F}"/>
              </a:ext>
            </a:extLst>
          </p:cNvPr>
          <p:cNvSpPr>
            <a:spLocks/>
          </p:cNvSpPr>
          <p:nvPr/>
        </p:nvSpPr>
        <p:spPr bwMode="auto">
          <a:xfrm>
            <a:off x="6680919" y="5842048"/>
            <a:ext cx="3757" cy="10018"/>
          </a:xfrm>
          <a:custGeom>
            <a:avLst/>
            <a:gdLst>
              <a:gd name="T0" fmla="*/ 9 w 9"/>
              <a:gd name="T1" fmla="*/ 5 h 18"/>
              <a:gd name="T2" fmla="*/ 5 w 9"/>
              <a:gd name="T3" fmla="*/ 0 h 18"/>
              <a:gd name="T4" fmla="*/ 0 w 9"/>
              <a:gd name="T5" fmla="*/ 5 h 18"/>
              <a:gd name="T6" fmla="*/ 0 w 9"/>
              <a:gd name="T7" fmla="*/ 14 h 18"/>
              <a:gd name="T8" fmla="*/ 5 w 9"/>
              <a:gd name="T9" fmla="*/ 18 h 18"/>
              <a:gd name="T10" fmla="*/ 9 w 9"/>
              <a:gd name="T11" fmla="*/ 14 h 18"/>
              <a:gd name="T12" fmla="*/ 9 w 9"/>
              <a:gd name="T13" fmla="*/ 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" h="18">
                <a:moveTo>
                  <a:pt x="9" y="5"/>
                </a:moveTo>
                <a:cubicBezTo>
                  <a:pt x="9" y="2"/>
                  <a:pt x="7" y="0"/>
                  <a:pt x="5" y="0"/>
                </a:cubicBezTo>
                <a:cubicBezTo>
                  <a:pt x="2" y="0"/>
                  <a:pt x="0" y="2"/>
                  <a:pt x="0" y="5"/>
                </a:cubicBezTo>
                <a:cubicBezTo>
                  <a:pt x="0" y="14"/>
                  <a:pt x="0" y="14"/>
                  <a:pt x="0" y="14"/>
                </a:cubicBezTo>
                <a:cubicBezTo>
                  <a:pt x="0" y="16"/>
                  <a:pt x="2" y="18"/>
                  <a:pt x="5" y="18"/>
                </a:cubicBezTo>
                <a:cubicBezTo>
                  <a:pt x="7" y="18"/>
                  <a:pt x="9" y="16"/>
                  <a:pt x="9" y="14"/>
                </a:cubicBezTo>
                <a:lnTo>
                  <a:pt x="9" y="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9" name="Freeform 1122">
            <a:extLst>
              <a:ext uri="{FF2B5EF4-FFF2-40B4-BE49-F238E27FC236}">
                <a16:creationId xmlns:a16="http://schemas.microsoft.com/office/drawing/2014/main" id="{293BB273-D878-4110-8B63-76EA28880744}"/>
              </a:ext>
            </a:extLst>
          </p:cNvPr>
          <p:cNvSpPr>
            <a:spLocks/>
          </p:cNvSpPr>
          <p:nvPr/>
        </p:nvSpPr>
        <p:spPr bwMode="auto">
          <a:xfrm>
            <a:off x="6673406" y="5620403"/>
            <a:ext cx="85152" cy="211628"/>
          </a:xfrm>
          <a:custGeom>
            <a:avLst/>
            <a:gdLst>
              <a:gd name="T0" fmla="*/ 88 w 164"/>
              <a:gd name="T1" fmla="*/ 0 h 409"/>
              <a:gd name="T2" fmla="*/ 19 w 164"/>
              <a:gd name="T3" fmla="*/ 409 h 409"/>
              <a:gd name="T4" fmla="*/ 45 w 164"/>
              <a:gd name="T5" fmla="*/ 409 h 409"/>
              <a:gd name="T6" fmla="*/ 140 w 164"/>
              <a:gd name="T7" fmla="*/ 68 h 409"/>
              <a:gd name="T8" fmla="*/ 88 w 164"/>
              <a:gd name="T9" fmla="*/ 0 h 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4" h="409">
                <a:moveTo>
                  <a:pt x="88" y="0"/>
                </a:moveTo>
                <a:cubicBezTo>
                  <a:pt x="46" y="0"/>
                  <a:pt x="0" y="292"/>
                  <a:pt x="19" y="409"/>
                </a:cubicBezTo>
                <a:cubicBezTo>
                  <a:pt x="45" y="409"/>
                  <a:pt x="45" y="409"/>
                  <a:pt x="45" y="409"/>
                </a:cubicBezTo>
                <a:cubicBezTo>
                  <a:pt x="43" y="301"/>
                  <a:pt x="81" y="156"/>
                  <a:pt x="140" y="68"/>
                </a:cubicBezTo>
                <a:cubicBezTo>
                  <a:pt x="164" y="33"/>
                  <a:pt x="110" y="0"/>
                  <a:pt x="8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0" name="Freeform 1123">
            <a:extLst>
              <a:ext uri="{FF2B5EF4-FFF2-40B4-BE49-F238E27FC236}">
                <a16:creationId xmlns:a16="http://schemas.microsoft.com/office/drawing/2014/main" id="{F5A9BDFD-E2C5-4F0A-A944-75DA7DC2D2D6}"/>
              </a:ext>
            </a:extLst>
          </p:cNvPr>
          <p:cNvSpPr>
            <a:spLocks/>
          </p:cNvSpPr>
          <p:nvPr/>
        </p:nvSpPr>
        <p:spPr bwMode="auto">
          <a:xfrm>
            <a:off x="6925104" y="5679258"/>
            <a:ext cx="5009" cy="11270"/>
          </a:xfrm>
          <a:custGeom>
            <a:avLst/>
            <a:gdLst>
              <a:gd name="T0" fmla="*/ 6 w 10"/>
              <a:gd name="T1" fmla="*/ 23 h 23"/>
              <a:gd name="T2" fmla="*/ 10 w 10"/>
              <a:gd name="T3" fmla="*/ 18 h 23"/>
              <a:gd name="T4" fmla="*/ 9 w 10"/>
              <a:gd name="T5" fmla="*/ 4 h 23"/>
              <a:gd name="T6" fmla="*/ 5 w 10"/>
              <a:gd name="T7" fmla="*/ 0 h 23"/>
              <a:gd name="T8" fmla="*/ 5 w 10"/>
              <a:gd name="T9" fmla="*/ 0 h 23"/>
              <a:gd name="T10" fmla="*/ 0 w 10"/>
              <a:gd name="T11" fmla="*/ 5 h 23"/>
              <a:gd name="T12" fmla="*/ 1 w 10"/>
              <a:gd name="T13" fmla="*/ 19 h 23"/>
              <a:gd name="T14" fmla="*/ 6 w 10"/>
              <a:gd name="T15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" h="23">
                <a:moveTo>
                  <a:pt x="6" y="23"/>
                </a:moveTo>
                <a:cubicBezTo>
                  <a:pt x="9" y="23"/>
                  <a:pt x="10" y="21"/>
                  <a:pt x="10" y="18"/>
                </a:cubicBezTo>
                <a:cubicBezTo>
                  <a:pt x="9" y="4"/>
                  <a:pt x="9" y="4"/>
                  <a:pt x="9" y="4"/>
                </a:cubicBezTo>
                <a:cubicBezTo>
                  <a:pt x="9" y="2"/>
                  <a:pt x="7" y="0"/>
                  <a:pt x="5" y="0"/>
                </a:cubicBezTo>
                <a:cubicBezTo>
                  <a:pt x="5" y="0"/>
                  <a:pt x="5" y="0"/>
                  <a:pt x="5" y="0"/>
                </a:cubicBezTo>
                <a:cubicBezTo>
                  <a:pt x="2" y="0"/>
                  <a:pt x="0" y="2"/>
                  <a:pt x="0" y="5"/>
                </a:cubicBezTo>
                <a:cubicBezTo>
                  <a:pt x="1" y="19"/>
                  <a:pt x="1" y="19"/>
                  <a:pt x="1" y="19"/>
                </a:cubicBezTo>
                <a:cubicBezTo>
                  <a:pt x="2" y="22"/>
                  <a:pt x="4" y="23"/>
                  <a:pt x="6" y="2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1" name="Freeform 1124">
            <a:extLst>
              <a:ext uri="{FF2B5EF4-FFF2-40B4-BE49-F238E27FC236}">
                <a16:creationId xmlns:a16="http://schemas.microsoft.com/office/drawing/2014/main" id="{D47FFBB6-DE31-4B62-9378-E5766A6F4783}"/>
              </a:ext>
            </a:extLst>
          </p:cNvPr>
          <p:cNvSpPr>
            <a:spLocks/>
          </p:cNvSpPr>
          <p:nvPr/>
        </p:nvSpPr>
        <p:spPr bwMode="auto">
          <a:xfrm>
            <a:off x="6925104" y="5672996"/>
            <a:ext cx="31306" cy="27549"/>
          </a:xfrm>
          <a:custGeom>
            <a:avLst/>
            <a:gdLst>
              <a:gd name="T0" fmla="*/ 28 w 58"/>
              <a:gd name="T1" fmla="*/ 50 h 52"/>
              <a:gd name="T2" fmla="*/ 22 w 58"/>
              <a:gd name="T3" fmla="*/ 50 h 52"/>
              <a:gd name="T4" fmla="*/ 2 w 58"/>
              <a:gd name="T5" fmla="*/ 33 h 52"/>
              <a:gd name="T6" fmla="*/ 2 w 58"/>
              <a:gd name="T7" fmla="*/ 27 h 52"/>
              <a:gd name="T8" fmla="*/ 44 w 58"/>
              <a:gd name="T9" fmla="*/ 4 h 52"/>
              <a:gd name="T10" fmla="*/ 37 w 58"/>
              <a:gd name="T11" fmla="*/ 40 h 52"/>
              <a:gd name="T12" fmla="*/ 28 w 58"/>
              <a:gd name="T13" fmla="*/ 5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8" h="52">
                <a:moveTo>
                  <a:pt x="28" y="50"/>
                </a:moveTo>
                <a:cubicBezTo>
                  <a:pt x="27" y="52"/>
                  <a:pt x="24" y="52"/>
                  <a:pt x="22" y="50"/>
                </a:cubicBezTo>
                <a:cubicBezTo>
                  <a:pt x="2" y="33"/>
                  <a:pt x="2" y="33"/>
                  <a:pt x="2" y="33"/>
                </a:cubicBezTo>
                <a:cubicBezTo>
                  <a:pt x="0" y="32"/>
                  <a:pt x="0" y="29"/>
                  <a:pt x="2" y="27"/>
                </a:cubicBezTo>
                <a:cubicBezTo>
                  <a:pt x="2" y="27"/>
                  <a:pt x="26" y="18"/>
                  <a:pt x="44" y="4"/>
                </a:cubicBezTo>
                <a:cubicBezTo>
                  <a:pt x="50" y="0"/>
                  <a:pt x="58" y="16"/>
                  <a:pt x="37" y="40"/>
                </a:cubicBezTo>
                <a:lnTo>
                  <a:pt x="28" y="5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2" name="Freeform 1125">
            <a:extLst>
              <a:ext uri="{FF2B5EF4-FFF2-40B4-BE49-F238E27FC236}">
                <a16:creationId xmlns:a16="http://schemas.microsoft.com/office/drawing/2014/main" id="{A1DCCE3C-3DCF-4CA9-8B40-B66ECC0E7E16}"/>
              </a:ext>
            </a:extLst>
          </p:cNvPr>
          <p:cNvSpPr>
            <a:spLocks/>
          </p:cNvSpPr>
          <p:nvPr/>
        </p:nvSpPr>
        <p:spPr bwMode="auto">
          <a:xfrm>
            <a:off x="6812403" y="5620403"/>
            <a:ext cx="122719" cy="149016"/>
          </a:xfrm>
          <a:custGeom>
            <a:avLst/>
            <a:gdLst>
              <a:gd name="T0" fmla="*/ 8 w 236"/>
              <a:gd name="T1" fmla="*/ 94 h 288"/>
              <a:gd name="T2" fmla="*/ 105 w 236"/>
              <a:gd name="T3" fmla="*/ 280 h 288"/>
              <a:gd name="T4" fmla="*/ 236 w 236"/>
              <a:gd name="T5" fmla="*/ 158 h 288"/>
              <a:gd name="T6" fmla="*/ 216 w 236"/>
              <a:gd name="T7" fmla="*/ 140 h 288"/>
              <a:gd name="T8" fmla="*/ 120 w 236"/>
              <a:gd name="T9" fmla="*/ 213 h 288"/>
              <a:gd name="T10" fmla="*/ 40 w 236"/>
              <a:gd name="T11" fmla="*/ 0 h 288"/>
              <a:gd name="T12" fmla="*/ 8 w 236"/>
              <a:gd name="T13" fmla="*/ 94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6" h="288">
                <a:moveTo>
                  <a:pt x="8" y="94"/>
                </a:moveTo>
                <a:cubicBezTo>
                  <a:pt x="18" y="120"/>
                  <a:pt x="76" y="272"/>
                  <a:pt x="105" y="280"/>
                </a:cubicBezTo>
                <a:cubicBezTo>
                  <a:pt x="134" y="288"/>
                  <a:pt x="210" y="208"/>
                  <a:pt x="236" y="158"/>
                </a:cubicBezTo>
                <a:cubicBezTo>
                  <a:pt x="216" y="140"/>
                  <a:pt x="216" y="140"/>
                  <a:pt x="216" y="140"/>
                </a:cubicBezTo>
                <a:cubicBezTo>
                  <a:pt x="186" y="183"/>
                  <a:pt x="132" y="218"/>
                  <a:pt x="120" y="213"/>
                </a:cubicBezTo>
                <a:cubicBezTo>
                  <a:pt x="107" y="207"/>
                  <a:pt x="62" y="0"/>
                  <a:pt x="40" y="0"/>
                </a:cubicBezTo>
                <a:cubicBezTo>
                  <a:pt x="20" y="0"/>
                  <a:pt x="0" y="72"/>
                  <a:pt x="8" y="9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3" name="Freeform 1126">
            <a:extLst>
              <a:ext uri="{FF2B5EF4-FFF2-40B4-BE49-F238E27FC236}">
                <a16:creationId xmlns:a16="http://schemas.microsoft.com/office/drawing/2014/main" id="{6F2FC716-8A3F-4191-B811-4095B8DBE73B}"/>
              </a:ext>
            </a:extLst>
          </p:cNvPr>
          <p:cNvSpPr>
            <a:spLocks/>
          </p:cNvSpPr>
          <p:nvPr/>
        </p:nvSpPr>
        <p:spPr bwMode="auto">
          <a:xfrm>
            <a:off x="6677162" y="5769419"/>
            <a:ext cx="28802" cy="77638"/>
          </a:xfrm>
          <a:custGeom>
            <a:avLst/>
            <a:gdLst>
              <a:gd name="T0" fmla="*/ 40 w 55"/>
              <a:gd name="T1" fmla="*/ 146 h 150"/>
              <a:gd name="T2" fmla="*/ 40 w 55"/>
              <a:gd name="T3" fmla="*/ 143 h 150"/>
              <a:gd name="T4" fmla="*/ 43 w 55"/>
              <a:gd name="T5" fmla="*/ 145 h 150"/>
              <a:gd name="T6" fmla="*/ 49 w 55"/>
              <a:gd name="T7" fmla="*/ 145 h 150"/>
              <a:gd name="T8" fmla="*/ 49 w 55"/>
              <a:gd name="T9" fmla="*/ 145 h 150"/>
              <a:gd name="T10" fmla="*/ 49 w 55"/>
              <a:gd name="T11" fmla="*/ 139 h 150"/>
              <a:gd name="T12" fmla="*/ 39 w 55"/>
              <a:gd name="T13" fmla="*/ 129 h 150"/>
              <a:gd name="T14" fmla="*/ 36 w 55"/>
              <a:gd name="T15" fmla="*/ 128 h 150"/>
              <a:gd name="T16" fmla="*/ 36 w 55"/>
              <a:gd name="T17" fmla="*/ 128 h 150"/>
              <a:gd name="T18" fmla="*/ 10 w 55"/>
              <a:gd name="T19" fmla="*/ 128 h 150"/>
              <a:gd name="T20" fmla="*/ 5 w 55"/>
              <a:gd name="T21" fmla="*/ 132 h 150"/>
              <a:gd name="T22" fmla="*/ 5 w 55"/>
              <a:gd name="T23" fmla="*/ 146 h 150"/>
              <a:gd name="T24" fmla="*/ 5 w 55"/>
              <a:gd name="T25" fmla="*/ 150 h 150"/>
              <a:gd name="T26" fmla="*/ 1 w 55"/>
              <a:gd name="T27" fmla="*/ 150 h 150"/>
              <a:gd name="T28" fmla="*/ 1 w 55"/>
              <a:gd name="T29" fmla="*/ 132 h 150"/>
              <a:gd name="T30" fmla="*/ 6 w 55"/>
              <a:gd name="T31" fmla="*/ 124 h 150"/>
              <a:gd name="T32" fmla="*/ 6 w 55"/>
              <a:gd name="T33" fmla="*/ 123 h 150"/>
              <a:gd name="T34" fmla="*/ 3 w 55"/>
              <a:gd name="T35" fmla="*/ 0 h 150"/>
              <a:gd name="T36" fmla="*/ 7 w 55"/>
              <a:gd name="T37" fmla="*/ 0 h 150"/>
              <a:gd name="T38" fmla="*/ 10 w 55"/>
              <a:gd name="T39" fmla="*/ 122 h 150"/>
              <a:gd name="T40" fmla="*/ 36 w 55"/>
              <a:gd name="T41" fmla="*/ 122 h 150"/>
              <a:gd name="T42" fmla="*/ 48 w 55"/>
              <a:gd name="T43" fmla="*/ 0 h 150"/>
              <a:gd name="T44" fmla="*/ 52 w 55"/>
              <a:gd name="T45" fmla="*/ 0 h 150"/>
              <a:gd name="T46" fmla="*/ 40 w 55"/>
              <a:gd name="T47" fmla="*/ 122 h 150"/>
              <a:gd name="T48" fmla="*/ 40 w 55"/>
              <a:gd name="T49" fmla="*/ 125 h 150"/>
              <a:gd name="T50" fmla="*/ 42 w 55"/>
              <a:gd name="T51" fmla="*/ 126 h 150"/>
              <a:gd name="T52" fmla="*/ 52 w 55"/>
              <a:gd name="T53" fmla="*/ 136 h 150"/>
              <a:gd name="T54" fmla="*/ 52 w 55"/>
              <a:gd name="T55" fmla="*/ 148 h 150"/>
              <a:gd name="T56" fmla="*/ 52 w 55"/>
              <a:gd name="T57" fmla="*/ 148 h 150"/>
              <a:gd name="T58" fmla="*/ 50 w 55"/>
              <a:gd name="T59" fmla="*/ 150 h 150"/>
              <a:gd name="T60" fmla="*/ 40 w 55"/>
              <a:gd name="T61" fmla="*/ 150 h 150"/>
              <a:gd name="T62" fmla="*/ 40 w 55"/>
              <a:gd name="T63" fmla="*/ 146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5" h="150">
                <a:moveTo>
                  <a:pt x="40" y="146"/>
                </a:moveTo>
                <a:cubicBezTo>
                  <a:pt x="40" y="143"/>
                  <a:pt x="40" y="143"/>
                  <a:pt x="40" y="143"/>
                </a:cubicBezTo>
                <a:cubicBezTo>
                  <a:pt x="43" y="145"/>
                  <a:pt x="43" y="145"/>
                  <a:pt x="43" y="145"/>
                </a:cubicBezTo>
                <a:cubicBezTo>
                  <a:pt x="45" y="147"/>
                  <a:pt x="48" y="147"/>
                  <a:pt x="49" y="145"/>
                </a:cubicBezTo>
                <a:cubicBezTo>
                  <a:pt x="49" y="145"/>
                  <a:pt x="49" y="145"/>
                  <a:pt x="49" y="145"/>
                </a:cubicBezTo>
                <a:cubicBezTo>
                  <a:pt x="51" y="144"/>
                  <a:pt x="51" y="141"/>
                  <a:pt x="49" y="139"/>
                </a:cubicBezTo>
                <a:cubicBezTo>
                  <a:pt x="39" y="129"/>
                  <a:pt x="39" y="129"/>
                  <a:pt x="39" y="129"/>
                </a:cubicBezTo>
                <a:cubicBezTo>
                  <a:pt x="38" y="128"/>
                  <a:pt x="37" y="128"/>
                  <a:pt x="36" y="128"/>
                </a:cubicBezTo>
                <a:cubicBezTo>
                  <a:pt x="36" y="128"/>
                  <a:pt x="36" y="128"/>
                  <a:pt x="36" y="128"/>
                </a:cubicBezTo>
                <a:cubicBezTo>
                  <a:pt x="10" y="128"/>
                  <a:pt x="10" y="128"/>
                  <a:pt x="10" y="128"/>
                </a:cubicBezTo>
                <a:cubicBezTo>
                  <a:pt x="7" y="128"/>
                  <a:pt x="5" y="130"/>
                  <a:pt x="5" y="132"/>
                </a:cubicBezTo>
                <a:cubicBezTo>
                  <a:pt x="5" y="146"/>
                  <a:pt x="5" y="146"/>
                  <a:pt x="5" y="146"/>
                </a:cubicBezTo>
                <a:cubicBezTo>
                  <a:pt x="5" y="150"/>
                  <a:pt x="5" y="150"/>
                  <a:pt x="5" y="150"/>
                </a:cubicBezTo>
                <a:cubicBezTo>
                  <a:pt x="1" y="150"/>
                  <a:pt x="1" y="150"/>
                  <a:pt x="1" y="150"/>
                </a:cubicBezTo>
                <a:cubicBezTo>
                  <a:pt x="1" y="132"/>
                  <a:pt x="1" y="132"/>
                  <a:pt x="1" y="132"/>
                </a:cubicBezTo>
                <a:cubicBezTo>
                  <a:pt x="1" y="129"/>
                  <a:pt x="3" y="126"/>
                  <a:pt x="6" y="124"/>
                </a:cubicBezTo>
                <a:cubicBezTo>
                  <a:pt x="6" y="123"/>
                  <a:pt x="6" y="123"/>
                  <a:pt x="6" y="123"/>
                </a:cubicBezTo>
                <a:cubicBezTo>
                  <a:pt x="1" y="91"/>
                  <a:pt x="0" y="47"/>
                  <a:pt x="3" y="0"/>
                </a:cubicBezTo>
                <a:cubicBezTo>
                  <a:pt x="7" y="0"/>
                  <a:pt x="7" y="0"/>
                  <a:pt x="7" y="0"/>
                </a:cubicBezTo>
                <a:cubicBezTo>
                  <a:pt x="4" y="47"/>
                  <a:pt x="5" y="91"/>
                  <a:pt x="10" y="122"/>
                </a:cubicBezTo>
                <a:cubicBezTo>
                  <a:pt x="36" y="122"/>
                  <a:pt x="36" y="122"/>
                  <a:pt x="36" y="122"/>
                </a:cubicBezTo>
                <a:cubicBezTo>
                  <a:pt x="35" y="84"/>
                  <a:pt x="40" y="42"/>
                  <a:pt x="48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44" y="42"/>
                  <a:pt x="39" y="84"/>
                  <a:pt x="40" y="122"/>
                </a:cubicBezTo>
                <a:cubicBezTo>
                  <a:pt x="40" y="125"/>
                  <a:pt x="40" y="125"/>
                  <a:pt x="40" y="125"/>
                </a:cubicBezTo>
                <a:cubicBezTo>
                  <a:pt x="41" y="125"/>
                  <a:pt x="41" y="125"/>
                  <a:pt x="42" y="126"/>
                </a:cubicBezTo>
                <a:cubicBezTo>
                  <a:pt x="52" y="136"/>
                  <a:pt x="52" y="136"/>
                  <a:pt x="52" y="136"/>
                </a:cubicBezTo>
                <a:cubicBezTo>
                  <a:pt x="55" y="139"/>
                  <a:pt x="55" y="145"/>
                  <a:pt x="52" y="148"/>
                </a:cubicBezTo>
                <a:cubicBezTo>
                  <a:pt x="52" y="148"/>
                  <a:pt x="52" y="148"/>
                  <a:pt x="52" y="148"/>
                </a:cubicBezTo>
                <a:cubicBezTo>
                  <a:pt x="51" y="149"/>
                  <a:pt x="51" y="149"/>
                  <a:pt x="50" y="150"/>
                </a:cubicBezTo>
                <a:cubicBezTo>
                  <a:pt x="40" y="150"/>
                  <a:pt x="40" y="150"/>
                  <a:pt x="40" y="150"/>
                </a:cubicBezTo>
                <a:lnTo>
                  <a:pt x="40" y="146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4" name="Freeform 1127">
            <a:extLst>
              <a:ext uri="{FF2B5EF4-FFF2-40B4-BE49-F238E27FC236}">
                <a16:creationId xmlns:a16="http://schemas.microsoft.com/office/drawing/2014/main" id="{6EDA4490-E982-4B82-A8D2-672D1854D7F0}"/>
              </a:ext>
            </a:extLst>
          </p:cNvPr>
          <p:cNvSpPr>
            <a:spLocks/>
          </p:cNvSpPr>
          <p:nvPr/>
        </p:nvSpPr>
        <p:spPr bwMode="auto">
          <a:xfrm>
            <a:off x="7494871" y="6285339"/>
            <a:ext cx="61360" cy="66369"/>
          </a:xfrm>
          <a:custGeom>
            <a:avLst/>
            <a:gdLst>
              <a:gd name="T0" fmla="*/ 7 w 119"/>
              <a:gd name="T1" fmla="*/ 47 h 128"/>
              <a:gd name="T2" fmla="*/ 0 w 119"/>
              <a:gd name="T3" fmla="*/ 47 h 128"/>
              <a:gd name="T4" fmla="*/ 12 w 119"/>
              <a:gd name="T5" fmla="*/ 20 h 128"/>
              <a:gd name="T6" fmla="*/ 53 w 119"/>
              <a:gd name="T7" fmla="*/ 1 h 128"/>
              <a:gd name="T8" fmla="*/ 93 w 119"/>
              <a:gd name="T9" fmla="*/ 58 h 128"/>
              <a:gd name="T10" fmla="*/ 119 w 119"/>
              <a:gd name="T11" fmla="*/ 120 h 128"/>
              <a:gd name="T12" fmla="*/ 26 w 119"/>
              <a:gd name="T13" fmla="*/ 128 h 128"/>
              <a:gd name="T14" fmla="*/ 7 w 119"/>
              <a:gd name="T15" fmla="*/ 47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9" h="128">
                <a:moveTo>
                  <a:pt x="7" y="47"/>
                </a:moveTo>
                <a:cubicBezTo>
                  <a:pt x="3" y="47"/>
                  <a:pt x="0" y="47"/>
                  <a:pt x="0" y="47"/>
                </a:cubicBezTo>
                <a:cubicBezTo>
                  <a:pt x="0" y="47"/>
                  <a:pt x="5" y="34"/>
                  <a:pt x="12" y="20"/>
                </a:cubicBezTo>
                <a:cubicBezTo>
                  <a:pt x="19" y="5"/>
                  <a:pt x="32" y="0"/>
                  <a:pt x="53" y="1"/>
                </a:cubicBezTo>
                <a:cubicBezTo>
                  <a:pt x="75" y="2"/>
                  <a:pt x="88" y="44"/>
                  <a:pt x="93" y="58"/>
                </a:cubicBezTo>
                <a:cubicBezTo>
                  <a:pt x="97" y="69"/>
                  <a:pt x="108" y="104"/>
                  <a:pt x="119" y="120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16" y="93"/>
                  <a:pt x="8" y="68"/>
                  <a:pt x="7" y="4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5" name="Freeform 1128">
            <a:extLst>
              <a:ext uri="{FF2B5EF4-FFF2-40B4-BE49-F238E27FC236}">
                <a16:creationId xmlns:a16="http://schemas.microsoft.com/office/drawing/2014/main" id="{6635B173-80AF-436C-942A-996E0ABE82AB}"/>
              </a:ext>
            </a:extLst>
          </p:cNvPr>
          <p:cNvSpPr>
            <a:spLocks/>
          </p:cNvSpPr>
          <p:nvPr/>
        </p:nvSpPr>
        <p:spPr bwMode="auto">
          <a:xfrm>
            <a:off x="7504889" y="6341689"/>
            <a:ext cx="51342" cy="10018"/>
          </a:xfrm>
          <a:custGeom>
            <a:avLst/>
            <a:gdLst>
              <a:gd name="T0" fmla="*/ 99 w 99"/>
              <a:gd name="T1" fmla="*/ 12 h 20"/>
              <a:gd name="T2" fmla="*/ 92 w 99"/>
              <a:gd name="T3" fmla="*/ 0 h 20"/>
              <a:gd name="T4" fmla="*/ 0 w 99"/>
              <a:gd name="T5" fmla="*/ 0 h 20"/>
              <a:gd name="T6" fmla="*/ 6 w 99"/>
              <a:gd name="T7" fmla="*/ 20 h 20"/>
              <a:gd name="T8" fmla="*/ 99 w 99"/>
              <a:gd name="T9" fmla="*/ 1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9" h="20">
                <a:moveTo>
                  <a:pt x="99" y="12"/>
                </a:moveTo>
                <a:cubicBezTo>
                  <a:pt x="97" y="8"/>
                  <a:pt x="95" y="4"/>
                  <a:pt x="92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6"/>
                  <a:pt x="3" y="13"/>
                  <a:pt x="6" y="20"/>
                </a:cubicBezTo>
                <a:lnTo>
                  <a:pt x="99" y="12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6" name="Freeform 1129">
            <a:extLst>
              <a:ext uri="{FF2B5EF4-FFF2-40B4-BE49-F238E27FC236}">
                <a16:creationId xmlns:a16="http://schemas.microsoft.com/office/drawing/2014/main" id="{C0F6BFE2-6E65-4410-9DC6-0CF294EA7ED4}"/>
              </a:ext>
            </a:extLst>
          </p:cNvPr>
          <p:cNvSpPr>
            <a:spLocks/>
          </p:cNvSpPr>
          <p:nvPr/>
        </p:nvSpPr>
        <p:spPr bwMode="auto">
          <a:xfrm>
            <a:off x="7494871" y="6274069"/>
            <a:ext cx="52594" cy="47585"/>
          </a:xfrm>
          <a:custGeom>
            <a:avLst/>
            <a:gdLst>
              <a:gd name="T0" fmla="*/ 14 w 101"/>
              <a:gd name="T1" fmla="*/ 65 h 92"/>
              <a:gd name="T2" fmla="*/ 10 w 101"/>
              <a:gd name="T3" fmla="*/ 38 h 92"/>
              <a:gd name="T4" fmla="*/ 10 w 101"/>
              <a:gd name="T5" fmla="*/ 6 h 92"/>
              <a:gd name="T6" fmla="*/ 74 w 101"/>
              <a:gd name="T7" fmla="*/ 9 h 92"/>
              <a:gd name="T8" fmla="*/ 91 w 101"/>
              <a:gd name="T9" fmla="*/ 80 h 92"/>
              <a:gd name="T10" fmla="*/ 45 w 101"/>
              <a:gd name="T11" fmla="*/ 84 h 92"/>
              <a:gd name="T12" fmla="*/ 29 w 101"/>
              <a:gd name="T13" fmla="*/ 51 h 92"/>
              <a:gd name="T14" fmla="*/ 19 w 101"/>
              <a:gd name="T15" fmla="*/ 63 h 92"/>
              <a:gd name="T16" fmla="*/ 14 w 101"/>
              <a:gd name="T17" fmla="*/ 65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1" h="92">
                <a:moveTo>
                  <a:pt x="14" y="65"/>
                </a:moveTo>
                <a:cubicBezTo>
                  <a:pt x="13" y="58"/>
                  <a:pt x="10" y="44"/>
                  <a:pt x="10" y="38"/>
                </a:cubicBezTo>
                <a:cubicBezTo>
                  <a:pt x="3" y="35"/>
                  <a:pt x="0" y="15"/>
                  <a:pt x="10" y="6"/>
                </a:cubicBezTo>
                <a:cubicBezTo>
                  <a:pt x="15" y="16"/>
                  <a:pt x="47" y="0"/>
                  <a:pt x="74" y="9"/>
                </a:cubicBezTo>
                <a:cubicBezTo>
                  <a:pt x="101" y="18"/>
                  <a:pt x="98" y="57"/>
                  <a:pt x="91" y="80"/>
                </a:cubicBezTo>
                <a:cubicBezTo>
                  <a:pt x="88" y="90"/>
                  <a:pt x="52" y="92"/>
                  <a:pt x="45" y="84"/>
                </a:cubicBezTo>
                <a:cubicBezTo>
                  <a:pt x="37" y="76"/>
                  <a:pt x="34" y="56"/>
                  <a:pt x="29" y="51"/>
                </a:cubicBezTo>
                <a:cubicBezTo>
                  <a:pt x="24" y="46"/>
                  <a:pt x="18" y="56"/>
                  <a:pt x="19" y="63"/>
                </a:cubicBezTo>
                <a:cubicBezTo>
                  <a:pt x="18" y="64"/>
                  <a:pt x="16" y="64"/>
                  <a:pt x="14" y="65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" name="Freeform 1130">
            <a:extLst>
              <a:ext uri="{FF2B5EF4-FFF2-40B4-BE49-F238E27FC236}">
                <a16:creationId xmlns:a16="http://schemas.microsoft.com/office/drawing/2014/main" id="{218EDE2A-A5B4-4F40-B600-2F5326780D4F}"/>
              </a:ext>
            </a:extLst>
          </p:cNvPr>
          <p:cNvSpPr>
            <a:spLocks/>
          </p:cNvSpPr>
          <p:nvPr/>
        </p:nvSpPr>
        <p:spPr bwMode="auto">
          <a:xfrm>
            <a:off x="7600059" y="6559578"/>
            <a:ext cx="10018" cy="10018"/>
          </a:xfrm>
          <a:custGeom>
            <a:avLst/>
            <a:gdLst>
              <a:gd name="T0" fmla="*/ 18 w 20"/>
              <a:gd name="T1" fmla="*/ 2 h 20"/>
              <a:gd name="T2" fmla="*/ 18 w 20"/>
              <a:gd name="T3" fmla="*/ 8 h 20"/>
              <a:gd name="T4" fmla="*/ 8 w 20"/>
              <a:gd name="T5" fmla="*/ 18 h 20"/>
              <a:gd name="T6" fmla="*/ 2 w 20"/>
              <a:gd name="T7" fmla="*/ 18 h 20"/>
              <a:gd name="T8" fmla="*/ 2 w 20"/>
              <a:gd name="T9" fmla="*/ 18 h 20"/>
              <a:gd name="T10" fmla="*/ 2 w 20"/>
              <a:gd name="T11" fmla="*/ 12 h 20"/>
              <a:gd name="T12" fmla="*/ 12 w 20"/>
              <a:gd name="T13" fmla="*/ 2 h 20"/>
              <a:gd name="T14" fmla="*/ 18 w 20"/>
              <a:gd name="T15" fmla="*/ 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" h="20">
                <a:moveTo>
                  <a:pt x="18" y="2"/>
                </a:moveTo>
                <a:cubicBezTo>
                  <a:pt x="20" y="3"/>
                  <a:pt x="20" y="6"/>
                  <a:pt x="18" y="8"/>
                </a:cubicBezTo>
                <a:cubicBezTo>
                  <a:pt x="8" y="18"/>
                  <a:pt x="8" y="18"/>
                  <a:pt x="8" y="18"/>
                </a:cubicBezTo>
                <a:cubicBezTo>
                  <a:pt x="7" y="20"/>
                  <a:pt x="4" y="20"/>
                  <a:pt x="2" y="18"/>
                </a:cubicBezTo>
                <a:cubicBezTo>
                  <a:pt x="2" y="18"/>
                  <a:pt x="2" y="18"/>
                  <a:pt x="2" y="18"/>
                </a:cubicBezTo>
                <a:cubicBezTo>
                  <a:pt x="0" y="16"/>
                  <a:pt x="0" y="13"/>
                  <a:pt x="2" y="12"/>
                </a:cubicBezTo>
                <a:cubicBezTo>
                  <a:pt x="12" y="2"/>
                  <a:pt x="12" y="2"/>
                  <a:pt x="12" y="2"/>
                </a:cubicBezTo>
                <a:cubicBezTo>
                  <a:pt x="14" y="0"/>
                  <a:pt x="17" y="0"/>
                  <a:pt x="18" y="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8" name="Freeform 1131">
            <a:extLst>
              <a:ext uri="{FF2B5EF4-FFF2-40B4-BE49-F238E27FC236}">
                <a16:creationId xmlns:a16="http://schemas.microsoft.com/office/drawing/2014/main" id="{7AF86727-96D4-48AC-879C-4A5C6EBAB7A1}"/>
              </a:ext>
            </a:extLst>
          </p:cNvPr>
          <p:cNvSpPr>
            <a:spLocks/>
          </p:cNvSpPr>
          <p:nvPr/>
        </p:nvSpPr>
        <p:spPr bwMode="auto">
          <a:xfrm>
            <a:off x="7606319" y="6559578"/>
            <a:ext cx="17531" cy="11270"/>
          </a:xfrm>
          <a:custGeom>
            <a:avLst/>
            <a:gdLst>
              <a:gd name="T0" fmla="*/ 35 w 35"/>
              <a:gd name="T1" fmla="*/ 5 h 23"/>
              <a:gd name="T2" fmla="*/ 31 w 35"/>
              <a:gd name="T3" fmla="*/ 0 h 23"/>
              <a:gd name="T4" fmla="*/ 4 w 35"/>
              <a:gd name="T5" fmla="*/ 0 h 23"/>
              <a:gd name="T6" fmla="*/ 0 w 35"/>
              <a:gd name="T7" fmla="*/ 5 h 23"/>
              <a:gd name="T8" fmla="*/ 0 w 35"/>
              <a:gd name="T9" fmla="*/ 18 h 23"/>
              <a:gd name="T10" fmla="*/ 4 w 35"/>
              <a:gd name="T11" fmla="*/ 23 h 23"/>
              <a:gd name="T12" fmla="*/ 31 w 35"/>
              <a:gd name="T13" fmla="*/ 23 h 23"/>
              <a:gd name="T14" fmla="*/ 35 w 35"/>
              <a:gd name="T15" fmla="*/ 18 h 23"/>
              <a:gd name="T16" fmla="*/ 35 w 35"/>
              <a:gd name="T17" fmla="*/ 5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5" h="23">
                <a:moveTo>
                  <a:pt x="35" y="5"/>
                </a:moveTo>
                <a:cubicBezTo>
                  <a:pt x="35" y="2"/>
                  <a:pt x="33" y="0"/>
                  <a:pt x="31" y="0"/>
                </a:cubicBez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5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21"/>
                  <a:pt x="2" y="23"/>
                  <a:pt x="4" y="23"/>
                </a:cubicBezTo>
                <a:cubicBezTo>
                  <a:pt x="31" y="23"/>
                  <a:pt x="31" y="23"/>
                  <a:pt x="31" y="23"/>
                </a:cubicBezTo>
                <a:cubicBezTo>
                  <a:pt x="33" y="23"/>
                  <a:pt x="35" y="21"/>
                  <a:pt x="35" y="18"/>
                </a:cubicBezTo>
                <a:lnTo>
                  <a:pt x="35" y="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9" name="Freeform 1132">
            <a:extLst>
              <a:ext uri="{FF2B5EF4-FFF2-40B4-BE49-F238E27FC236}">
                <a16:creationId xmlns:a16="http://schemas.microsoft.com/office/drawing/2014/main" id="{F08038E4-C380-4F71-9184-AAD52116C6F7}"/>
              </a:ext>
            </a:extLst>
          </p:cNvPr>
          <p:cNvSpPr>
            <a:spLocks/>
          </p:cNvSpPr>
          <p:nvPr/>
        </p:nvSpPr>
        <p:spPr bwMode="auto">
          <a:xfrm>
            <a:off x="7546212" y="6344194"/>
            <a:ext cx="85152" cy="212880"/>
          </a:xfrm>
          <a:custGeom>
            <a:avLst/>
            <a:gdLst>
              <a:gd name="T0" fmla="*/ 76 w 163"/>
              <a:gd name="T1" fmla="*/ 0 h 409"/>
              <a:gd name="T2" fmla="*/ 145 w 163"/>
              <a:gd name="T3" fmla="*/ 409 h 409"/>
              <a:gd name="T4" fmla="*/ 118 w 163"/>
              <a:gd name="T5" fmla="*/ 409 h 409"/>
              <a:gd name="T6" fmla="*/ 23 w 163"/>
              <a:gd name="T7" fmla="*/ 68 h 409"/>
              <a:gd name="T8" fmla="*/ 76 w 163"/>
              <a:gd name="T9" fmla="*/ 0 h 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3" h="409">
                <a:moveTo>
                  <a:pt x="76" y="0"/>
                </a:moveTo>
                <a:cubicBezTo>
                  <a:pt x="118" y="0"/>
                  <a:pt x="163" y="291"/>
                  <a:pt x="145" y="409"/>
                </a:cubicBezTo>
                <a:cubicBezTo>
                  <a:pt x="118" y="409"/>
                  <a:pt x="118" y="409"/>
                  <a:pt x="118" y="409"/>
                </a:cubicBezTo>
                <a:cubicBezTo>
                  <a:pt x="120" y="301"/>
                  <a:pt x="82" y="156"/>
                  <a:pt x="23" y="68"/>
                </a:cubicBezTo>
                <a:cubicBezTo>
                  <a:pt x="0" y="33"/>
                  <a:pt x="53" y="0"/>
                  <a:pt x="76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0" name="Rectangle 1133">
            <a:extLst>
              <a:ext uri="{FF2B5EF4-FFF2-40B4-BE49-F238E27FC236}">
                <a16:creationId xmlns:a16="http://schemas.microsoft.com/office/drawing/2014/main" id="{0B901BCA-7932-496B-BBDC-4BE982F7EA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63743" y="6491957"/>
            <a:ext cx="93918" cy="78891"/>
          </a:xfrm>
          <a:prstGeom prst="rect">
            <a:avLst/>
          </a:pr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1" name="Rectangle 1134">
            <a:extLst>
              <a:ext uri="{FF2B5EF4-FFF2-40B4-BE49-F238E27FC236}">
                <a16:creationId xmlns:a16="http://schemas.microsoft.com/office/drawing/2014/main" id="{CC1DBB3D-13D1-477C-AF76-A48C61B474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71257" y="6500723"/>
            <a:ext cx="78891" cy="6261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2" name="Rectangle 1135">
            <a:extLst>
              <a:ext uri="{FF2B5EF4-FFF2-40B4-BE49-F238E27FC236}">
                <a16:creationId xmlns:a16="http://schemas.microsoft.com/office/drawing/2014/main" id="{52BC1498-81BC-4CDC-90B9-B7188AE3A7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8735" y="6513246"/>
            <a:ext cx="17531" cy="36315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3" name="Rectangle 1136">
            <a:extLst>
              <a:ext uri="{FF2B5EF4-FFF2-40B4-BE49-F238E27FC236}">
                <a16:creationId xmlns:a16="http://schemas.microsoft.com/office/drawing/2014/main" id="{C949CFDB-110C-45E2-9B33-9E47E86E01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92545" y="6508237"/>
            <a:ext cx="6262" cy="46333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4" name="Rectangle 1137">
            <a:extLst>
              <a:ext uri="{FF2B5EF4-FFF2-40B4-BE49-F238E27FC236}">
                <a16:creationId xmlns:a16="http://schemas.microsoft.com/office/drawing/2014/main" id="{9B930661-A7EF-4CFE-B5AA-42C4BEC9DA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0077" y="6508237"/>
            <a:ext cx="6262" cy="46333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5" name="Rectangle 1138">
            <a:extLst>
              <a:ext uri="{FF2B5EF4-FFF2-40B4-BE49-F238E27FC236}">
                <a16:creationId xmlns:a16="http://schemas.microsoft.com/office/drawing/2014/main" id="{379A10AF-64AC-4EDF-A334-E1B2D7F23C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8860" y="6508237"/>
            <a:ext cx="6262" cy="46333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6" name="Freeform 1139">
            <a:extLst>
              <a:ext uri="{FF2B5EF4-FFF2-40B4-BE49-F238E27FC236}">
                <a16:creationId xmlns:a16="http://schemas.microsoft.com/office/drawing/2014/main" id="{B834CDE7-9B94-4260-B5CD-E4C4C22A2B2F}"/>
              </a:ext>
            </a:extLst>
          </p:cNvPr>
          <p:cNvSpPr>
            <a:spLocks/>
          </p:cNvSpPr>
          <p:nvPr/>
        </p:nvSpPr>
        <p:spPr bwMode="auto">
          <a:xfrm>
            <a:off x="7610077" y="6565839"/>
            <a:ext cx="5009" cy="10018"/>
          </a:xfrm>
          <a:custGeom>
            <a:avLst/>
            <a:gdLst>
              <a:gd name="T0" fmla="*/ 0 w 9"/>
              <a:gd name="T1" fmla="*/ 4 h 18"/>
              <a:gd name="T2" fmla="*/ 4 w 9"/>
              <a:gd name="T3" fmla="*/ 0 h 18"/>
              <a:gd name="T4" fmla="*/ 9 w 9"/>
              <a:gd name="T5" fmla="*/ 4 h 18"/>
              <a:gd name="T6" fmla="*/ 9 w 9"/>
              <a:gd name="T7" fmla="*/ 13 h 18"/>
              <a:gd name="T8" fmla="*/ 4 w 9"/>
              <a:gd name="T9" fmla="*/ 18 h 18"/>
              <a:gd name="T10" fmla="*/ 4 w 9"/>
              <a:gd name="T11" fmla="*/ 18 h 18"/>
              <a:gd name="T12" fmla="*/ 0 w 9"/>
              <a:gd name="T13" fmla="*/ 13 h 18"/>
              <a:gd name="T14" fmla="*/ 0 w 9"/>
              <a:gd name="T15" fmla="*/ 4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8">
                <a:moveTo>
                  <a:pt x="0" y="4"/>
                </a:moveTo>
                <a:cubicBezTo>
                  <a:pt x="0" y="2"/>
                  <a:pt x="2" y="0"/>
                  <a:pt x="4" y="0"/>
                </a:cubicBezTo>
                <a:cubicBezTo>
                  <a:pt x="7" y="0"/>
                  <a:pt x="9" y="2"/>
                  <a:pt x="9" y="4"/>
                </a:cubicBezTo>
                <a:cubicBezTo>
                  <a:pt x="9" y="13"/>
                  <a:pt x="9" y="13"/>
                  <a:pt x="9" y="13"/>
                </a:cubicBezTo>
                <a:cubicBezTo>
                  <a:pt x="9" y="16"/>
                  <a:pt x="7" y="18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2" y="18"/>
                  <a:pt x="0" y="16"/>
                  <a:pt x="0" y="13"/>
                </a:cubicBezTo>
                <a:lnTo>
                  <a:pt x="0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7" name="Freeform 1140">
            <a:extLst>
              <a:ext uri="{FF2B5EF4-FFF2-40B4-BE49-F238E27FC236}">
                <a16:creationId xmlns:a16="http://schemas.microsoft.com/office/drawing/2014/main" id="{FF7A082D-C604-48E0-9E2E-37D192896ED2}"/>
              </a:ext>
            </a:extLst>
          </p:cNvPr>
          <p:cNvSpPr>
            <a:spLocks/>
          </p:cNvSpPr>
          <p:nvPr/>
        </p:nvSpPr>
        <p:spPr bwMode="auto">
          <a:xfrm>
            <a:off x="7606319" y="6565839"/>
            <a:ext cx="3757" cy="10018"/>
          </a:xfrm>
          <a:custGeom>
            <a:avLst/>
            <a:gdLst>
              <a:gd name="T0" fmla="*/ 0 w 9"/>
              <a:gd name="T1" fmla="*/ 4 h 18"/>
              <a:gd name="T2" fmla="*/ 4 w 9"/>
              <a:gd name="T3" fmla="*/ 0 h 18"/>
              <a:gd name="T4" fmla="*/ 9 w 9"/>
              <a:gd name="T5" fmla="*/ 4 h 18"/>
              <a:gd name="T6" fmla="*/ 9 w 9"/>
              <a:gd name="T7" fmla="*/ 13 h 18"/>
              <a:gd name="T8" fmla="*/ 4 w 9"/>
              <a:gd name="T9" fmla="*/ 18 h 18"/>
              <a:gd name="T10" fmla="*/ 4 w 9"/>
              <a:gd name="T11" fmla="*/ 18 h 18"/>
              <a:gd name="T12" fmla="*/ 0 w 9"/>
              <a:gd name="T13" fmla="*/ 13 h 18"/>
              <a:gd name="T14" fmla="*/ 0 w 9"/>
              <a:gd name="T15" fmla="*/ 4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" h="18">
                <a:moveTo>
                  <a:pt x="0" y="4"/>
                </a:moveTo>
                <a:cubicBezTo>
                  <a:pt x="0" y="2"/>
                  <a:pt x="2" y="0"/>
                  <a:pt x="4" y="0"/>
                </a:cubicBezTo>
                <a:cubicBezTo>
                  <a:pt x="7" y="0"/>
                  <a:pt x="9" y="2"/>
                  <a:pt x="9" y="4"/>
                </a:cubicBezTo>
                <a:cubicBezTo>
                  <a:pt x="9" y="13"/>
                  <a:pt x="9" y="13"/>
                  <a:pt x="9" y="13"/>
                </a:cubicBezTo>
                <a:cubicBezTo>
                  <a:pt x="9" y="16"/>
                  <a:pt x="7" y="18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2" y="18"/>
                  <a:pt x="0" y="16"/>
                  <a:pt x="0" y="13"/>
                </a:cubicBezTo>
                <a:lnTo>
                  <a:pt x="0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8" name="Freeform 1141">
            <a:extLst>
              <a:ext uri="{FF2B5EF4-FFF2-40B4-BE49-F238E27FC236}">
                <a16:creationId xmlns:a16="http://schemas.microsoft.com/office/drawing/2014/main" id="{099F1D73-FF4D-4AA4-8AD8-00791F03E890}"/>
              </a:ext>
            </a:extLst>
          </p:cNvPr>
          <p:cNvSpPr>
            <a:spLocks/>
          </p:cNvSpPr>
          <p:nvPr/>
        </p:nvSpPr>
        <p:spPr bwMode="auto">
          <a:xfrm>
            <a:off x="7615085" y="6565839"/>
            <a:ext cx="5009" cy="10018"/>
          </a:xfrm>
          <a:custGeom>
            <a:avLst/>
            <a:gdLst>
              <a:gd name="T0" fmla="*/ 4 w 8"/>
              <a:gd name="T1" fmla="*/ 0 h 18"/>
              <a:gd name="T2" fmla="*/ 8 w 8"/>
              <a:gd name="T3" fmla="*/ 4 h 18"/>
              <a:gd name="T4" fmla="*/ 8 w 8"/>
              <a:gd name="T5" fmla="*/ 13 h 18"/>
              <a:gd name="T6" fmla="*/ 4 w 8"/>
              <a:gd name="T7" fmla="*/ 18 h 18"/>
              <a:gd name="T8" fmla="*/ 4 w 8"/>
              <a:gd name="T9" fmla="*/ 18 h 18"/>
              <a:gd name="T10" fmla="*/ 0 w 8"/>
              <a:gd name="T11" fmla="*/ 13 h 18"/>
              <a:gd name="T12" fmla="*/ 0 w 8"/>
              <a:gd name="T13" fmla="*/ 4 h 18"/>
              <a:gd name="T14" fmla="*/ 4 w 8"/>
              <a:gd name="T15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" h="18">
                <a:moveTo>
                  <a:pt x="4" y="0"/>
                </a:moveTo>
                <a:cubicBezTo>
                  <a:pt x="6" y="0"/>
                  <a:pt x="8" y="2"/>
                  <a:pt x="8" y="4"/>
                </a:cubicBezTo>
                <a:cubicBezTo>
                  <a:pt x="8" y="13"/>
                  <a:pt x="8" y="13"/>
                  <a:pt x="8" y="13"/>
                </a:cubicBezTo>
                <a:cubicBezTo>
                  <a:pt x="8" y="16"/>
                  <a:pt x="6" y="18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1" y="18"/>
                  <a:pt x="0" y="16"/>
                  <a:pt x="0" y="13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1" y="0"/>
                  <a:pt x="4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9" name="Freeform 1142">
            <a:extLst>
              <a:ext uri="{FF2B5EF4-FFF2-40B4-BE49-F238E27FC236}">
                <a16:creationId xmlns:a16="http://schemas.microsoft.com/office/drawing/2014/main" id="{319C3174-1097-451C-9F04-21F364FA3E50}"/>
              </a:ext>
            </a:extLst>
          </p:cNvPr>
          <p:cNvSpPr>
            <a:spLocks/>
          </p:cNvSpPr>
          <p:nvPr/>
        </p:nvSpPr>
        <p:spPr bwMode="auto">
          <a:xfrm>
            <a:off x="7620094" y="6565839"/>
            <a:ext cx="3757" cy="10018"/>
          </a:xfrm>
          <a:custGeom>
            <a:avLst/>
            <a:gdLst>
              <a:gd name="T0" fmla="*/ 0 w 9"/>
              <a:gd name="T1" fmla="*/ 4 h 18"/>
              <a:gd name="T2" fmla="*/ 5 w 9"/>
              <a:gd name="T3" fmla="*/ 0 h 18"/>
              <a:gd name="T4" fmla="*/ 9 w 9"/>
              <a:gd name="T5" fmla="*/ 4 h 18"/>
              <a:gd name="T6" fmla="*/ 9 w 9"/>
              <a:gd name="T7" fmla="*/ 13 h 18"/>
              <a:gd name="T8" fmla="*/ 5 w 9"/>
              <a:gd name="T9" fmla="*/ 18 h 18"/>
              <a:gd name="T10" fmla="*/ 0 w 9"/>
              <a:gd name="T11" fmla="*/ 13 h 18"/>
              <a:gd name="T12" fmla="*/ 0 w 9"/>
              <a:gd name="T13" fmla="*/ 4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" h="18">
                <a:moveTo>
                  <a:pt x="0" y="4"/>
                </a:moveTo>
                <a:cubicBezTo>
                  <a:pt x="0" y="2"/>
                  <a:pt x="2" y="0"/>
                  <a:pt x="5" y="0"/>
                </a:cubicBezTo>
                <a:cubicBezTo>
                  <a:pt x="7" y="0"/>
                  <a:pt x="9" y="2"/>
                  <a:pt x="9" y="4"/>
                </a:cubicBezTo>
                <a:cubicBezTo>
                  <a:pt x="9" y="13"/>
                  <a:pt x="9" y="13"/>
                  <a:pt x="9" y="13"/>
                </a:cubicBezTo>
                <a:cubicBezTo>
                  <a:pt x="9" y="16"/>
                  <a:pt x="7" y="18"/>
                  <a:pt x="5" y="18"/>
                </a:cubicBezTo>
                <a:cubicBezTo>
                  <a:pt x="2" y="18"/>
                  <a:pt x="0" y="16"/>
                  <a:pt x="0" y="13"/>
                </a:cubicBezTo>
                <a:lnTo>
                  <a:pt x="0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0" name="Freeform 1143">
            <a:extLst>
              <a:ext uri="{FF2B5EF4-FFF2-40B4-BE49-F238E27FC236}">
                <a16:creationId xmlns:a16="http://schemas.microsoft.com/office/drawing/2014/main" id="{81B2AE65-CEAD-4FD0-8EB4-0B299BF2DD4C}"/>
              </a:ext>
            </a:extLst>
          </p:cNvPr>
          <p:cNvSpPr>
            <a:spLocks/>
          </p:cNvSpPr>
          <p:nvPr/>
        </p:nvSpPr>
        <p:spPr bwMode="auto">
          <a:xfrm>
            <a:off x="7461060" y="6756179"/>
            <a:ext cx="32558" cy="10018"/>
          </a:xfrm>
          <a:custGeom>
            <a:avLst/>
            <a:gdLst>
              <a:gd name="T0" fmla="*/ 37 w 61"/>
              <a:gd name="T1" fmla="*/ 0 h 20"/>
              <a:gd name="T2" fmla="*/ 16 w 61"/>
              <a:gd name="T3" fmla="*/ 5 h 20"/>
              <a:gd name="T4" fmla="*/ 12 w 61"/>
              <a:gd name="T5" fmla="*/ 15 h 20"/>
              <a:gd name="T6" fmla="*/ 44 w 61"/>
              <a:gd name="T7" fmla="*/ 13 h 20"/>
              <a:gd name="T8" fmla="*/ 44 w 61"/>
              <a:gd name="T9" fmla="*/ 18 h 20"/>
              <a:gd name="T10" fmla="*/ 61 w 61"/>
              <a:gd name="T11" fmla="*/ 18 h 20"/>
              <a:gd name="T12" fmla="*/ 60 w 61"/>
              <a:gd name="T13" fmla="*/ 1 h 20"/>
              <a:gd name="T14" fmla="*/ 37 w 61"/>
              <a:gd name="T15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1" h="20">
                <a:moveTo>
                  <a:pt x="37" y="0"/>
                </a:moveTo>
                <a:cubicBezTo>
                  <a:pt x="35" y="4"/>
                  <a:pt x="24" y="7"/>
                  <a:pt x="16" y="5"/>
                </a:cubicBezTo>
                <a:cubicBezTo>
                  <a:pt x="9" y="4"/>
                  <a:pt x="0" y="11"/>
                  <a:pt x="12" y="15"/>
                </a:cubicBezTo>
                <a:cubicBezTo>
                  <a:pt x="25" y="20"/>
                  <a:pt x="40" y="19"/>
                  <a:pt x="44" y="13"/>
                </a:cubicBezTo>
                <a:cubicBezTo>
                  <a:pt x="44" y="15"/>
                  <a:pt x="44" y="18"/>
                  <a:pt x="44" y="18"/>
                </a:cubicBezTo>
                <a:cubicBezTo>
                  <a:pt x="61" y="18"/>
                  <a:pt x="61" y="18"/>
                  <a:pt x="61" y="18"/>
                </a:cubicBezTo>
                <a:cubicBezTo>
                  <a:pt x="60" y="1"/>
                  <a:pt x="60" y="1"/>
                  <a:pt x="60" y="1"/>
                </a:cubicBezTo>
                <a:lnTo>
                  <a:pt x="37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1" name="Freeform 1144">
            <a:extLst>
              <a:ext uri="{FF2B5EF4-FFF2-40B4-BE49-F238E27FC236}">
                <a16:creationId xmlns:a16="http://schemas.microsoft.com/office/drawing/2014/main" id="{1639B05F-55E7-4D2A-93FC-2BA193C6497C}"/>
              </a:ext>
            </a:extLst>
          </p:cNvPr>
          <p:cNvSpPr>
            <a:spLocks/>
          </p:cNvSpPr>
          <p:nvPr/>
        </p:nvSpPr>
        <p:spPr bwMode="auto">
          <a:xfrm>
            <a:off x="7473583" y="6510741"/>
            <a:ext cx="70125" cy="241681"/>
          </a:xfrm>
          <a:custGeom>
            <a:avLst/>
            <a:gdLst>
              <a:gd name="T0" fmla="*/ 4 w 134"/>
              <a:gd name="T1" fmla="*/ 76 h 463"/>
              <a:gd name="T2" fmla="*/ 13 w 134"/>
              <a:gd name="T3" fmla="*/ 463 h 463"/>
              <a:gd name="T4" fmla="*/ 36 w 134"/>
              <a:gd name="T5" fmla="*/ 463 h 463"/>
              <a:gd name="T6" fmla="*/ 113 w 134"/>
              <a:gd name="T7" fmla="*/ 76 h 463"/>
              <a:gd name="T8" fmla="*/ 4 w 134"/>
              <a:gd name="T9" fmla="*/ 76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4" h="463">
                <a:moveTo>
                  <a:pt x="4" y="76"/>
                </a:moveTo>
                <a:cubicBezTo>
                  <a:pt x="0" y="214"/>
                  <a:pt x="3" y="346"/>
                  <a:pt x="13" y="463"/>
                </a:cubicBezTo>
                <a:cubicBezTo>
                  <a:pt x="19" y="463"/>
                  <a:pt x="13" y="463"/>
                  <a:pt x="36" y="463"/>
                </a:cubicBezTo>
                <a:cubicBezTo>
                  <a:pt x="41" y="337"/>
                  <a:pt x="77" y="198"/>
                  <a:pt x="113" y="76"/>
                </a:cubicBezTo>
                <a:cubicBezTo>
                  <a:pt x="134" y="2"/>
                  <a:pt x="6" y="0"/>
                  <a:pt x="4" y="76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2" name="Freeform 1145">
            <a:extLst>
              <a:ext uri="{FF2B5EF4-FFF2-40B4-BE49-F238E27FC236}">
                <a16:creationId xmlns:a16="http://schemas.microsoft.com/office/drawing/2014/main" id="{57D2B1EC-BDBA-4346-91FF-650473F63A70}"/>
              </a:ext>
            </a:extLst>
          </p:cNvPr>
          <p:cNvSpPr>
            <a:spLocks/>
          </p:cNvSpPr>
          <p:nvPr/>
        </p:nvSpPr>
        <p:spPr bwMode="auto">
          <a:xfrm>
            <a:off x="7537447" y="6758683"/>
            <a:ext cx="31306" cy="10018"/>
          </a:xfrm>
          <a:custGeom>
            <a:avLst/>
            <a:gdLst>
              <a:gd name="T0" fmla="*/ 36 w 61"/>
              <a:gd name="T1" fmla="*/ 0 h 19"/>
              <a:gd name="T2" fmla="*/ 15 w 61"/>
              <a:gd name="T3" fmla="*/ 5 h 19"/>
              <a:gd name="T4" fmla="*/ 11 w 61"/>
              <a:gd name="T5" fmla="*/ 15 h 19"/>
              <a:gd name="T6" fmla="*/ 44 w 61"/>
              <a:gd name="T7" fmla="*/ 13 h 19"/>
              <a:gd name="T8" fmla="*/ 43 w 61"/>
              <a:gd name="T9" fmla="*/ 17 h 19"/>
              <a:gd name="T10" fmla="*/ 61 w 61"/>
              <a:gd name="T11" fmla="*/ 18 h 19"/>
              <a:gd name="T12" fmla="*/ 59 w 61"/>
              <a:gd name="T13" fmla="*/ 0 h 19"/>
              <a:gd name="T14" fmla="*/ 36 w 61"/>
              <a:gd name="T15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1" h="19">
                <a:moveTo>
                  <a:pt x="36" y="0"/>
                </a:moveTo>
                <a:cubicBezTo>
                  <a:pt x="34" y="4"/>
                  <a:pt x="23" y="6"/>
                  <a:pt x="15" y="5"/>
                </a:cubicBezTo>
                <a:cubicBezTo>
                  <a:pt x="9" y="4"/>
                  <a:pt x="0" y="11"/>
                  <a:pt x="11" y="15"/>
                </a:cubicBezTo>
                <a:cubicBezTo>
                  <a:pt x="25" y="19"/>
                  <a:pt x="39" y="18"/>
                  <a:pt x="44" y="13"/>
                </a:cubicBezTo>
                <a:cubicBezTo>
                  <a:pt x="44" y="15"/>
                  <a:pt x="43" y="17"/>
                  <a:pt x="43" y="17"/>
                </a:cubicBezTo>
                <a:cubicBezTo>
                  <a:pt x="61" y="18"/>
                  <a:pt x="61" y="18"/>
                  <a:pt x="61" y="18"/>
                </a:cubicBezTo>
                <a:cubicBezTo>
                  <a:pt x="59" y="0"/>
                  <a:pt x="59" y="0"/>
                  <a:pt x="59" y="0"/>
                </a:cubicBezTo>
                <a:lnTo>
                  <a:pt x="36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3" name="Freeform 1146">
            <a:extLst>
              <a:ext uri="{FF2B5EF4-FFF2-40B4-BE49-F238E27FC236}">
                <a16:creationId xmlns:a16="http://schemas.microsoft.com/office/drawing/2014/main" id="{B09DCDA5-916B-48C2-95D3-06F676DE5CDB}"/>
              </a:ext>
            </a:extLst>
          </p:cNvPr>
          <p:cNvSpPr>
            <a:spLocks/>
          </p:cNvSpPr>
          <p:nvPr/>
        </p:nvSpPr>
        <p:spPr bwMode="auto">
          <a:xfrm>
            <a:off x="7519916" y="6511993"/>
            <a:ext cx="67621" cy="241681"/>
          </a:xfrm>
          <a:custGeom>
            <a:avLst/>
            <a:gdLst>
              <a:gd name="T0" fmla="*/ 10 w 130"/>
              <a:gd name="T1" fmla="*/ 76 h 465"/>
              <a:gd name="T2" fmla="*/ 69 w 130"/>
              <a:gd name="T3" fmla="*/ 464 h 465"/>
              <a:gd name="T4" fmla="*/ 93 w 130"/>
              <a:gd name="T5" fmla="*/ 465 h 465"/>
              <a:gd name="T6" fmla="*/ 120 w 130"/>
              <a:gd name="T7" fmla="*/ 76 h 465"/>
              <a:gd name="T8" fmla="*/ 10 w 130"/>
              <a:gd name="T9" fmla="*/ 76 h 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465">
                <a:moveTo>
                  <a:pt x="10" y="76"/>
                </a:moveTo>
                <a:cubicBezTo>
                  <a:pt x="30" y="230"/>
                  <a:pt x="59" y="347"/>
                  <a:pt x="69" y="464"/>
                </a:cubicBezTo>
                <a:cubicBezTo>
                  <a:pt x="75" y="464"/>
                  <a:pt x="69" y="464"/>
                  <a:pt x="93" y="465"/>
                </a:cubicBezTo>
                <a:cubicBezTo>
                  <a:pt x="97" y="339"/>
                  <a:pt x="100" y="220"/>
                  <a:pt x="120" y="76"/>
                </a:cubicBezTo>
                <a:cubicBezTo>
                  <a:pt x="130" y="0"/>
                  <a:pt x="0" y="1"/>
                  <a:pt x="10" y="76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4" name="Freeform 1147">
            <a:extLst>
              <a:ext uri="{FF2B5EF4-FFF2-40B4-BE49-F238E27FC236}">
                <a16:creationId xmlns:a16="http://schemas.microsoft.com/office/drawing/2014/main" id="{1DED30C5-EE9E-4797-B38F-50D8421AFF3A}"/>
              </a:ext>
            </a:extLst>
          </p:cNvPr>
          <p:cNvSpPr>
            <a:spLocks/>
          </p:cNvSpPr>
          <p:nvPr/>
        </p:nvSpPr>
        <p:spPr bwMode="auto">
          <a:xfrm>
            <a:off x="7464817" y="6344194"/>
            <a:ext cx="133989" cy="350625"/>
          </a:xfrm>
          <a:custGeom>
            <a:avLst/>
            <a:gdLst>
              <a:gd name="T0" fmla="*/ 241 w 258"/>
              <a:gd name="T1" fmla="*/ 393 h 675"/>
              <a:gd name="T2" fmla="*/ 234 w 258"/>
              <a:gd name="T3" fmla="*/ 0 h 675"/>
              <a:gd name="T4" fmla="*/ 13 w 258"/>
              <a:gd name="T5" fmla="*/ 0 h 675"/>
              <a:gd name="T6" fmla="*/ 7 w 258"/>
              <a:gd name="T7" fmla="*/ 408 h 675"/>
              <a:gd name="T8" fmla="*/ 0 w 258"/>
              <a:gd name="T9" fmla="*/ 663 h 675"/>
              <a:gd name="T10" fmla="*/ 139 w 258"/>
              <a:gd name="T11" fmla="*/ 669 h 675"/>
              <a:gd name="T12" fmla="*/ 159 w 258"/>
              <a:gd name="T13" fmla="*/ 510 h 675"/>
              <a:gd name="T14" fmla="*/ 175 w 258"/>
              <a:gd name="T15" fmla="*/ 669 h 675"/>
              <a:gd name="T16" fmla="*/ 258 w 258"/>
              <a:gd name="T17" fmla="*/ 675 h 675"/>
              <a:gd name="T18" fmla="*/ 241 w 258"/>
              <a:gd name="T19" fmla="*/ 393 h 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58" h="675">
                <a:moveTo>
                  <a:pt x="241" y="393"/>
                </a:moveTo>
                <a:cubicBezTo>
                  <a:pt x="243" y="371"/>
                  <a:pt x="234" y="0"/>
                  <a:pt x="234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13" y="0"/>
                  <a:pt x="11" y="355"/>
                  <a:pt x="7" y="408"/>
                </a:cubicBezTo>
                <a:cubicBezTo>
                  <a:pt x="3" y="460"/>
                  <a:pt x="0" y="663"/>
                  <a:pt x="0" y="663"/>
                </a:cubicBezTo>
                <a:cubicBezTo>
                  <a:pt x="139" y="669"/>
                  <a:pt x="139" y="669"/>
                  <a:pt x="139" y="669"/>
                </a:cubicBezTo>
                <a:cubicBezTo>
                  <a:pt x="159" y="510"/>
                  <a:pt x="159" y="510"/>
                  <a:pt x="159" y="510"/>
                </a:cubicBezTo>
                <a:cubicBezTo>
                  <a:pt x="175" y="669"/>
                  <a:pt x="175" y="669"/>
                  <a:pt x="175" y="669"/>
                </a:cubicBezTo>
                <a:cubicBezTo>
                  <a:pt x="258" y="675"/>
                  <a:pt x="258" y="675"/>
                  <a:pt x="258" y="675"/>
                </a:cubicBezTo>
                <a:cubicBezTo>
                  <a:pt x="258" y="675"/>
                  <a:pt x="240" y="415"/>
                  <a:pt x="241" y="39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5" name="Freeform 1148">
            <a:extLst>
              <a:ext uri="{FF2B5EF4-FFF2-40B4-BE49-F238E27FC236}">
                <a16:creationId xmlns:a16="http://schemas.microsoft.com/office/drawing/2014/main" id="{B11080A4-D5FE-45A3-A725-2EC9F4DAA027}"/>
              </a:ext>
            </a:extLst>
          </p:cNvPr>
          <p:cNvSpPr>
            <a:spLocks/>
          </p:cNvSpPr>
          <p:nvPr/>
        </p:nvSpPr>
        <p:spPr bwMode="auto">
          <a:xfrm>
            <a:off x="7374657" y="6391779"/>
            <a:ext cx="10018" cy="11270"/>
          </a:xfrm>
          <a:custGeom>
            <a:avLst/>
            <a:gdLst>
              <a:gd name="T0" fmla="*/ 17 w 19"/>
              <a:gd name="T1" fmla="*/ 20 h 21"/>
              <a:gd name="T2" fmla="*/ 10 w 19"/>
              <a:gd name="T3" fmla="*/ 19 h 21"/>
              <a:gd name="T4" fmla="*/ 2 w 19"/>
              <a:gd name="T5" fmla="*/ 8 h 21"/>
              <a:gd name="T6" fmla="*/ 2 w 19"/>
              <a:gd name="T7" fmla="*/ 1 h 21"/>
              <a:gd name="T8" fmla="*/ 2 w 19"/>
              <a:gd name="T9" fmla="*/ 1 h 21"/>
              <a:gd name="T10" fmla="*/ 8 w 19"/>
              <a:gd name="T11" fmla="*/ 2 h 21"/>
              <a:gd name="T12" fmla="*/ 17 w 19"/>
              <a:gd name="T13" fmla="*/ 13 h 21"/>
              <a:gd name="T14" fmla="*/ 17 w 19"/>
              <a:gd name="T15" fmla="*/ 2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9" h="21">
                <a:moveTo>
                  <a:pt x="17" y="20"/>
                </a:moveTo>
                <a:cubicBezTo>
                  <a:pt x="15" y="21"/>
                  <a:pt x="12" y="21"/>
                  <a:pt x="10" y="19"/>
                </a:cubicBezTo>
                <a:cubicBezTo>
                  <a:pt x="2" y="8"/>
                  <a:pt x="2" y="8"/>
                  <a:pt x="2" y="8"/>
                </a:cubicBezTo>
                <a:cubicBezTo>
                  <a:pt x="0" y="6"/>
                  <a:pt x="0" y="3"/>
                  <a:pt x="2" y="1"/>
                </a:cubicBezTo>
                <a:cubicBezTo>
                  <a:pt x="2" y="1"/>
                  <a:pt x="2" y="1"/>
                  <a:pt x="2" y="1"/>
                </a:cubicBezTo>
                <a:cubicBezTo>
                  <a:pt x="4" y="0"/>
                  <a:pt x="7" y="0"/>
                  <a:pt x="8" y="2"/>
                </a:cubicBezTo>
                <a:cubicBezTo>
                  <a:pt x="17" y="13"/>
                  <a:pt x="17" y="13"/>
                  <a:pt x="17" y="13"/>
                </a:cubicBezTo>
                <a:cubicBezTo>
                  <a:pt x="19" y="15"/>
                  <a:pt x="19" y="18"/>
                  <a:pt x="17" y="2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6" name="Freeform 1149">
            <a:extLst>
              <a:ext uri="{FF2B5EF4-FFF2-40B4-BE49-F238E27FC236}">
                <a16:creationId xmlns:a16="http://schemas.microsoft.com/office/drawing/2014/main" id="{AAF44A81-9663-4AD1-8A69-1B28F05A9618}"/>
              </a:ext>
            </a:extLst>
          </p:cNvPr>
          <p:cNvSpPr>
            <a:spLocks/>
          </p:cNvSpPr>
          <p:nvPr/>
        </p:nvSpPr>
        <p:spPr bwMode="auto">
          <a:xfrm>
            <a:off x="7353368" y="6398040"/>
            <a:ext cx="31306" cy="17531"/>
          </a:xfrm>
          <a:custGeom>
            <a:avLst/>
            <a:gdLst>
              <a:gd name="T0" fmla="*/ 49 w 58"/>
              <a:gd name="T1" fmla="*/ 35 h 35"/>
              <a:gd name="T2" fmla="*/ 54 w 58"/>
              <a:gd name="T3" fmla="*/ 31 h 35"/>
              <a:gd name="T4" fmla="*/ 57 w 58"/>
              <a:gd name="T5" fmla="*/ 5 h 35"/>
              <a:gd name="T6" fmla="*/ 53 w 58"/>
              <a:gd name="T7" fmla="*/ 0 h 35"/>
              <a:gd name="T8" fmla="*/ 6 w 58"/>
              <a:gd name="T9" fmla="*/ 12 h 35"/>
              <a:gd name="T10" fmla="*/ 36 w 58"/>
              <a:gd name="T11" fmla="*/ 33 h 35"/>
              <a:gd name="T12" fmla="*/ 49 w 58"/>
              <a:gd name="T13" fmla="*/ 35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8" h="35">
                <a:moveTo>
                  <a:pt x="49" y="35"/>
                </a:moveTo>
                <a:cubicBezTo>
                  <a:pt x="52" y="35"/>
                  <a:pt x="54" y="33"/>
                  <a:pt x="54" y="31"/>
                </a:cubicBezTo>
                <a:cubicBezTo>
                  <a:pt x="57" y="5"/>
                  <a:pt x="57" y="5"/>
                  <a:pt x="57" y="5"/>
                </a:cubicBezTo>
                <a:cubicBezTo>
                  <a:pt x="58" y="2"/>
                  <a:pt x="56" y="0"/>
                  <a:pt x="53" y="0"/>
                </a:cubicBezTo>
                <a:cubicBezTo>
                  <a:pt x="53" y="0"/>
                  <a:pt x="30" y="10"/>
                  <a:pt x="6" y="12"/>
                </a:cubicBezTo>
                <a:cubicBezTo>
                  <a:pt x="0" y="12"/>
                  <a:pt x="5" y="30"/>
                  <a:pt x="36" y="33"/>
                </a:cubicBezTo>
                <a:lnTo>
                  <a:pt x="49" y="3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7" name="Freeform 1150">
            <a:extLst>
              <a:ext uri="{FF2B5EF4-FFF2-40B4-BE49-F238E27FC236}">
                <a16:creationId xmlns:a16="http://schemas.microsoft.com/office/drawing/2014/main" id="{9A5F29C4-30F8-4A5F-A7CB-805207196E53}"/>
              </a:ext>
            </a:extLst>
          </p:cNvPr>
          <p:cNvSpPr>
            <a:spLocks/>
          </p:cNvSpPr>
          <p:nvPr/>
        </p:nvSpPr>
        <p:spPr bwMode="auto">
          <a:xfrm>
            <a:off x="7384674" y="6344194"/>
            <a:ext cx="107692" cy="149016"/>
          </a:xfrm>
          <a:custGeom>
            <a:avLst/>
            <a:gdLst>
              <a:gd name="T0" fmla="*/ 198 w 207"/>
              <a:gd name="T1" fmla="*/ 94 h 288"/>
              <a:gd name="T2" fmla="*/ 101 w 207"/>
              <a:gd name="T3" fmla="*/ 280 h 288"/>
              <a:gd name="T4" fmla="*/ 0 w 207"/>
              <a:gd name="T5" fmla="*/ 145 h 288"/>
              <a:gd name="T6" fmla="*/ 3 w 207"/>
              <a:gd name="T7" fmla="*/ 109 h 288"/>
              <a:gd name="T8" fmla="*/ 95 w 207"/>
              <a:gd name="T9" fmla="*/ 195 h 288"/>
              <a:gd name="T10" fmla="*/ 166 w 207"/>
              <a:gd name="T11" fmla="*/ 0 h 288"/>
              <a:gd name="T12" fmla="*/ 198 w 207"/>
              <a:gd name="T13" fmla="*/ 94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7" h="288">
                <a:moveTo>
                  <a:pt x="198" y="94"/>
                </a:moveTo>
                <a:cubicBezTo>
                  <a:pt x="188" y="120"/>
                  <a:pt x="130" y="272"/>
                  <a:pt x="101" y="280"/>
                </a:cubicBezTo>
                <a:cubicBezTo>
                  <a:pt x="72" y="288"/>
                  <a:pt x="28" y="194"/>
                  <a:pt x="0" y="145"/>
                </a:cubicBezTo>
                <a:cubicBezTo>
                  <a:pt x="3" y="109"/>
                  <a:pt x="3" y="109"/>
                  <a:pt x="3" y="109"/>
                </a:cubicBezTo>
                <a:cubicBezTo>
                  <a:pt x="44" y="145"/>
                  <a:pt x="83" y="200"/>
                  <a:pt x="95" y="195"/>
                </a:cubicBezTo>
                <a:cubicBezTo>
                  <a:pt x="108" y="189"/>
                  <a:pt x="145" y="0"/>
                  <a:pt x="166" y="0"/>
                </a:cubicBezTo>
                <a:cubicBezTo>
                  <a:pt x="187" y="0"/>
                  <a:pt x="207" y="72"/>
                  <a:pt x="198" y="9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8" name="Freeform 1151">
            <a:extLst>
              <a:ext uri="{FF2B5EF4-FFF2-40B4-BE49-F238E27FC236}">
                <a16:creationId xmlns:a16="http://schemas.microsoft.com/office/drawing/2014/main" id="{5EE1709D-8FE9-4C6B-9985-2FD14CD5091E}"/>
              </a:ext>
            </a:extLst>
          </p:cNvPr>
          <p:cNvSpPr>
            <a:spLocks/>
          </p:cNvSpPr>
          <p:nvPr/>
        </p:nvSpPr>
        <p:spPr bwMode="auto">
          <a:xfrm>
            <a:off x="7211866" y="5620403"/>
            <a:ext cx="98927" cy="214132"/>
          </a:xfrm>
          <a:custGeom>
            <a:avLst/>
            <a:gdLst>
              <a:gd name="T0" fmla="*/ 159 w 190"/>
              <a:gd name="T1" fmla="*/ 0 h 413"/>
              <a:gd name="T2" fmla="*/ 190 w 190"/>
              <a:gd name="T3" fmla="*/ 408 h 413"/>
              <a:gd name="T4" fmla="*/ 0 w 190"/>
              <a:gd name="T5" fmla="*/ 413 h 413"/>
              <a:gd name="T6" fmla="*/ 74 w 190"/>
              <a:gd name="T7" fmla="*/ 0 h 413"/>
              <a:gd name="T8" fmla="*/ 159 w 190"/>
              <a:gd name="T9" fmla="*/ 0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0" h="413">
                <a:moveTo>
                  <a:pt x="159" y="0"/>
                </a:moveTo>
                <a:cubicBezTo>
                  <a:pt x="190" y="408"/>
                  <a:pt x="190" y="408"/>
                  <a:pt x="190" y="408"/>
                </a:cubicBezTo>
                <a:cubicBezTo>
                  <a:pt x="136" y="409"/>
                  <a:pt x="54" y="412"/>
                  <a:pt x="0" y="413"/>
                </a:cubicBezTo>
                <a:cubicBezTo>
                  <a:pt x="74" y="0"/>
                  <a:pt x="74" y="0"/>
                  <a:pt x="74" y="0"/>
                </a:cubicBezTo>
                <a:lnTo>
                  <a:pt x="159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9" name="Freeform 1152">
            <a:extLst>
              <a:ext uri="{FF2B5EF4-FFF2-40B4-BE49-F238E27FC236}">
                <a16:creationId xmlns:a16="http://schemas.microsoft.com/office/drawing/2014/main" id="{ABA8B660-53EA-493C-AFFF-E24806E41E93}"/>
              </a:ext>
            </a:extLst>
          </p:cNvPr>
          <p:cNvSpPr>
            <a:spLocks/>
          </p:cNvSpPr>
          <p:nvPr/>
        </p:nvSpPr>
        <p:spPr bwMode="auto">
          <a:xfrm>
            <a:off x="7263207" y="5622907"/>
            <a:ext cx="30054" cy="117710"/>
          </a:xfrm>
          <a:custGeom>
            <a:avLst/>
            <a:gdLst>
              <a:gd name="T0" fmla="*/ 14 w 58"/>
              <a:gd name="T1" fmla="*/ 15 h 227"/>
              <a:gd name="T2" fmla="*/ 31 w 58"/>
              <a:gd name="T3" fmla="*/ 13 h 227"/>
              <a:gd name="T4" fmla="*/ 58 w 58"/>
              <a:gd name="T5" fmla="*/ 197 h 227"/>
              <a:gd name="T6" fmla="*/ 31 w 58"/>
              <a:gd name="T7" fmla="*/ 227 h 227"/>
              <a:gd name="T8" fmla="*/ 1 w 58"/>
              <a:gd name="T9" fmla="*/ 198 h 227"/>
              <a:gd name="T10" fmla="*/ 14 w 58"/>
              <a:gd name="T11" fmla="*/ 15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8" h="227">
                <a:moveTo>
                  <a:pt x="14" y="15"/>
                </a:moveTo>
                <a:cubicBezTo>
                  <a:pt x="15" y="1"/>
                  <a:pt x="30" y="0"/>
                  <a:pt x="31" y="13"/>
                </a:cubicBezTo>
                <a:cubicBezTo>
                  <a:pt x="32" y="48"/>
                  <a:pt x="43" y="123"/>
                  <a:pt x="58" y="197"/>
                </a:cubicBezTo>
                <a:cubicBezTo>
                  <a:pt x="47" y="209"/>
                  <a:pt x="31" y="227"/>
                  <a:pt x="31" y="227"/>
                </a:cubicBezTo>
                <a:cubicBezTo>
                  <a:pt x="31" y="227"/>
                  <a:pt x="9" y="206"/>
                  <a:pt x="1" y="198"/>
                </a:cubicBezTo>
                <a:cubicBezTo>
                  <a:pt x="0" y="126"/>
                  <a:pt x="12" y="62"/>
                  <a:pt x="14" y="15"/>
                </a:cubicBez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0" name="Freeform 1153">
            <a:extLst>
              <a:ext uri="{FF2B5EF4-FFF2-40B4-BE49-F238E27FC236}">
                <a16:creationId xmlns:a16="http://schemas.microsoft.com/office/drawing/2014/main" id="{8F0453FB-B2BA-4B92-BB17-27CC82A08ACA}"/>
              </a:ext>
            </a:extLst>
          </p:cNvPr>
          <p:cNvSpPr>
            <a:spLocks/>
          </p:cNvSpPr>
          <p:nvPr/>
        </p:nvSpPr>
        <p:spPr bwMode="auto">
          <a:xfrm>
            <a:off x="7268216" y="5619151"/>
            <a:ext cx="12522" cy="11270"/>
          </a:xfrm>
          <a:custGeom>
            <a:avLst/>
            <a:gdLst>
              <a:gd name="T0" fmla="*/ 0 w 10"/>
              <a:gd name="T1" fmla="*/ 0 h 9"/>
              <a:gd name="T2" fmla="*/ 8 w 10"/>
              <a:gd name="T3" fmla="*/ 0 h 9"/>
              <a:gd name="T4" fmla="*/ 10 w 10"/>
              <a:gd name="T5" fmla="*/ 8 h 9"/>
              <a:gd name="T6" fmla="*/ 0 w 10"/>
              <a:gd name="T7" fmla="*/ 9 h 9"/>
              <a:gd name="T8" fmla="*/ 0 w 10"/>
              <a:gd name="T9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" h="9">
                <a:moveTo>
                  <a:pt x="0" y="0"/>
                </a:moveTo>
                <a:lnTo>
                  <a:pt x="8" y="0"/>
                </a:lnTo>
                <a:lnTo>
                  <a:pt x="10" y="8"/>
                </a:lnTo>
                <a:lnTo>
                  <a:pt x="0" y="9"/>
                </a:lnTo>
                <a:lnTo>
                  <a:pt x="0" y="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1" name="Freeform 1154">
            <a:extLst>
              <a:ext uri="{FF2B5EF4-FFF2-40B4-BE49-F238E27FC236}">
                <a16:creationId xmlns:a16="http://schemas.microsoft.com/office/drawing/2014/main" id="{8B80AC18-8CD7-4516-86C3-18D6EF797833}"/>
              </a:ext>
            </a:extLst>
          </p:cNvPr>
          <p:cNvSpPr>
            <a:spLocks/>
          </p:cNvSpPr>
          <p:nvPr/>
        </p:nvSpPr>
        <p:spPr bwMode="auto">
          <a:xfrm>
            <a:off x="7292009" y="6032388"/>
            <a:ext cx="32558" cy="10018"/>
          </a:xfrm>
          <a:custGeom>
            <a:avLst/>
            <a:gdLst>
              <a:gd name="T0" fmla="*/ 25 w 61"/>
              <a:gd name="T1" fmla="*/ 0 h 19"/>
              <a:gd name="T2" fmla="*/ 46 w 61"/>
              <a:gd name="T3" fmla="*/ 5 h 19"/>
              <a:gd name="T4" fmla="*/ 50 w 61"/>
              <a:gd name="T5" fmla="*/ 14 h 19"/>
              <a:gd name="T6" fmla="*/ 17 w 61"/>
              <a:gd name="T7" fmla="*/ 13 h 19"/>
              <a:gd name="T8" fmla="*/ 17 w 61"/>
              <a:gd name="T9" fmla="*/ 17 h 19"/>
              <a:gd name="T10" fmla="*/ 0 w 61"/>
              <a:gd name="T11" fmla="*/ 18 h 19"/>
              <a:gd name="T12" fmla="*/ 1 w 61"/>
              <a:gd name="T13" fmla="*/ 0 h 19"/>
              <a:gd name="T14" fmla="*/ 25 w 61"/>
              <a:gd name="T15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1" h="19">
                <a:moveTo>
                  <a:pt x="25" y="0"/>
                </a:moveTo>
                <a:cubicBezTo>
                  <a:pt x="27" y="4"/>
                  <a:pt x="38" y="6"/>
                  <a:pt x="46" y="5"/>
                </a:cubicBezTo>
                <a:cubicBezTo>
                  <a:pt x="52" y="4"/>
                  <a:pt x="61" y="10"/>
                  <a:pt x="50" y="14"/>
                </a:cubicBezTo>
                <a:cubicBezTo>
                  <a:pt x="36" y="19"/>
                  <a:pt x="22" y="18"/>
                  <a:pt x="17" y="13"/>
                </a:cubicBezTo>
                <a:cubicBezTo>
                  <a:pt x="17" y="15"/>
                  <a:pt x="17" y="17"/>
                  <a:pt x="17" y="17"/>
                </a:cubicBezTo>
                <a:cubicBezTo>
                  <a:pt x="0" y="18"/>
                  <a:pt x="0" y="18"/>
                  <a:pt x="0" y="18"/>
                </a:cubicBezTo>
                <a:cubicBezTo>
                  <a:pt x="1" y="0"/>
                  <a:pt x="1" y="0"/>
                  <a:pt x="1" y="0"/>
                </a:cubicBezTo>
                <a:lnTo>
                  <a:pt x="25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2" name="Freeform 1155">
            <a:extLst>
              <a:ext uri="{FF2B5EF4-FFF2-40B4-BE49-F238E27FC236}">
                <a16:creationId xmlns:a16="http://schemas.microsoft.com/office/drawing/2014/main" id="{7BFBC51B-8A5B-4AAF-8743-C56D25BC2066}"/>
              </a:ext>
            </a:extLst>
          </p:cNvPr>
          <p:cNvSpPr>
            <a:spLocks/>
          </p:cNvSpPr>
          <p:nvPr/>
        </p:nvSpPr>
        <p:spPr bwMode="auto">
          <a:xfrm>
            <a:off x="7241920" y="5786950"/>
            <a:ext cx="70125" cy="241681"/>
          </a:xfrm>
          <a:custGeom>
            <a:avLst/>
            <a:gdLst>
              <a:gd name="T0" fmla="*/ 131 w 135"/>
              <a:gd name="T1" fmla="*/ 76 h 464"/>
              <a:gd name="T2" fmla="*/ 122 w 135"/>
              <a:gd name="T3" fmla="*/ 463 h 464"/>
              <a:gd name="T4" fmla="*/ 98 w 135"/>
              <a:gd name="T5" fmla="*/ 464 h 464"/>
              <a:gd name="T6" fmla="*/ 21 w 135"/>
              <a:gd name="T7" fmla="*/ 76 h 464"/>
              <a:gd name="T8" fmla="*/ 131 w 135"/>
              <a:gd name="T9" fmla="*/ 76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" h="464">
                <a:moveTo>
                  <a:pt x="131" y="76"/>
                </a:moveTo>
                <a:cubicBezTo>
                  <a:pt x="135" y="214"/>
                  <a:pt x="131" y="346"/>
                  <a:pt x="122" y="463"/>
                </a:cubicBezTo>
                <a:cubicBezTo>
                  <a:pt x="116" y="463"/>
                  <a:pt x="122" y="463"/>
                  <a:pt x="98" y="464"/>
                </a:cubicBezTo>
                <a:cubicBezTo>
                  <a:pt x="93" y="337"/>
                  <a:pt x="57" y="199"/>
                  <a:pt x="21" y="76"/>
                </a:cubicBezTo>
                <a:cubicBezTo>
                  <a:pt x="0" y="3"/>
                  <a:pt x="128" y="0"/>
                  <a:pt x="131" y="76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3" name="Freeform 1156">
            <a:extLst>
              <a:ext uri="{FF2B5EF4-FFF2-40B4-BE49-F238E27FC236}">
                <a16:creationId xmlns:a16="http://schemas.microsoft.com/office/drawing/2014/main" id="{A6339B3B-123D-4D9A-AAEA-A27C8BD3CD12}"/>
              </a:ext>
            </a:extLst>
          </p:cNvPr>
          <p:cNvSpPr>
            <a:spLocks/>
          </p:cNvSpPr>
          <p:nvPr/>
        </p:nvSpPr>
        <p:spPr bwMode="auto">
          <a:xfrm>
            <a:off x="7216875" y="6034892"/>
            <a:ext cx="32558" cy="10018"/>
          </a:xfrm>
          <a:custGeom>
            <a:avLst/>
            <a:gdLst>
              <a:gd name="T0" fmla="*/ 25 w 62"/>
              <a:gd name="T1" fmla="*/ 0 h 20"/>
              <a:gd name="T2" fmla="*/ 46 w 62"/>
              <a:gd name="T3" fmla="*/ 5 h 20"/>
              <a:gd name="T4" fmla="*/ 50 w 62"/>
              <a:gd name="T5" fmla="*/ 15 h 20"/>
              <a:gd name="T6" fmla="*/ 18 w 62"/>
              <a:gd name="T7" fmla="*/ 13 h 20"/>
              <a:gd name="T8" fmla="*/ 18 w 62"/>
              <a:gd name="T9" fmla="*/ 18 h 20"/>
              <a:gd name="T10" fmla="*/ 0 w 62"/>
              <a:gd name="T11" fmla="*/ 18 h 20"/>
              <a:gd name="T12" fmla="*/ 2 w 62"/>
              <a:gd name="T13" fmla="*/ 1 h 20"/>
              <a:gd name="T14" fmla="*/ 25 w 62"/>
              <a:gd name="T15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2" h="20">
                <a:moveTo>
                  <a:pt x="25" y="0"/>
                </a:moveTo>
                <a:cubicBezTo>
                  <a:pt x="27" y="4"/>
                  <a:pt x="38" y="6"/>
                  <a:pt x="46" y="5"/>
                </a:cubicBezTo>
                <a:cubicBezTo>
                  <a:pt x="53" y="4"/>
                  <a:pt x="62" y="11"/>
                  <a:pt x="50" y="15"/>
                </a:cubicBezTo>
                <a:cubicBezTo>
                  <a:pt x="37" y="20"/>
                  <a:pt x="22" y="18"/>
                  <a:pt x="18" y="13"/>
                </a:cubicBezTo>
                <a:cubicBezTo>
                  <a:pt x="18" y="15"/>
                  <a:pt x="18" y="18"/>
                  <a:pt x="18" y="18"/>
                </a:cubicBezTo>
                <a:cubicBezTo>
                  <a:pt x="0" y="18"/>
                  <a:pt x="0" y="18"/>
                  <a:pt x="0" y="18"/>
                </a:cubicBezTo>
                <a:cubicBezTo>
                  <a:pt x="2" y="1"/>
                  <a:pt x="2" y="1"/>
                  <a:pt x="2" y="1"/>
                </a:cubicBezTo>
                <a:lnTo>
                  <a:pt x="25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4" name="Freeform 1157">
            <a:extLst>
              <a:ext uri="{FF2B5EF4-FFF2-40B4-BE49-F238E27FC236}">
                <a16:creationId xmlns:a16="http://schemas.microsoft.com/office/drawing/2014/main" id="{5C1013A2-956F-4B1B-9B6E-615151AFBCCB}"/>
              </a:ext>
            </a:extLst>
          </p:cNvPr>
          <p:cNvSpPr>
            <a:spLocks/>
          </p:cNvSpPr>
          <p:nvPr/>
        </p:nvSpPr>
        <p:spPr bwMode="auto">
          <a:xfrm>
            <a:off x="7198091" y="5788202"/>
            <a:ext cx="67621" cy="241681"/>
          </a:xfrm>
          <a:custGeom>
            <a:avLst/>
            <a:gdLst>
              <a:gd name="T0" fmla="*/ 119 w 129"/>
              <a:gd name="T1" fmla="*/ 76 h 465"/>
              <a:gd name="T2" fmla="*/ 60 w 129"/>
              <a:gd name="T3" fmla="*/ 464 h 465"/>
              <a:gd name="T4" fmla="*/ 36 w 129"/>
              <a:gd name="T5" fmla="*/ 465 h 465"/>
              <a:gd name="T6" fmla="*/ 10 w 129"/>
              <a:gd name="T7" fmla="*/ 76 h 465"/>
              <a:gd name="T8" fmla="*/ 119 w 129"/>
              <a:gd name="T9" fmla="*/ 76 h 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465">
                <a:moveTo>
                  <a:pt x="119" y="76"/>
                </a:moveTo>
                <a:cubicBezTo>
                  <a:pt x="99" y="230"/>
                  <a:pt x="70" y="348"/>
                  <a:pt x="60" y="464"/>
                </a:cubicBezTo>
                <a:cubicBezTo>
                  <a:pt x="54" y="465"/>
                  <a:pt x="60" y="464"/>
                  <a:pt x="36" y="465"/>
                </a:cubicBezTo>
                <a:cubicBezTo>
                  <a:pt x="32" y="339"/>
                  <a:pt x="29" y="220"/>
                  <a:pt x="10" y="76"/>
                </a:cubicBezTo>
                <a:cubicBezTo>
                  <a:pt x="0" y="0"/>
                  <a:pt x="129" y="1"/>
                  <a:pt x="119" y="76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5" name="Freeform 1158">
            <a:extLst>
              <a:ext uri="{FF2B5EF4-FFF2-40B4-BE49-F238E27FC236}">
                <a16:creationId xmlns:a16="http://schemas.microsoft.com/office/drawing/2014/main" id="{C47C2864-321C-4E56-99EF-8FD7613A57A0}"/>
              </a:ext>
            </a:extLst>
          </p:cNvPr>
          <p:cNvSpPr>
            <a:spLocks/>
          </p:cNvSpPr>
          <p:nvPr/>
        </p:nvSpPr>
        <p:spPr bwMode="auto">
          <a:xfrm>
            <a:off x="7189326" y="5620403"/>
            <a:ext cx="136494" cy="350625"/>
          </a:xfrm>
          <a:custGeom>
            <a:avLst/>
            <a:gdLst>
              <a:gd name="T0" fmla="*/ 13 w 264"/>
              <a:gd name="T1" fmla="*/ 394 h 675"/>
              <a:gd name="T2" fmla="*/ 21 w 264"/>
              <a:gd name="T3" fmla="*/ 0 h 675"/>
              <a:gd name="T4" fmla="*/ 117 w 264"/>
              <a:gd name="T5" fmla="*/ 0 h 675"/>
              <a:gd name="T6" fmla="*/ 169 w 264"/>
              <a:gd name="T7" fmla="*/ 210 h 675"/>
              <a:gd name="T8" fmla="*/ 202 w 264"/>
              <a:gd name="T9" fmla="*/ 0 h 675"/>
              <a:gd name="T10" fmla="*/ 260 w 264"/>
              <a:gd name="T11" fmla="*/ 0 h 675"/>
              <a:gd name="T12" fmla="*/ 247 w 264"/>
              <a:gd name="T13" fmla="*/ 408 h 675"/>
              <a:gd name="T14" fmla="*/ 264 w 264"/>
              <a:gd name="T15" fmla="*/ 663 h 675"/>
              <a:gd name="T16" fmla="*/ 167 w 264"/>
              <a:gd name="T17" fmla="*/ 669 h 675"/>
              <a:gd name="T18" fmla="*/ 146 w 264"/>
              <a:gd name="T19" fmla="*/ 510 h 675"/>
              <a:gd name="T20" fmla="*/ 130 w 264"/>
              <a:gd name="T21" fmla="*/ 669 h 675"/>
              <a:gd name="T22" fmla="*/ 0 w 264"/>
              <a:gd name="T23" fmla="*/ 675 h 675"/>
              <a:gd name="T24" fmla="*/ 13 w 264"/>
              <a:gd name="T25" fmla="*/ 394 h 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64" h="675">
                <a:moveTo>
                  <a:pt x="13" y="394"/>
                </a:moveTo>
                <a:cubicBezTo>
                  <a:pt x="12" y="372"/>
                  <a:pt x="21" y="0"/>
                  <a:pt x="21" y="0"/>
                </a:cubicBezTo>
                <a:cubicBezTo>
                  <a:pt x="117" y="0"/>
                  <a:pt x="117" y="0"/>
                  <a:pt x="117" y="0"/>
                </a:cubicBezTo>
                <a:cubicBezTo>
                  <a:pt x="117" y="0"/>
                  <a:pt x="161" y="187"/>
                  <a:pt x="169" y="210"/>
                </a:cubicBezTo>
                <a:cubicBezTo>
                  <a:pt x="202" y="0"/>
                  <a:pt x="202" y="0"/>
                  <a:pt x="202" y="0"/>
                </a:cubicBezTo>
                <a:cubicBezTo>
                  <a:pt x="260" y="0"/>
                  <a:pt x="260" y="0"/>
                  <a:pt x="260" y="0"/>
                </a:cubicBezTo>
                <a:cubicBezTo>
                  <a:pt x="260" y="0"/>
                  <a:pt x="247" y="355"/>
                  <a:pt x="247" y="408"/>
                </a:cubicBezTo>
                <a:cubicBezTo>
                  <a:pt x="247" y="497"/>
                  <a:pt x="264" y="663"/>
                  <a:pt x="264" y="663"/>
                </a:cubicBezTo>
                <a:cubicBezTo>
                  <a:pt x="167" y="669"/>
                  <a:pt x="167" y="669"/>
                  <a:pt x="167" y="669"/>
                </a:cubicBezTo>
                <a:cubicBezTo>
                  <a:pt x="146" y="510"/>
                  <a:pt x="146" y="510"/>
                  <a:pt x="146" y="510"/>
                </a:cubicBezTo>
                <a:cubicBezTo>
                  <a:pt x="130" y="669"/>
                  <a:pt x="130" y="669"/>
                  <a:pt x="130" y="669"/>
                </a:cubicBezTo>
                <a:cubicBezTo>
                  <a:pt x="0" y="675"/>
                  <a:pt x="0" y="675"/>
                  <a:pt x="0" y="675"/>
                </a:cubicBezTo>
                <a:cubicBezTo>
                  <a:pt x="0" y="675"/>
                  <a:pt x="17" y="463"/>
                  <a:pt x="13" y="39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6" name="Freeform 1159">
            <a:extLst>
              <a:ext uri="{FF2B5EF4-FFF2-40B4-BE49-F238E27FC236}">
                <a16:creationId xmlns:a16="http://schemas.microsoft.com/office/drawing/2014/main" id="{64723747-FE31-4F22-BD2F-F20B73C131B5}"/>
              </a:ext>
            </a:extLst>
          </p:cNvPr>
          <p:cNvSpPr>
            <a:spLocks/>
          </p:cNvSpPr>
          <p:nvPr/>
        </p:nvSpPr>
        <p:spPr bwMode="auto">
          <a:xfrm>
            <a:off x="7243172" y="5565304"/>
            <a:ext cx="51342" cy="55098"/>
          </a:xfrm>
          <a:custGeom>
            <a:avLst/>
            <a:gdLst>
              <a:gd name="T0" fmla="*/ 8 w 97"/>
              <a:gd name="T1" fmla="*/ 26 h 104"/>
              <a:gd name="T2" fmla="*/ 41 w 97"/>
              <a:gd name="T3" fmla="*/ 1 h 104"/>
              <a:gd name="T4" fmla="*/ 75 w 97"/>
              <a:gd name="T5" fmla="*/ 28 h 104"/>
              <a:gd name="T6" fmla="*/ 97 w 97"/>
              <a:gd name="T7" fmla="*/ 104 h 104"/>
              <a:gd name="T8" fmla="*/ 12 w 97"/>
              <a:gd name="T9" fmla="*/ 104 h 104"/>
              <a:gd name="T10" fmla="*/ 14 w 97"/>
              <a:gd name="T11" fmla="*/ 72 h 104"/>
              <a:gd name="T12" fmla="*/ 12 w 97"/>
              <a:gd name="T13" fmla="*/ 63 h 104"/>
              <a:gd name="T14" fmla="*/ 9 w 97"/>
              <a:gd name="T15" fmla="*/ 57 h 104"/>
              <a:gd name="T16" fmla="*/ 10 w 97"/>
              <a:gd name="T17" fmla="*/ 49 h 104"/>
              <a:gd name="T18" fmla="*/ 0 w 97"/>
              <a:gd name="T19" fmla="*/ 50 h 104"/>
              <a:gd name="T20" fmla="*/ 8 w 97"/>
              <a:gd name="T21" fmla="*/ 26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7" h="104">
                <a:moveTo>
                  <a:pt x="8" y="26"/>
                </a:moveTo>
                <a:cubicBezTo>
                  <a:pt x="13" y="12"/>
                  <a:pt x="24" y="3"/>
                  <a:pt x="41" y="1"/>
                </a:cubicBezTo>
                <a:cubicBezTo>
                  <a:pt x="61" y="0"/>
                  <a:pt x="68" y="6"/>
                  <a:pt x="75" y="28"/>
                </a:cubicBezTo>
                <a:cubicBezTo>
                  <a:pt x="78" y="40"/>
                  <a:pt x="93" y="89"/>
                  <a:pt x="97" y="104"/>
                </a:cubicBezTo>
                <a:cubicBezTo>
                  <a:pt x="12" y="104"/>
                  <a:pt x="12" y="104"/>
                  <a:pt x="12" y="104"/>
                </a:cubicBezTo>
                <a:cubicBezTo>
                  <a:pt x="13" y="93"/>
                  <a:pt x="14" y="84"/>
                  <a:pt x="14" y="72"/>
                </a:cubicBezTo>
                <a:cubicBezTo>
                  <a:pt x="11" y="69"/>
                  <a:pt x="10" y="65"/>
                  <a:pt x="12" y="63"/>
                </a:cubicBezTo>
                <a:cubicBezTo>
                  <a:pt x="10" y="61"/>
                  <a:pt x="8" y="60"/>
                  <a:pt x="9" y="57"/>
                </a:cubicBezTo>
                <a:cubicBezTo>
                  <a:pt x="10" y="55"/>
                  <a:pt x="10" y="49"/>
                  <a:pt x="10" y="49"/>
                </a:cubicBezTo>
                <a:cubicBezTo>
                  <a:pt x="0" y="50"/>
                  <a:pt x="0" y="50"/>
                  <a:pt x="0" y="50"/>
                </a:cubicBezTo>
                <a:cubicBezTo>
                  <a:pt x="0" y="50"/>
                  <a:pt x="3" y="39"/>
                  <a:pt x="8" y="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7" name="Freeform 1160">
            <a:extLst>
              <a:ext uri="{FF2B5EF4-FFF2-40B4-BE49-F238E27FC236}">
                <a16:creationId xmlns:a16="http://schemas.microsoft.com/office/drawing/2014/main" id="{1AB1B934-DE00-4770-A26A-9D39942ADAEF}"/>
              </a:ext>
            </a:extLst>
          </p:cNvPr>
          <p:cNvSpPr>
            <a:spLocks/>
          </p:cNvSpPr>
          <p:nvPr/>
        </p:nvSpPr>
        <p:spPr bwMode="auto">
          <a:xfrm>
            <a:off x="7250685" y="5580331"/>
            <a:ext cx="5009" cy="3757"/>
          </a:xfrm>
          <a:custGeom>
            <a:avLst/>
            <a:gdLst>
              <a:gd name="T0" fmla="*/ 0 w 8"/>
              <a:gd name="T1" fmla="*/ 4 h 9"/>
              <a:gd name="T2" fmla="*/ 3 w 8"/>
              <a:gd name="T3" fmla="*/ 8 h 9"/>
              <a:gd name="T4" fmla="*/ 8 w 8"/>
              <a:gd name="T5" fmla="*/ 6 h 9"/>
              <a:gd name="T6" fmla="*/ 5 w 8"/>
              <a:gd name="T7" fmla="*/ 1 h 9"/>
              <a:gd name="T8" fmla="*/ 0 w 8"/>
              <a:gd name="T9" fmla="*/ 4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9">
                <a:moveTo>
                  <a:pt x="0" y="4"/>
                </a:moveTo>
                <a:cubicBezTo>
                  <a:pt x="0" y="6"/>
                  <a:pt x="1" y="8"/>
                  <a:pt x="3" y="8"/>
                </a:cubicBezTo>
                <a:cubicBezTo>
                  <a:pt x="5" y="9"/>
                  <a:pt x="7" y="8"/>
                  <a:pt x="8" y="6"/>
                </a:cubicBezTo>
                <a:cubicBezTo>
                  <a:pt x="8" y="3"/>
                  <a:pt x="7" y="1"/>
                  <a:pt x="5" y="1"/>
                </a:cubicBezTo>
                <a:cubicBezTo>
                  <a:pt x="3" y="0"/>
                  <a:pt x="1" y="2"/>
                  <a:pt x="0" y="4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8" name="Freeform 1161">
            <a:extLst>
              <a:ext uri="{FF2B5EF4-FFF2-40B4-BE49-F238E27FC236}">
                <a16:creationId xmlns:a16="http://schemas.microsoft.com/office/drawing/2014/main" id="{C4E07177-789B-472C-8453-BC6C81D8C855}"/>
              </a:ext>
            </a:extLst>
          </p:cNvPr>
          <p:cNvSpPr>
            <a:spLocks/>
          </p:cNvSpPr>
          <p:nvPr/>
        </p:nvSpPr>
        <p:spPr bwMode="auto">
          <a:xfrm>
            <a:off x="7255694" y="5580331"/>
            <a:ext cx="3757" cy="3757"/>
          </a:xfrm>
          <a:custGeom>
            <a:avLst/>
            <a:gdLst>
              <a:gd name="T0" fmla="*/ 0 w 8"/>
              <a:gd name="T1" fmla="*/ 3 h 8"/>
              <a:gd name="T2" fmla="*/ 3 w 8"/>
              <a:gd name="T3" fmla="*/ 8 h 8"/>
              <a:gd name="T4" fmla="*/ 8 w 8"/>
              <a:gd name="T5" fmla="*/ 5 h 8"/>
              <a:gd name="T6" fmla="*/ 5 w 8"/>
              <a:gd name="T7" fmla="*/ 0 h 8"/>
              <a:gd name="T8" fmla="*/ 0 w 8"/>
              <a:gd name="T9" fmla="*/ 3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8">
                <a:moveTo>
                  <a:pt x="0" y="3"/>
                </a:moveTo>
                <a:cubicBezTo>
                  <a:pt x="0" y="5"/>
                  <a:pt x="1" y="7"/>
                  <a:pt x="3" y="8"/>
                </a:cubicBezTo>
                <a:cubicBezTo>
                  <a:pt x="5" y="8"/>
                  <a:pt x="7" y="7"/>
                  <a:pt x="8" y="5"/>
                </a:cubicBezTo>
                <a:cubicBezTo>
                  <a:pt x="8" y="3"/>
                  <a:pt x="7" y="1"/>
                  <a:pt x="5" y="0"/>
                </a:cubicBezTo>
                <a:cubicBezTo>
                  <a:pt x="3" y="0"/>
                  <a:pt x="1" y="1"/>
                  <a:pt x="0" y="3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9" name="Freeform 1162">
            <a:extLst>
              <a:ext uri="{FF2B5EF4-FFF2-40B4-BE49-F238E27FC236}">
                <a16:creationId xmlns:a16="http://schemas.microsoft.com/office/drawing/2014/main" id="{A9A8C610-4E9B-4F40-B080-FBEC3AF9D8C2}"/>
              </a:ext>
            </a:extLst>
          </p:cNvPr>
          <p:cNvSpPr>
            <a:spLocks/>
          </p:cNvSpPr>
          <p:nvPr/>
        </p:nvSpPr>
        <p:spPr bwMode="auto">
          <a:xfrm>
            <a:off x="7259451" y="5560295"/>
            <a:ext cx="26297" cy="20036"/>
          </a:xfrm>
          <a:custGeom>
            <a:avLst/>
            <a:gdLst>
              <a:gd name="T0" fmla="*/ 36 w 50"/>
              <a:gd name="T1" fmla="*/ 12 h 38"/>
              <a:gd name="T2" fmla="*/ 19 w 50"/>
              <a:gd name="T3" fmla="*/ 3 h 38"/>
              <a:gd name="T4" fmla="*/ 6 w 50"/>
              <a:gd name="T5" fmla="*/ 1 h 38"/>
              <a:gd name="T6" fmla="*/ 10 w 50"/>
              <a:gd name="T7" fmla="*/ 19 h 38"/>
              <a:gd name="T8" fmla="*/ 34 w 50"/>
              <a:gd name="T9" fmla="*/ 20 h 38"/>
              <a:gd name="T10" fmla="*/ 45 w 50"/>
              <a:gd name="T11" fmla="*/ 38 h 38"/>
              <a:gd name="T12" fmla="*/ 36 w 50"/>
              <a:gd name="T13" fmla="*/ 12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0" h="38">
                <a:moveTo>
                  <a:pt x="36" y="12"/>
                </a:moveTo>
                <a:cubicBezTo>
                  <a:pt x="35" y="5"/>
                  <a:pt x="26" y="0"/>
                  <a:pt x="19" y="3"/>
                </a:cubicBezTo>
                <a:cubicBezTo>
                  <a:pt x="12" y="6"/>
                  <a:pt x="6" y="4"/>
                  <a:pt x="6" y="1"/>
                </a:cubicBezTo>
                <a:cubicBezTo>
                  <a:pt x="0" y="6"/>
                  <a:pt x="3" y="16"/>
                  <a:pt x="10" y="19"/>
                </a:cubicBezTo>
                <a:cubicBezTo>
                  <a:pt x="16" y="22"/>
                  <a:pt x="32" y="21"/>
                  <a:pt x="34" y="20"/>
                </a:cubicBezTo>
                <a:cubicBezTo>
                  <a:pt x="33" y="24"/>
                  <a:pt x="40" y="38"/>
                  <a:pt x="45" y="38"/>
                </a:cubicBezTo>
                <a:cubicBezTo>
                  <a:pt x="50" y="30"/>
                  <a:pt x="47" y="12"/>
                  <a:pt x="36" y="12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0" name="Freeform 1163">
            <a:extLst>
              <a:ext uri="{FF2B5EF4-FFF2-40B4-BE49-F238E27FC236}">
                <a16:creationId xmlns:a16="http://schemas.microsoft.com/office/drawing/2014/main" id="{432B79C1-32EB-4185-9D9F-E199F5076944}"/>
              </a:ext>
            </a:extLst>
          </p:cNvPr>
          <p:cNvSpPr>
            <a:spLocks/>
          </p:cNvSpPr>
          <p:nvPr/>
        </p:nvSpPr>
        <p:spPr bwMode="auto">
          <a:xfrm>
            <a:off x="7303279" y="5620403"/>
            <a:ext cx="52594" cy="131485"/>
          </a:xfrm>
          <a:custGeom>
            <a:avLst/>
            <a:gdLst>
              <a:gd name="T0" fmla="*/ 41 w 101"/>
              <a:gd name="T1" fmla="*/ 0 h 253"/>
              <a:gd name="T2" fmla="*/ 100 w 101"/>
              <a:gd name="T3" fmla="*/ 225 h 253"/>
              <a:gd name="T4" fmla="*/ 52 w 101"/>
              <a:gd name="T5" fmla="*/ 236 h 253"/>
              <a:gd name="T6" fmla="*/ 9 w 101"/>
              <a:gd name="T7" fmla="*/ 94 h 253"/>
              <a:gd name="T8" fmla="*/ 41 w 101"/>
              <a:gd name="T9" fmla="*/ 0 h 2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" h="253">
                <a:moveTo>
                  <a:pt x="41" y="0"/>
                </a:moveTo>
                <a:cubicBezTo>
                  <a:pt x="62" y="0"/>
                  <a:pt x="100" y="195"/>
                  <a:pt x="100" y="225"/>
                </a:cubicBezTo>
                <a:cubicBezTo>
                  <a:pt x="101" y="249"/>
                  <a:pt x="62" y="253"/>
                  <a:pt x="52" y="236"/>
                </a:cubicBezTo>
                <a:cubicBezTo>
                  <a:pt x="24" y="188"/>
                  <a:pt x="16" y="113"/>
                  <a:pt x="9" y="94"/>
                </a:cubicBezTo>
                <a:cubicBezTo>
                  <a:pt x="0" y="72"/>
                  <a:pt x="20" y="0"/>
                  <a:pt x="4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1" name="Freeform 1164">
            <a:extLst>
              <a:ext uri="{FF2B5EF4-FFF2-40B4-BE49-F238E27FC236}">
                <a16:creationId xmlns:a16="http://schemas.microsoft.com/office/drawing/2014/main" id="{3548E386-0B78-4902-AAD8-B38115417A5E}"/>
              </a:ext>
            </a:extLst>
          </p:cNvPr>
          <p:cNvSpPr>
            <a:spLocks/>
          </p:cNvSpPr>
          <p:nvPr/>
        </p:nvSpPr>
        <p:spPr bwMode="auto">
          <a:xfrm>
            <a:off x="7219380" y="5656718"/>
            <a:ext cx="93918" cy="106440"/>
          </a:xfrm>
          <a:custGeom>
            <a:avLst/>
            <a:gdLst>
              <a:gd name="T0" fmla="*/ 0 w 75"/>
              <a:gd name="T1" fmla="*/ 73 h 85"/>
              <a:gd name="T2" fmla="*/ 61 w 75"/>
              <a:gd name="T3" fmla="*/ 85 h 85"/>
              <a:gd name="T4" fmla="*/ 75 w 75"/>
              <a:gd name="T5" fmla="*/ 12 h 85"/>
              <a:gd name="T6" fmla="*/ 14 w 75"/>
              <a:gd name="T7" fmla="*/ 0 h 85"/>
              <a:gd name="T8" fmla="*/ 0 w 75"/>
              <a:gd name="T9" fmla="*/ 73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5" h="85">
                <a:moveTo>
                  <a:pt x="0" y="73"/>
                </a:moveTo>
                <a:lnTo>
                  <a:pt x="61" y="85"/>
                </a:lnTo>
                <a:lnTo>
                  <a:pt x="75" y="12"/>
                </a:lnTo>
                <a:lnTo>
                  <a:pt x="14" y="0"/>
                </a:lnTo>
                <a:lnTo>
                  <a:pt x="0" y="73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2" name="Freeform 1165">
            <a:extLst>
              <a:ext uri="{FF2B5EF4-FFF2-40B4-BE49-F238E27FC236}">
                <a16:creationId xmlns:a16="http://schemas.microsoft.com/office/drawing/2014/main" id="{3CB66BA0-8223-40F4-93D9-B6EECFF952E9}"/>
              </a:ext>
            </a:extLst>
          </p:cNvPr>
          <p:cNvSpPr>
            <a:spLocks/>
          </p:cNvSpPr>
          <p:nvPr/>
        </p:nvSpPr>
        <p:spPr bwMode="auto">
          <a:xfrm>
            <a:off x="7228145" y="5665483"/>
            <a:ext cx="76387" cy="88909"/>
          </a:xfrm>
          <a:custGeom>
            <a:avLst/>
            <a:gdLst>
              <a:gd name="T0" fmla="*/ 49 w 61"/>
              <a:gd name="T1" fmla="*/ 71 h 71"/>
              <a:gd name="T2" fmla="*/ 61 w 61"/>
              <a:gd name="T3" fmla="*/ 10 h 71"/>
              <a:gd name="T4" fmla="*/ 12 w 61"/>
              <a:gd name="T5" fmla="*/ 0 h 71"/>
              <a:gd name="T6" fmla="*/ 0 w 61"/>
              <a:gd name="T7" fmla="*/ 61 h 71"/>
              <a:gd name="T8" fmla="*/ 49 w 61"/>
              <a:gd name="T9" fmla="*/ 71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1" h="71">
                <a:moveTo>
                  <a:pt x="49" y="71"/>
                </a:moveTo>
                <a:lnTo>
                  <a:pt x="61" y="10"/>
                </a:lnTo>
                <a:lnTo>
                  <a:pt x="12" y="0"/>
                </a:lnTo>
                <a:lnTo>
                  <a:pt x="0" y="61"/>
                </a:lnTo>
                <a:lnTo>
                  <a:pt x="49" y="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3" name="Freeform 1166">
            <a:extLst>
              <a:ext uri="{FF2B5EF4-FFF2-40B4-BE49-F238E27FC236}">
                <a16:creationId xmlns:a16="http://schemas.microsoft.com/office/drawing/2014/main" id="{57792427-2078-4569-9A66-59D3F8797613}"/>
              </a:ext>
            </a:extLst>
          </p:cNvPr>
          <p:cNvSpPr>
            <a:spLocks/>
          </p:cNvSpPr>
          <p:nvPr/>
        </p:nvSpPr>
        <p:spPr bwMode="auto">
          <a:xfrm>
            <a:off x="7255694" y="5655465"/>
            <a:ext cx="37567" cy="23793"/>
          </a:xfrm>
          <a:custGeom>
            <a:avLst/>
            <a:gdLst>
              <a:gd name="T0" fmla="*/ 27 w 30"/>
              <a:gd name="T1" fmla="*/ 19 h 19"/>
              <a:gd name="T2" fmla="*/ 30 w 30"/>
              <a:gd name="T3" fmla="*/ 6 h 19"/>
              <a:gd name="T4" fmla="*/ 3 w 30"/>
              <a:gd name="T5" fmla="*/ 0 h 19"/>
              <a:gd name="T6" fmla="*/ 0 w 30"/>
              <a:gd name="T7" fmla="*/ 14 h 19"/>
              <a:gd name="T8" fmla="*/ 27 w 30"/>
              <a:gd name="T9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19">
                <a:moveTo>
                  <a:pt x="27" y="19"/>
                </a:moveTo>
                <a:lnTo>
                  <a:pt x="30" y="6"/>
                </a:lnTo>
                <a:lnTo>
                  <a:pt x="3" y="0"/>
                </a:lnTo>
                <a:lnTo>
                  <a:pt x="0" y="14"/>
                </a:lnTo>
                <a:lnTo>
                  <a:pt x="27" y="19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4" name="Freeform 1167">
            <a:extLst>
              <a:ext uri="{FF2B5EF4-FFF2-40B4-BE49-F238E27FC236}">
                <a16:creationId xmlns:a16="http://schemas.microsoft.com/office/drawing/2014/main" id="{95156E4B-BBA4-4C9A-A26A-6890E038A6A9}"/>
              </a:ext>
            </a:extLst>
          </p:cNvPr>
          <p:cNvSpPr>
            <a:spLocks/>
          </p:cNvSpPr>
          <p:nvPr/>
        </p:nvSpPr>
        <p:spPr bwMode="auto">
          <a:xfrm>
            <a:off x="7245676" y="5688023"/>
            <a:ext cx="46333" cy="15027"/>
          </a:xfrm>
          <a:custGeom>
            <a:avLst/>
            <a:gdLst>
              <a:gd name="T0" fmla="*/ 36 w 37"/>
              <a:gd name="T1" fmla="*/ 12 h 12"/>
              <a:gd name="T2" fmla="*/ 37 w 37"/>
              <a:gd name="T3" fmla="*/ 7 h 12"/>
              <a:gd name="T4" fmla="*/ 1 w 37"/>
              <a:gd name="T5" fmla="*/ 0 h 12"/>
              <a:gd name="T6" fmla="*/ 0 w 37"/>
              <a:gd name="T7" fmla="*/ 5 h 12"/>
              <a:gd name="T8" fmla="*/ 36 w 37"/>
              <a:gd name="T9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" h="12">
                <a:moveTo>
                  <a:pt x="36" y="12"/>
                </a:moveTo>
                <a:lnTo>
                  <a:pt x="37" y="7"/>
                </a:lnTo>
                <a:lnTo>
                  <a:pt x="1" y="0"/>
                </a:lnTo>
                <a:lnTo>
                  <a:pt x="0" y="5"/>
                </a:lnTo>
                <a:lnTo>
                  <a:pt x="36" y="12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5" name="Freeform 1168">
            <a:extLst>
              <a:ext uri="{FF2B5EF4-FFF2-40B4-BE49-F238E27FC236}">
                <a16:creationId xmlns:a16="http://schemas.microsoft.com/office/drawing/2014/main" id="{8FB4BE6B-2454-4725-9CB3-E1EC7B66B768}"/>
              </a:ext>
            </a:extLst>
          </p:cNvPr>
          <p:cNvSpPr>
            <a:spLocks/>
          </p:cNvSpPr>
          <p:nvPr/>
        </p:nvSpPr>
        <p:spPr bwMode="auto">
          <a:xfrm>
            <a:off x="7241920" y="5705555"/>
            <a:ext cx="46333" cy="15027"/>
          </a:xfrm>
          <a:custGeom>
            <a:avLst/>
            <a:gdLst>
              <a:gd name="T0" fmla="*/ 36 w 37"/>
              <a:gd name="T1" fmla="*/ 12 h 12"/>
              <a:gd name="T2" fmla="*/ 37 w 37"/>
              <a:gd name="T3" fmla="*/ 7 h 12"/>
              <a:gd name="T4" fmla="*/ 1 w 37"/>
              <a:gd name="T5" fmla="*/ 0 h 12"/>
              <a:gd name="T6" fmla="*/ 0 w 37"/>
              <a:gd name="T7" fmla="*/ 5 h 12"/>
              <a:gd name="T8" fmla="*/ 36 w 37"/>
              <a:gd name="T9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" h="12">
                <a:moveTo>
                  <a:pt x="36" y="12"/>
                </a:moveTo>
                <a:lnTo>
                  <a:pt x="37" y="7"/>
                </a:lnTo>
                <a:lnTo>
                  <a:pt x="1" y="0"/>
                </a:lnTo>
                <a:lnTo>
                  <a:pt x="0" y="5"/>
                </a:lnTo>
                <a:lnTo>
                  <a:pt x="36" y="12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6" name="Freeform 1169">
            <a:extLst>
              <a:ext uri="{FF2B5EF4-FFF2-40B4-BE49-F238E27FC236}">
                <a16:creationId xmlns:a16="http://schemas.microsoft.com/office/drawing/2014/main" id="{3808C5C8-30AE-4CB0-B626-951B98D93E14}"/>
              </a:ext>
            </a:extLst>
          </p:cNvPr>
          <p:cNvSpPr>
            <a:spLocks/>
          </p:cNvSpPr>
          <p:nvPr/>
        </p:nvSpPr>
        <p:spPr bwMode="auto">
          <a:xfrm>
            <a:off x="7239415" y="5723086"/>
            <a:ext cx="45080" cy="15027"/>
          </a:xfrm>
          <a:custGeom>
            <a:avLst/>
            <a:gdLst>
              <a:gd name="T0" fmla="*/ 35 w 36"/>
              <a:gd name="T1" fmla="*/ 12 h 12"/>
              <a:gd name="T2" fmla="*/ 36 w 36"/>
              <a:gd name="T3" fmla="*/ 7 h 12"/>
              <a:gd name="T4" fmla="*/ 1 w 36"/>
              <a:gd name="T5" fmla="*/ 0 h 12"/>
              <a:gd name="T6" fmla="*/ 0 w 36"/>
              <a:gd name="T7" fmla="*/ 5 h 12"/>
              <a:gd name="T8" fmla="*/ 35 w 36"/>
              <a:gd name="T9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" h="12">
                <a:moveTo>
                  <a:pt x="35" y="12"/>
                </a:moveTo>
                <a:lnTo>
                  <a:pt x="36" y="7"/>
                </a:lnTo>
                <a:lnTo>
                  <a:pt x="1" y="0"/>
                </a:lnTo>
                <a:lnTo>
                  <a:pt x="0" y="5"/>
                </a:lnTo>
                <a:lnTo>
                  <a:pt x="35" y="12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7" name="Freeform 1170">
            <a:extLst>
              <a:ext uri="{FF2B5EF4-FFF2-40B4-BE49-F238E27FC236}">
                <a16:creationId xmlns:a16="http://schemas.microsoft.com/office/drawing/2014/main" id="{4AD46A03-5617-4C33-8A4C-BB2F2D4D8839}"/>
              </a:ext>
            </a:extLst>
          </p:cNvPr>
          <p:cNvSpPr>
            <a:spLocks/>
          </p:cNvSpPr>
          <p:nvPr/>
        </p:nvSpPr>
        <p:spPr bwMode="auto">
          <a:xfrm>
            <a:off x="7219380" y="5684267"/>
            <a:ext cx="101431" cy="65116"/>
          </a:xfrm>
          <a:custGeom>
            <a:avLst/>
            <a:gdLst>
              <a:gd name="T0" fmla="*/ 35 w 195"/>
              <a:gd name="T1" fmla="*/ 55 h 123"/>
              <a:gd name="T2" fmla="*/ 35 w 195"/>
              <a:gd name="T3" fmla="*/ 54 h 123"/>
              <a:gd name="T4" fmla="*/ 31 w 195"/>
              <a:gd name="T5" fmla="*/ 55 h 123"/>
              <a:gd name="T6" fmla="*/ 29 w 195"/>
              <a:gd name="T7" fmla="*/ 54 h 123"/>
              <a:gd name="T8" fmla="*/ 16 w 195"/>
              <a:gd name="T9" fmla="*/ 51 h 123"/>
              <a:gd name="T10" fmla="*/ 16 w 195"/>
              <a:gd name="T11" fmla="*/ 51 h 123"/>
              <a:gd name="T12" fmla="*/ 16 w 195"/>
              <a:gd name="T13" fmla="*/ 51 h 123"/>
              <a:gd name="T14" fmla="*/ 7 w 195"/>
              <a:gd name="T15" fmla="*/ 49 h 123"/>
              <a:gd name="T16" fmla="*/ 2 w 195"/>
              <a:gd name="T17" fmla="*/ 38 h 123"/>
              <a:gd name="T18" fmla="*/ 4 w 195"/>
              <a:gd name="T19" fmla="*/ 34 h 123"/>
              <a:gd name="T20" fmla="*/ 4 w 195"/>
              <a:gd name="T21" fmla="*/ 30 h 123"/>
              <a:gd name="T22" fmla="*/ 6 w 195"/>
              <a:gd name="T23" fmla="*/ 26 h 123"/>
              <a:gd name="T24" fmla="*/ 6 w 195"/>
              <a:gd name="T25" fmla="*/ 21 h 123"/>
              <a:gd name="T26" fmla="*/ 9 w 195"/>
              <a:gd name="T27" fmla="*/ 17 h 123"/>
              <a:gd name="T28" fmla="*/ 8 w 195"/>
              <a:gd name="T29" fmla="*/ 13 h 123"/>
              <a:gd name="T30" fmla="*/ 17 w 195"/>
              <a:gd name="T31" fmla="*/ 6 h 123"/>
              <a:gd name="T32" fmla="*/ 19 w 195"/>
              <a:gd name="T33" fmla="*/ 7 h 123"/>
              <a:gd name="T34" fmla="*/ 23 w 195"/>
              <a:gd name="T35" fmla="*/ 8 h 123"/>
              <a:gd name="T36" fmla="*/ 27 w 195"/>
              <a:gd name="T37" fmla="*/ 1 h 123"/>
              <a:gd name="T38" fmla="*/ 28 w 195"/>
              <a:gd name="T39" fmla="*/ 1 h 123"/>
              <a:gd name="T40" fmla="*/ 28 w 195"/>
              <a:gd name="T41" fmla="*/ 1 h 123"/>
              <a:gd name="T42" fmla="*/ 31 w 195"/>
              <a:gd name="T43" fmla="*/ 0 h 123"/>
              <a:gd name="T44" fmla="*/ 39 w 195"/>
              <a:gd name="T45" fmla="*/ 4 h 123"/>
              <a:gd name="T46" fmla="*/ 46 w 195"/>
              <a:gd name="T47" fmla="*/ 17 h 123"/>
              <a:gd name="T48" fmla="*/ 47 w 195"/>
              <a:gd name="T49" fmla="*/ 19 h 123"/>
              <a:gd name="T50" fmla="*/ 49 w 195"/>
              <a:gd name="T51" fmla="*/ 20 h 123"/>
              <a:gd name="T52" fmla="*/ 97 w 195"/>
              <a:gd name="T53" fmla="*/ 36 h 123"/>
              <a:gd name="T54" fmla="*/ 110 w 195"/>
              <a:gd name="T55" fmla="*/ 85 h 123"/>
              <a:gd name="T56" fmla="*/ 117 w 195"/>
              <a:gd name="T57" fmla="*/ 41 h 123"/>
              <a:gd name="T58" fmla="*/ 195 w 195"/>
              <a:gd name="T59" fmla="*/ 55 h 123"/>
              <a:gd name="T60" fmla="*/ 192 w 195"/>
              <a:gd name="T61" fmla="*/ 123 h 123"/>
              <a:gd name="T62" fmla="*/ 37 w 195"/>
              <a:gd name="T63" fmla="*/ 57 h 123"/>
              <a:gd name="T64" fmla="*/ 35 w 195"/>
              <a:gd name="T65" fmla="*/ 55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5" h="123">
                <a:moveTo>
                  <a:pt x="35" y="55"/>
                </a:moveTo>
                <a:cubicBezTo>
                  <a:pt x="35" y="54"/>
                  <a:pt x="35" y="54"/>
                  <a:pt x="35" y="54"/>
                </a:cubicBezTo>
                <a:cubicBezTo>
                  <a:pt x="34" y="54"/>
                  <a:pt x="33" y="55"/>
                  <a:pt x="31" y="55"/>
                </a:cubicBezTo>
                <a:cubicBezTo>
                  <a:pt x="31" y="55"/>
                  <a:pt x="30" y="55"/>
                  <a:pt x="29" y="54"/>
                </a:cubicBezTo>
                <a:cubicBezTo>
                  <a:pt x="16" y="51"/>
                  <a:pt x="16" y="51"/>
                  <a:pt x="16" y="51"/>
                </a:cubicBezTo>
                <a:cubicBezTo>
                  <a:pt x="16" y="51"/>
                  <a:pt x="16" y="51"/>
                  <a:pt x="16" y="51"/>
                </a:cubicBezTo>
                <a:cubicBezTo>
                  <a:pt x="16" y="51"/>
                  <a:pt x="16" y="51"/>
                  <a:pt x="16" y="51"/>
                </a:cubicBezTo>
                <a:cubicBezTo>
                  <a:pt x="7" y="49"/>
                  <a:pt x="7" y="49"/>
                  <a:pt x="7" y="49"/>
                </a:cubicBezTo>
                <a:cubicBezTo>
                  <a:pt x="3" y="47"/>
                  <a:pt x="0" y="43"/>
                  <a:pt x="2" y="38"/>
                </a:cubicBezTo>
                <a:cubicBezTo>
                  <a:pt x="2" y="37"/>
                  <a:pt x="3" y="35"/>
                  <a:pt x="4" y="34"/>
                </a:cubicBezTo>
                <a:cubicBezTo>
                  <a:pt x="3" y="33"/>
                  <a:pt x="3" y="31"/>
                  <a:pt x="4" y="30"/>
                </a:cubicBezTo>
                <a:cubicBezTo>
                  <a:pt x="4" y="28"/>
                  <a:pt x="5" y="27"/>
                  <a:pt x="6" y="26"/>
                </a:cubicBezTo>
                <a:cubicBezTo>
                  <a:pt x="6" y="24"/>
                  <a:pt x="6" y="23"/>
                  <a:pt x="6" y="21"/>
                </a:cubicBezTo>
                <a:cubicBezTo>
                  <a:pt x="7" y="20"/>
                  <a:pt x="7" y="18"/>
                  <a:pt x="9" y="17"/>
                </a:cubicBezTo>
                <a:cubicBezTo>
                  <a:pt x="8" y="16"/>
                  <a:pt x="8" y="14"/>
                  <a:pt x="8" y="13"/>
                </a:cubicBezTo>
                <a:cubicBezTo>
                  <a:pt x="9" y="9"/>
                  <a:pt x="13" y="6"/>
                  <a:pt x="17" y="6"/>
                </a:cubicBezTo>
                <a:cubicBezTo>
                  <a:pt x="17" y="6"/>
                  <a:pt x="18" y="7"/>
                  <a:pt x="19" y="7"/>
                </a:cubicBezTo>
                <a:cubicBezTo>
                  <a:pt x="23" y="8"/>
                  <a:pt x="23" y="8"/>
                  <a:pt x="23" y="8"/>
                </a:cubicBezTo>
                <a:cubicBezTo>
                  <a:pt x="23" y="5"/>
                  <a:pt x="25" y="3"/>
                  <a:pt x="27" y="1"/>
                </a:cubicBezTo>
                <a:cubicBezTo>
                  <a:pt x="28" y="1"/>
                  <a:pt x="28" y="1"/>
                  <a:pt x="28" y="1"/>
                </a:cubicBezTo>
                <a:cubicBezTo>
                  <a:pt x="28" y="1"/>
                  <a:pt x="28" y="1"/>
                  <a:pt x="28" y="1"/>
                </a:cubicBezTo>
                <a:cubicBezTo>
                  <a:pt x="29" y="0"/>
                  <a:pt x="30" y="0"/>
                  <a:pt x="31" y="0"/>
                </a:cubicBezTo>
                <a:cubicBezTo>
                  <a:pt x="34" y="0"/>
                  <a:pt x="37" y="2"/>
                  <a:pt x="39" y="4"/>
                </a:cubicBezTo>
                <a:cubicBezTo>
                  <a:pt x="46" y="17"/>
                  <a:pt x="46" y="17"/>
                  <a:pt x="46" y="17"/>
                </a:cubicBezTo>
                <a:cubicBezTo>
                  <a:pt x="46" y="17"/>
                  <a:pt x="46" y="18"/>
                  <a:pt x="47" y="19"/>
                </a:cubicBezTo>
                <a:cubicBezTo>
                  <a:pt x="49" y="20"/>
                  <a:pt x="49" y="20"/>
                  <a:pt x="49" y="20"/>
                </a:cubicBezTo>
                <a:cubicBezTo>
                  <a:pt x="62" y="26"/>
                  <a:pt x="79" y="31"/>
                  <a:pt x="97" y="36"/>
                </a:cubicBezTo>
                <a:cubicBezTo>
                  <a:pt x="103" y="60"/>
                  <a:pt x="108" y="79"/>
                  <a:pt x="110" y="85"/>
                </a:cubicBezTo>
                <a:cubicBezTo>
                  <a:pt x="117" y="41"/>
                  <a:pt x="117" y="41"/>
                  <a:pt x="117" y="41"/>
                </a:cubicBezTo>
                <a:cubicBezTo>
                  <a:pt x="147" y="48"/>
                  <a:pt x="177" y="53"/>
                  <a:pt x="195" y="55"/>
                </a:cubicBezTo>
                <a:cubicBezTo>
                  <a:pt x="194" y="77"/>
                  <a:pt x="193" y="100"/>
                  <a:pt x="192" y="123"/>
                </a:cubicBezTo>
                <a:cubicBezTo>
                  <a:pt x="139" y="110"/>
                  <a:pt x="69" y="77"/>
                  <a:pt x="37" y="57"/>
                </a:cubicBezTo>
                <a:lnTo>
                  <a:pt x="35" y="55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8" name="Freeform 1171">
            <a:extLst>
              <a:ext uri="{FF2B5EF4-FFF2-40B4-BE49-F238E27FC236}">
                <a16:creationId xmlns:a16="http://schemas.microsoft.com/office/drawing/2014/main" id="{CC102F9D-4E0D-4536-A1A4-7D984ADB56D1}"/>
              </a:ext>
            </a:extLst>
          </p:cNvPr>
          <p:cNvSpPr>
            <a:spLocks/>
          </p:cNvSpPr>
          <p:nvPr/>
        </p:nvSpPr>
        <p:spPr bwMode="auto">
          <a:xfrm>
            <a:off x="7233154" y="5686771"/>
            <a:ext cx="10018" cy="11270"/>
          </a:xfrm>
          <a:custGeom>
            <a:avLst/>
            <a:gdLst>
              <a:gd name="T0" fmla="*/ 15 w 18"/>
              <a:gd name="T1" fmla="*/ 22 h 23"/>
              <a:gd name="T2" fmla="*/ 9 w 18"/>
              <a:gd name="T3" fmla="*/ 20 h 23"/>
              <a:gd name="T4" fmla="*/ 2 w 18"/>
              <a:gd name="T5" fmla="*/ 8 h 23"/>
              <a:gd name="T6" fmla="*/ 3 w 18"/>
              <a:gd name="T7" fmla="*/ 2 h 23"/>
              <a:gd name="T8" fmla="*/ 3 w 18"/>
              <a:gd name="T9" fmla="*/ 2 h 23"/>
              <a:gd name="T10" fmla="*/ 9 w 18"/>
              <a:gd name="T11" fmla="*/ 3 h 23"/>
              <a:gd name="T12" fmla="*/ 16 w 18"/>
              <a:gd name="T13" fmla="*/ 16 h 23"/>
              <a:gd name="T14" fmla="*/ 15 w 18"/>
              <a:gd name="T15" fmla="*/ 22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23">
                <a:moveTo>
                  <a:pt x="15" y="22"/>
                </a:moveTo>
                <a:cubicBezTo>
                  <a:pt x="13" y="23"/>
                  <a:pt x="10" y="22"/>
                  <a:pt x="9" y="20"/>
                </a:cubicBezTo>
                <a:cubicBezTo>
                  <a:pt x="2" y="8"/>
                  <a:pt x="2" y="8"/>
                  <a:pt x="2" y="8"/>
                </a:cubicBezTo>
                <a:cubicBezTo>
                  <a:pt x="0" y="5"/>
                  <a:pt x="1" y="3"/>
                  <a:pt x="3" y="2"/>
                </a:cubicBezTo>
                <a:cubicBezTo>
                  <a:pt x="3" y="2"/>
                  <a:pt x="3" y="2"/>
                  <a:pt x="3" y="2"/>
                </a:cubicBezTo>
                <a:cubicBezTo>
                  <a:pt x="5" y="0"/>
                  <a:pt x="8" y="1"/>
                  <a:pt x="9" y="3"/>
                </a:cubicBezTo>
                <a:cubicBezTo>
                  <a:pt x="16" y="16"/>
                  <a:pt x="16" y="16"/>
                  <a:pt x="16" y="16"/>
                </a:cubicBezTo>
                <a:cubicBezTo>
                  <a:pt x="18" y="18"/>
                  <a:pt x="17" y="20"/>
                  <a:pt x="15" y="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9" name="Freeform 1172">
            <a:extLst>
              <a:ext uri="{FF2B5EF4-FFF2-40B4-BE49-F238E27FC236}">
                <a16:creationId xmlns:a16="http://schemas.microsoft.com/office/drawing/2014/main" id="{B4AC7EF5-54D0-490A-B622-D4BF789DD752}"/>
              </a:ext>
            </a:extLst>
          </p:cNvPr>
          <p:cNvSpPr>
            <a:spLocks/>
          </p:cNvSpPr>
          <p:nvPr/>
        </p:nvSpPr>
        <p:spPr bwMode="auto">
          <a:xfrm>
            <a:off x="7226893" y="5690528"/>
            <a:ext cx="15027" cy="21288"/>
          </a:xfrm>
          <a:custGeom>
            <a:avLst/>
            <a:gdLst>
              <a:gd name="T0" fmla="*/ 17 w 30"/>
              <a:gd name="T1" fmla="*/ 39 h 39"/>
              <a:gd name="T2" fmla="*/ 23 w 30"/>
              <a:gd name="T3" fmla="*/ 35 h 39"/>
              <a:gd name="T4" fmla="*/ 30 w 30"/>
              <a:gd name="T5" fmla="*/ 10 h 39"/>
              <a:gd name="T6" fmla="*/ 27 w 30"/>
              <a:gd name="T7" fmla="*/ 5 h 39"/>
              <a:gd name="T8" fmla="*/ 13 w 30"/>
              <a:gd name="T9" fmla="*/ 1 h 39"/>
              <a:gd name="T10" fmla="*/ 8 w 30"/>
              <a:gd name="T11" fmla="*/ 4 h 39"/>
              <a:gd name="T12" fmla="*/ 1 w 30"/>
              <a:gd name="T13" fmla="*/ 29 h 39"/>
              <a:gd name="T14" fmla="*/ 4 w 30"/>
              <a:gd name="T15" fmla="*/ 35 h 39"/>
              <a:gd name="T16" fmla="*/ 17 w 30"/>
              <a:gd name="T17" fmla="*/ 39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0" h="39">
                <a:moveTo>
                  <a:pt x="17" y="39"/>
                </a:moveTo>
                <a:cubicBezTo>
                  <a:pt x="20" y="39"/>
                  <a:pt x="22" y="38"/>
                  <a:pt x="23" y="35"/>
                </a:cubicBezTo>
                <a:cubicBezTo>
                  <a:pt x="30" y="10"/>
                  <a:pt x="30" y="10"/>
                  <a:pt x="30" y="10"/>
                </a:cubicBezTo>
                <a:cubicBezTo>
                  <a:pt x="30" y="8"/>
                  <a:pt x="29" y="5"/>
                  <a:pt x="27" y="5"/>
                </a:cubicBezTo>
                <a:cubicBezTo>
                  <a:pt x="13" y="1"/>
                  <a:pt x="13" y="1"/>
                  <a:pt x="13" y="1"/>
                </a:cubicBezTo>
                <a:cubicBezTo>
                  <a:pt x="11" y="0"/>
                  <a:pt x="9" y="2"/>
                  <a:pt x="8" y="4"/>
                </a:cubicBezTo>
                <a:cubicBezTo>
                  <a:pt x="1" y="29"/>
                  <a:pt x="1" y="29"/>
                  <a:pt x="1" y="29"/>
                </a:cubicBezTo>
                <a:cubicBezTo>
                  <a:pt x="0" y="32"/>
                  <a:pt x="2" y="34"/>
                  <a:pt x="4" y="35"/>
                </a:cubicBezTo>
                <a:lnTo>
                  <a:pt x="17" y="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0" name="Freeform 1173">
            <a:extLst>
              <a:ext uri="{FF2B5EF4-FFF2-40B4-BE49-F238E27FC236}">
                <a16:creationId xmlns:a16="http://schemas.microsoft.com/office/drawing/2014/main" id="{1AD16392-EEAD-408A-8C45-1A484F4C6BB8}"/>
              </a:ext>
            </a:extLst>
          </p:cNvPr>
          <p:cNvSpPr>
            <a:spLocks/>
          </p:cNvSpPr>
          <p:nvPr/>
        </p:nvSpPr>
        <p:spPr bwMode="auto">
          <a:xfrm>
            <a:off x="7224389" y="5694285"/>
            <a:ext cx="10018" cy="6262"/>
          </a:xfrm>
          <a:custGeom>
            <a:avLst/>
            <a:gdLst>
              <a:gd name="T0" fmla="*/ 15 w 19"/>
              <a:gd name="T1" fmla="*/ 3 h 13"/>
              <a:gd name="T2" fmla="*/ 18 w 19"/>
              <a:gd name="T3" fmla="*/ 9 h 13"/>
              <a:gd name="T4" fmla="*/ 13 w 19"/>
              <a:gd name="T5" fmla="*/ 12 h 13"/>
              <a:gd name="T6" fmla="*/ 4 w 19"/>
              <a:gd name="T7" fmla="*/ 10 h 13"/>
              <a:gd name="T8" fmla="*/ 1 w 19"/>
              <a:gd name="T9" fmla="*/ 4 h 13"/>
              <a:gd name="T10" fmla="*/ 1 w 19"/>
              <a:gd name="T11" fmla="*/ 4 h 13"/>
              <a:gd name="T12" fmla="*/ 6 w 19"/>
              <a:gd name="T13" fmla="*/ 1 h 13"/>
              <a:gd name="T14" fmla="*/ 15 w 19"/>
              <a:gd name="T15" fmla="*/ 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9" h="13">
                <a:moveTo>
                  <a:pt x="15" y="3"/>
                </a:moveTo>
                <a:cubicBezTo>
                  <a:pt x="17" y="4"/>
                  <a:pt x="19" y="7"/>
                  <a:pt x="18" y="9"/>
                </a:cubicBezTo>
                <a:cubicBezTo>
                  <a:pt x="18" y="11"/>
                  <a:pt x="15" y="13"/>
                  <a:pt x="13" y="12"/>
                </a:cubicBezTo>
                <a:cubicBezTo>
                  <a:pt x="4" y="10"/>
                  <a:pt x="4" y="10"/>
                  <a:pt x="4" y="10"/>
                </a:cubicBezTo>
                <a:cubicBezTo>
                  <a:pt x="2" y="9"/>
                  <a:pt x="0" y="7"/>
                  <a:pt x="1" y="4"/>
                </a:cubicBezTo>
                <a:cubicBezTo>
                  <a:pt x="1" y="4"/>
                  <a:pt x="1" y="4"/>
                  <a:pt x="1" y="4"/>
                </a:cubicBezTo>
                <a:cubicBezTo>
                  <a:pt x="2" y="2"/>
                  <a:pt x="4" y="0"/>
                  <a:pt x="6" y="1"/>
                </a:cubicBezTo>
                <a:lnTo>
                  <a:pt x="15" y="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1" name="Freeform 1174">
            <a:extLst>
              <a:ext uri="{FF2B5EF4-FFF2-40B4-BE49-F238E27FC236}">
                <a16:creationId xmlns:a16="http://schemas.microsoft.com/office/drawing/2014/main" id="{53B7C0D8-65AF-4B8E-A242-4E830E769660}"/>
              </a:ext>
            </a:extLst>
          </p:cNvPr>
          <p:cNvSpPr>
            <a:spLocks/>
          </p:cNvSpPr>
          <p:nvPr/>
        </p:nvSpPr>
        <p:spPr bwMode="auto">
          <a:xfrm>
            <a:off x="7225640" y="5690528"/>
            <a:ext cx="10018" cy="6262"/>
          </a:xfrm>
          <a:custGeom>
            <a:avLst/>
            <a:gdLst>
              <a:gd name="T0" fmla="*/ 14 w 18"/>
              <a:gd name="T1" fmla="*/ 3 h 12"/>
              <a:gd name="T2" fmla="*/ 18 w 18"/>
              <a:gd name="T3" fmla="*/ 8 h 12"/>
              <a:gd name="T4" fmla="*/ 12 w 18"/>
              <a:gd name="T5" fmla="*/ 11 h 12"/>
              <a:gd name="T6" fmla="*/ 3 w 18"/>
              <a:gd name="T7" fmla="*/ 9 h 12"/>
              <a:gd name="T8" fmla="*/ 0 w 18"/>
              <a:gd name="T9" fmla="*/ 4 h 12"/>
              <a:gd name="T10" fmla="*/ 0 w 18"/>
              <a:gd name="T11" fmla="*/ 4 h 12"/>
              <a:gd name="T12" fmla="*/ 6 w 18"/>
              <a:gd name="T13" fmla="*/ 1 h 12"/>
              <a:gd name="T14" fmla="*/ 14 w 18"/>
              <a:gd name="T15" fmla="*/ 3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12">
                <a:moveTo>
                  <a:pt x="14" y="3"/>
                </a:moveTo>
                <a:cubicBezTo>
                  <a:pt x="17" y="4"/>
                  <a:pt x="18" y="6"/>
                  <a:pt x="18" y="8"/>
                </a:cubicBezTo>
                <a:cubicBezTo>
                  <a:pt x="17" y="11"/>
                  <a:pt x="14" y="12"/>
                  <a:pt x="12" y="11"/>
                </a:cubicBezTo>
                <a:cubicBezTo>
                  <a:pt x="3" y="9"/>
                  <a:pt x="3" y="9"/>
                  <a:pt x="3" y="9"/>
                </a:cubicBezTo>
                <a:cubicBezTo>
                  <a:pt x="1" y="8"/>
                  <a:pt x="0" y="6"/>
                  <a:pt x="0" y="4"/>
                </a:cubicBezTo>
                <a:cubicBezTo>
                  <a:pt x="0" y="4"/>
                  <a:pt x="0" y="4"/>
                  <a:pt x="0" y="4"/>
                </a:cubicBezTo>
                <a:cubicBezTo>
                  <a:pt x="1" y="1"/>
                  <a:pt x="3" y="0"/>
                  <a:pt x="6" y="1"/>
                </a:cubicBezTo>
                <a:lnTo>
                  <a:pt x="14" y="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2" name="Freeform 1175">
            <a:extLst>
              <a:ext uri="{FF2B5EF4-FFF2-40B4-BE49-F238E27FC236}">
                <a16:creationId xmlns:a16="http://schemas.microsoft.com/office/drawing/2014/main" id="{49197D33-FC34-4E76-B392-410B849F4DF1}"/>
              </a:ext>
            </a:extLst>
          </p:cNvPr>
          <p:cNvSpPr>
            <a:spLocks/>
          </p:cNvSpPr>
          <p:nvPr/>
        </p:nvSpPr>
        <p:spPr bwMode="auto">
          <a:xfrm>
            <a:off x="7223136" y="5699294"/>
            <a:ext cx="10018" cy="6262"/>
          </a:xfrm>
          <a:custGeom>
            <a:avLst/>
            <a:gdLst>
              <a:gd name="T0" fmla="*/ 18 w 19"/>
              <a:gd name="T1" fmla="*/ 8 h 12"/>
              <a:gd name="T2" fmla="*/ 12 w 19"/>
              <a:gd name="T3" fmla="*/ 12 h 12"/>
              <a:gd name="T4" fmla="*/ 4 w 19"/>
              <a:gd name="T5" fmla="*/ 9 h 12"/>
              <a:gd name="T6" fmla="*/ 1 w 19"/>
              <a:gd name="T7" fmla="*/ 4 h 12"/>
              <a:gd name="T8" fmla="*/ 1 w 19"/>
              <a:gd name="T9" fmla="*/ 4 h 12"/>
              <a:gd name="T10" fmla="*/ 6 w 19"/>
              <a:gd name="T11" fmla="*/ 1 h 12"/>
              <a:gd name="T12" fmla="*/ 15 w 19"/>
              <a:gd name="T13" fmla="*/ 3 h 12"/>
              <a:gd name="T14" fmla="*/ 18 w 19"/>
              <a:gd name="T15" fmla="*/ 8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9" h="12">
                <a:moveTo>
                  <a:pt x="18" y="8"/>
                </a:moveTo>
                <a:cubicBezTo>
                  <a:pt x="17" y="11"/>
                  <a:pt x="15" y="12"/>
                  <a:pt x="12" y="12"/>
                </a:cubicBezTo>
                <a:cubicBezTo>
                  <a:pt x="4" y="9"/>
                  <a:pt x="4" y="9"/>
                  <a:pt x="4" y="9"/>
                </a:cubicBezTo>
                <a:cubicBezTo>
                  <a:pt x="1" y="9"/>
                  <a:pt x="0" y="6"/>
                  <a:pt x="1" y="4"/>
                </a:cubicBezTo>
                <a:cubicBezTo>
                  <a:pt x="1" y="4"/>
                  <a:pt x="1" y="4"/>
                  <a:pt x="1" y="4"/>
                </a:cubicBezTo>
                <a:cubicBezTo>
                  <a:pt x="1" y="1"/>
                  <a:pt x="4" y="0"/>
                  <a:pt x="6" y="1"/>
                </a:cubicBezTo>
                <a:cubicBezTo>
                  <a:pt x="15" y="3"/>
                  <a:pt x="15" y="3"/>
                  <a:pt x="15" y="3"/>
                </a:cubicBezTo>
                <a:cubicBezTo>
                  <a:pt x="17" y="4"/>
                  <a:pt x="19" y="6"/>
                  <a:pt x="18" y="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3" name="Freeform 1176">
            <a:extLst>
              <a:ext uri="{FF2B5EF4-FFF2-40B4-BE49-F238E27FC236}">
                <a16:creationId xmlns:a16="http://schemas.microsoft.com/office/drawing/2014/main" id="{27D109F7-F54E-4705-A643-7572DE15B6AC}"/>
              </a:ext>
            </a:extLst>
          </p:cNvPr>
          <p:cNvSpPr>
            <a:spLocks/>
          </p:cNvSpPr>
          <p:nvPr/>
        </p:nvSpPr>
        <p:spPr bwMode="auto">
          <a:xfrm>
            <a:off x="7221884" y="5703050"/>
            <a:ext cx="10018" cy="6262"/>
          </a:xfrm>
          <a:custGeom>
            <a:avLst/>
            <a:gdLst>
              <a:gd name="T0" fmla="*/ 14 w 18"/>
              <a:gd name="T1" fmla="*/ 3 h 12"/>
              <a:gd name="T2" fmla="*/ 18 w 18"/>
              <a:gd name="T3" fmla="*/ 8 h 12"/>
              <a:gd name="T4" fmla="*/ 12 w 18"/>
              <a:gd name="T5" fmla="*/ 11 h 12"/>
              <a:gd name="T6" fmla="*/ 3 w 18"/>
              <a:gd name="T7" fmla="*/ 9 h 12"/>
              <a:gd name="T8" fmla="*/ 0 w 18"/>
              <a:gd name="T9" fmla="*/ 3 h 12"/>
              <a:gd name="T10" fmla="*/ 6 w 18"/>
              <a:gd name="T11" fmla="*/ 0 h 12"/>
              <a:gd name="T12" fmla="*/ 14 w 18"/>
              <a:gd name="T13" fmla="*/ 3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" h="12">
                <a:moveTo>
                  <a:pt x="14" y="3"/>
                </a:moveTo>
                <a:cubicBezTo>
                  <a:pt x="17" y="3"/>
                  <a:pt x="18" y="6"/>
                  <a:pt x="18" y="8"/>
                </a:cubicBezTo>
                <a:cubicBezTo>
                  <a:pt x="17" y="10"/>
                  <a:pt x="14" y="12"/>
                  <a:pt x="12" y="11"/>
                </a:cubicBezTo>
                <a:cubicBezTo>
                  <a:pt x="3" y="9"/>
                  <a:pt x="3" y="9"/>
                  <a:pt x="3" y="9"/>
                </a:cubicBezTo>
                <a:cubicBezTo>
                  <a:pt x="1" y="8"/>
                  <a:pt x="0" y="6"/>
                  <a:pt x="0" y="3"/>
                </a:cubicBezTo>
                <a:cubicBezTo>
                  <a:pt x="1" y="1"/>
                  <a:pt x="3" y="0"/>
                  <a:pt x="6" y="0"/>
                </a:cubicBezTo>
                <a:lnTo>
                  <a:pt x="14" y="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4" name="Freeform 1177">
            <a:extLst>
              <a:ext uri="{FF2B5EF4-FFF2-40B4-BE49-F238E27FC236}">
                <a16:creationId xmlns:a16="http://schemas.microsoft.com/office/drawing/2014/main" id="{E4E80A6B-A8AF-4F93-A180-8C9BB42717DF}"/>
              </a:ext>
            </a:extLst>
          </p:cNvPr>
          <p:cNvSpPr>
            <a:spLocks/>
          </p:cNvSpPr>
          <p:nvPr/>
        </p:nvSpPr>
        <p:spPr bwMode="auto">
          <a:xfrm>
            <a:off x="7240667" y="5696789"/>
            <a:ext cx="125223" cy="58855"/>
          </a:xfrm>
          <a:custGeom>
            <a:avLst/>
            <a:gdLst>
              <a:gd name="T0" fmla="*/ 207 w 243"/>
              <a:gd name="T1" fmla="*/ 97 h 113"/>
              <a:gd name="T2" fmla="*/ 0 w 243"/>
              <a:gd name="T3" fmla="*/ 29 h 113"/>
              <a:gd name="T4" fmla="*/ 9 w 243"/>
              <a:gd name="T5" fmla="*/ 0 h 113"/>
              <a:gd name="T6" fmla="*/ 170 w 243"/>
              <a:gd name="T7" fmla="*/ 35 h 113"/>
              <a:gd name="T8" fmla="*/ 207 w 243"/>
              <a:gd name="T9" fmla="*/ 97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3" h="113">
                <a:moveTo>
                  <a:pt x="207" y="97"/>
                </a:moveTo>
                <a:cubicBezTo>
                  <a:pt x="169" y="113"/>
                  <a:pt x="49" y="59"/>
                  <a:pt x="0" y="29"/>
                </a:cubicBezTo>
                <a:cubicBezTo>
                  <a:pt x="9" y="0"/>
                  <a:pt x="9" y="0"/>
                  <a:pt x="9" y="0"/>
                </a:cubicBezTo>
                <a:cubicBezTo>
                  <a:pt x="56" y="21"/>
                  <a:pt x="156" y="37"/>
                  <a:pt x="170" y="35"/>
                </a:cubicBezTo>
                <a:cubicBezTo>
                  <a:pt x="203" y="32"/>
                  <a:pt x="243" y="81"/>
                  <a:pt x="207" y="9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5" name="Freeform 1178">
            <a:extLst>
              <a:ext uri="{FF2B5EF4-FFF2-40B4-BE49-F238E27FC236}">
                <a16:creationId xmlns:a16="http://schemas.microsoft.com/office/drawing/2014/main" id="{DD74EEBB-E4C9-42FC-965F-EA3D3415BE8A}"/>
              </a:ext>
            </a:extLst>
          </p:cNvPr>
          <p:cNvSpPr>
            <a:spLocks/>
          </p:cNvSpPr>
          <p:nvPr/>
        </p:nvSpPr>
        <p:spPr bwMode="auto">
          <a:xfrm>
            <a:off x="7196839" y="5640438"/>
            <a:ext cx="126476" cy="110197"/>
          </a:xfrm>
          <a:custGeom>
            <a:avLst/>
            <a:gdLst>
              <a:gd name="T0" fmla="*/ 52 w 242"/>
              <a:gd name="T1" fmla="*/ 49 h 213"/>
              <a:gd name="T2" fmla="*/ 42 w 242"/>
              <a:gd name="T3" fmla="*/ 139 h 213"/>
              <a:gd name="T4" fmla="*/ 181 w 242"/>
              <a:gd name="T5" fmla="*/ 104 h 213"/>
              <a:gd name="T6" fmla="*/ 240 w 242"/>
              <a:gd name="T7" fmla="*/ 139 h 213"/>
              <a:gd name="T8" fmla="*/ 242 w 242"/>
              <a:gd name="T9" fmla="*/ 145 h 213"/>
              <a:gd name="T10" fmla="*/ 193 w 242"/>
              <a:gd name="T11" fmla="*/ 140 h 213"/>
              <a:gd name="T12" fmla="*/ 1 w 242"/>
              <a:gd name="T13" fmla="*/ 213 h 213"/>
              <a:gd name="T14" fmla="*/ 0 w 242"/>
              <a:gd name="T15" fmla="*/ 213 h 213"/>
              <a:gd name="T16" fmla="*/ 4 w 242"/>
              <a:gd name="T17" fmla="*/ 30 h 213"/>
              <a:gd name="T18" fmla="*/ 52 w 242"/>
              <a:gd name="T19" fmla="*/ 49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2" h="213">
                <a:moveTo>
                  <a:pt x="52" y="49"/>
                </a:moveTo>
                <a:cubicBezTo>
                  <a:pt x="50" y="62"/>
                  <a:pt x="47" y="100"/>
                  <a:pt x="42" y="139"/>
                </a:cubicBezTo>
                <a:cubicBezTo>
                  <a:pt x="76" y="134"/>
                  <a:pt x="152" y="119"/>
                  <a:pt x="181" y="104"/>
                </a:cubicBezTo>
                <a:cubicBezTo>
                  <a:pt x="197" y="95"/>
                  <a:pt x="234" y="114"/>
                  <a:pt x="240" y="139"/>
                </a:cubicBezTo>
                <a:cubicBezTo>
                  <a:pt x="242" y="145"/>
                  <a:pt x="242" y="145"/>
                  <a:pt x="242" y="145"/>
                </a:cubicBezTo>
                <a:cubicBezTo>
                  <a:pt x="216" y="140"/>
                  <a:pt x="201" y="148"/>
                  <a:pt x="193" y="140"/>
                </a:cubicBezTo>
                <a:cubicBezTo>
                  <a:pt x="149" y="168"/>
                  <a:pt x="53" y="213"/>
                  <a:pt x="1" y="213"/>
                </a:cubicBezTo>
                <a:cubicBezTo>
                  <a:pt x="1" y="213"/>
                  <a:pt x="0" y="213"/>
                  <a:pt x="0" y="213"/>
                </a:cubicBezTo>
                <a:cubicBezTo>
                  <a:pt x="1" y="150"/>
                  <a:pt x="3" y="80"/>
                  <a:pt x="4" y="30"/>
                </a:cubicBezTo>
                <a:cubicBezTo>
                  <a:pt x="5" y="0"/>
                  <a:pt x="56" y="32"/>
                  <a:pt x="52" y="49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6" name="Freeform 1179">
            <a:extLst>
              <a:ext uri="{FF2B5EF4-FFF2-40B4-BE49-F238E27FC236}">
                <a16:creationId xmlns:a16="http://schemas.microsoft.com/office/drawing/2014/main" id="{6EEEAC64-B435-41B2-A7B1-D23B13A2C67C}"/>
              </a:ext>
            </a:extLst>
          </p:cNvPr>
          <p:cNvSpPr>
            <a:spLocks/>
          </p:cNvSpPr>
          <p:nvPr/>
        </p:nvSpPr>
        <p:spPr bwMode="auto">
          <a:xfrm>
            <a:off x="7176804" y="5620403"/>
            <a:ext cx="118963" cy="128980"/>
          </a:xfrm>
          <a:custGeom>
            <a:avLst/>
            <a:gdLst>
              <a:gd name="T0" fmla="*/ 2 w 229"/>
              <a:gd name="T1" fmla="*/ 212 h 248"/>
              <a:gd name="T2" fmla="*/ 46 w 229"/>
              <a:gd name="T3" fmla="*/ 0 h 248"/>
              <a:gd name="T4" fmla="*/ 92 w 229"/>
              <a:gd name="T5" fmla="*/ 88 h 248"/>
              <a:gd name="T6" fmla="*/ 77 w 229"/>
              <a:gd name="T7" fmla="*/ 183 h 248"/>
              <a:gd name="T8" fmla="*/ 221 w 229"/>
              <a:gd name="T9" fmla="*/ 147 h 248"/>
              <a:gd name="T10" fmla="*/ 229 w 229"/>
              <a:gd name="T11" fmla="*/ 177 h 248"/>
              <a:gd name="T12" fmla="*/ 41 w 229"/>
              <a:gd name="T13" fmla="*/ 248 h 248"/>
              <a:gd name="T14" fmla="*/ 2 w 229"/>
              <a:gd name="T15" fmla="*/ 212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9" h="248">
                <a:moveTo>
                  <a:pt x="2" y="212"/>
                </a:moveTo>
                <a:cubicBezTo>
                  <a:pt x="6" y="182"/>
                  <a:pt x="24" y="0"/>
                  <a:pt x="46" y="0"/>
                </a:cubicBezTo>
                <a:cubicBezTo>
                  <a:pt x="67" y="0"/>
                  <a:pt x="97" y="64"/>
                  <a:pt x="92" y="88"/>
                </a:cubicBezTo>
                <a:cubicBezTo>
                  <a:pt x="90" y="102"/>
                  <a:pt x="83" y="142"/>
                  <a:pt x="77" y="183"/>
                </a:cubicBezTo>
                <a:cubicBezTo>
                  <a:pt x="113" y="178"/>
                  <a:pt x="183" y="164"/>
                  <a:pt x="221" y="147"/>
                </a:cubicBezTo>
                <a:cubicBezTo>
                  <a:pt x="229" y="177"/>
                  <a:pt x="229" y="177"/>
                  <a:pt x="229" y="177"/>
                </a:cubicBezTo>
                <a:cubicBezTo>
                  <a:pt x="189" y="202"/>
                  <a:pt x="92" y="248"/>
                  <a:pt x="41" y="248"/>
                </a:cubicBezTo>
                <a:cubicBezTo>
                  <a:pt x="12" y="247"/>
                  <a:pt x="0" y="233"/>
                  <a:pt x="2" y="2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7" name="Freeform 1180">
            <a:extLst>
              <a:ext uri="{FF2B5EF4-FFF2-40B4-BE49-F238E27FC236}">
                <a16:creationId xmlns:a16="http://schemas.microsoft.com/office/drawing/2014/main" id="{F00E18B5-6348-4FA1-A2D1-C6D98B29038C}"/>
              </a:ext>
            </a:extLst>
          </p:cNvPr>
          <p:cNvSpPr>
            <a:spLocks/>
          </p:cNvSpPr>
          <p:nvPr/>
        </p:nvSpPr>
        <p:spPr bwMode="auto">
          <a:xfrm>
            <a:off x="7293261" y="5693032"/>
            <a:ext cx="26297" cy="22540"/>
          </a:xfrm>
          <a:custGeom>
            <a:avLst/>
            <a:gdLst>
              <a:gd name="T0" fmla="*/ 0 w 50"/>
              <a:gd name="T1" fmla="*/ 3 h 42"/>
              <a:gd name="T2" fmla="*/ 8 w 50"/>
              <a:gd name="T3" fmla="*/ 32 h 42"/>
              <a:gd name="T4" fmla="*/ 50 w 50"/>
              <a:gd name="T5" fmla="*/ 37 h 42"/>
              <a:gd name="T6" fmla="*/ 0 w 50"/>
              <a:gd name="T7" fmla="*/ 3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0" h="42">
                <a:moveTo>
                  <a:pt x="0" y="3"/>
                </a:moveTo>
                <a:cubicBezTo>
                  <a:pt x="0" y="3"/>
                  <a:pt x="5" y="23"/>
                  <a:pt x="8" y="32"/>
                </a:cubicBezTo>
                <a:cubicBezTo>
                  <a:pt x="11" y="42"/>
                  <a:pt x="33" y="34"/>
                  <a:pt x="50" y="37"/>
                </a:cubicBezTo>
                <a:cubicBezTo>
                  <a:pt x="45" y="18"/>
                  <a:pt x="18" y="0"/>
                  <a:pt x="0" y="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8" name="Freeform 1181">
            <a:extLst>
              <a:ext uri="{FF2B5EF4-FFF2-40B4-BE49-F238E27FC236}">
                <a16:creationId xmlns:a16="http://schemas.microsoft.com/office/drawing/2014/main" id="{945F29DE-ABB6-46C2-98D2-725BDBDB4FC6}"/>
              </a:ext>
            </a:extLst>
          </p:cNvPr>
          <p:cNvSpPr>
            <a:spLocks/>
          </p:cNvSpPr>
          <p:nvPr/>
        </p:nvSpPr>
        <p:spPr bwMode="auto">
          <a:xfrm>
            <a:off x="11301661" y="5257255"/>
            <a:ext cx="197853" cy="130232"/>
          </a:xfrm>
          <a:custGeom>
            <a:avLst/>
            <a:gdLst>
              <a:gd name="T0" fmla="*/ 369 w 379"/>
              <a:gd name="T1" fmla="*/ 250 h 250"/>
              <a:gd name="T2" fmla="*/ 359 w 379"/>
              <a:gd name="T3" fmla="*/ 240 h 250"/>
              <a:gd name="T4" fmla="*/ 359 w 379"/>
              <a:gd name="T5" fmla="*/ 20 h 250"/>
              <a:gd name="T6" fmla="*/ 10 w 379"/>
              <a:gd name="T7" fmla="*/ 20 h 250"/>
              <a:gd name="T8" fmla="*/ 0 w 379"/>
              <a:gd name="T9" fmla="*/ 10 h 250"/>
              <a:gd name="T10" fmla="*/ 10 w 379"/>
              <a:gd name="T11" fmla="*/ 0 h 250"/>
              <a:gd name="T12" fmla="*/ 379 w 379"/>
              <a:gd name="T13" fmla="*/ 0 h 250"/>
              <a:gd name="T14" fmla="*/ 379 w 379"/>
              <a:gd name="T15" fmla="*/ 240 h 250"/>
              <a:gd name="T16" fmla="*/ 369 w 379"/>
              <a:gd name="T17" fmla="*/ 250 h 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79" h="250">
                <a:moveTo>
                  <a:pt x="369" y="250"/>
                </a:moveTo>
                <a:cubicBezTo>
                  <a:pt x="363" y="250"/>
                  <a:pt x="359" y="245"/>
                  <a:pt x="359" y="240"/>
                </a:cubicBezTo>
                <a:cubicBezTo>
                  <a:pt x="359" y="20"/>
                  <a:pt x="359" y="20"/>
                  <a:pt x="359" y="20"/>
                </a:cubicBezTo>
                <a:cubicBezTo>
                  <a:pt x="10" y="20"/>
                  <a:pt x="10" y="20"/>
                  <a:pt x="10" y="20"/>
                </a:cubicBezTo>
                <a:cubicBezTo>
                  <a:pt x="4" y="20"/>
                  <a:pt x="0" y="16"/>
                  <a:pt x="0" y="10"/>
                </a:cubicBezTo>
                <a:cubicBezTo>
                  <a:pt x="0" y="4"/>
                  <a:pt x="4" y="0"/>
                  <a:pt x="10" y="0"/>
                </a:cubicBezTo>
                <a:cubicBezTo>
                  <a:pt x="379" y="0"/>
                  <a:pt x="379" y="0"/>
                  <a:pt x="379" y="0"/>
                </a:cubicBezTo>
                <a:cubicBezTo>
                  <a:pt x="379" y="240"/>
                  <a:pt x="379" y="240"/>
                  <a:pt x="379" y="240"/>
                </a:cubicBezTo>
                <a:cubicBezTo>
                  <a:pt x="379" y="245"/>
                  <a:pt x="374" y="250"/>
                  <a:pt x="369" y="250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9" name="Freeform 1182">
            <a:extLst>
              <a:ext uri="{FF2B5EF4-FFF2-40B4-BE49-F238E27FC236}">
                <a16:creationId xmlns:a16="http://schemas.microsoft.com/office/drawing/2014/main" id="{700F0A0D-7E73-4421-8C47-107F610FC6CA}"/>
              </a:ext>
            </a:extLst>
          </p:cNvPr>
          <p:cNvSpPr>
            <a:spLocks/>
          </p:cNvSpPr>
          <p:nvPr/>
        </p:nvSpPr>
        <p:spPr bwMode="auto">
          <a:xfrm>
            <a:off x="11301661" y="5204661"/>
            <a:ext cx="215384" cy="186583"/>
          </a:xfrm>
          <a:custGeom>
            <a:avLst/>
            <a:gdLst>
              <a:gd name="T0" fmla="*/ 403 w 413"/>
              <a:gd name="T1" fmla="*/ 360 h 360"/>
              <a:gd name="T2" fmla="*/ 393 w 413"/>
              <a:gd name="T3" fmla="*/ 350 h 360"/>
              <a:gd name="T4" fmla="*/ 393 w 413"/>
              <a:gd name="T5" fmla="*/ 88 h 360"/>
              <a:gd name="T6" fmla="*/ 274 w 413"/>
              <a:gd name="T7" fmla="*/ 88 h 360"/>
              <a:gd name="T8" fmla="*/ 274 w 413"/>
              <a:gd name="T9" fmla="*/ 20 h 360"/>
              <a:gd name="T10" fmla="*/ 10 w 413"/>
              <a:gd name="T11" fmla="*/ 20 h 360"/>
              <a:gd name="T12" fmla="*/ 0 w 413"/>
              <a:gd name="T13" fmla="*/ 10 h 360"/>
              <a:gd name="T14" fmla="*/ 10 w 413"/>
              <a:gd name="T15" fmla="*/ 0 h 360"/>
              <a:gd name="T16" fmla="*/ 294 w 413"/>
              <a:gd name="T17" fmla="*/ 0 h 360"/>
              <a:gd name="T18" fmla="*/ 294 w 413"/>
              <a:gd name="T19" fmla="*/ 68 h 360"/>
              <a:gd name="T20" fmla="*/ 413 w 413"/>
              <a:gd name="T21" fmla="*/ 68 h 360"/>
              <a:gd name="T22" fmla="*/ 413 w 413"/>
              <a:gd name="T23" fmla="*/ 350 h 360"/>
              <a:gd name="T24" fmla="*/ 403 w 413"/>
              <a:gd name="T25" fmla="*/ 360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3" h="360">
                <a:moveTo>
                  <a:pt x="403" y="360"/>
                </a:moveTo>
                <a:cubicBezTo>
                  <a:pt x="398" y="360"/>
                  <a:pt x="393" y="355"/>
                  <a:pt x="393" y="350"/>
                </a:cubicBezTo>
                <a:cubicBezTo>
                  <a:pt x="393" y="88"/>
                  <a:pt x="393" y="88"/>
                  <a:pt x="393" y="88"/>
                </a:cubicBezTo>
                <a:cubicBezTo>
                  <a:pt x="274" y="88"/>
                  <a:pt x="274" y="88"/>
                  <a:pt x="274" y="88"/>
                </a:cubicBezTo>
                <a:cubicBezTo>
                  <a:pt x="274" y="20"/>
                  <a:pt x="274" y="20"/>
                  <a:pt x="274" y="20"/>
                </a:cubicBezTo>
                <a:cubicBezTo>
                  <a:pt x="10" y="20"/>
                  <a:pt x="10" y="20"/>
                  <a:pt x="10" y="20"/>
                </a:cubicBezTo>
                <a:cubicBezTo>
                  <a:pt x="4" y="20"/>
                  <a:pt x="0" y="16"/>
                  <a:pt x="0" y="10"/>
                </a:cubicBezTo>
                <a:cubicBezTo>
                  <a:pt x="0" y="4"/>
                  <a:pt x="4" y="0"/>
                  <a:pt x="10" y="0"/>
                </a:cubicBezTo>
                <a:cubicBezTo>
                  <a:pt x="294" y="0"/>
                  <a:pt x="294" y="0"/>
                  <a:pt x="294" y="0"/>
                </a:cubicBezTo>
                <a:cubicBezTo>
                  <a:pt x="294" y="68"/>
                  <a:pt x="294" y="68"/>
                  <a:pt x="294" y="68"/>
                </a:cubicBezTo>
                <a:cubicBezTo>
                  <a:pt x="413" y="68"/>
                  <a:pt x="413" y="68"/>
                  <a:pt x="413" y="68"/>
                </a:cubicBezTo>
                <a:cubicBezTo>
                  <a:pt x="413" y="350"/>
                  <a:pt x="413" y="350"/>
                  <a:pt x="413" y="350"/>
                </a:cubicBezTo>
                <a:cubicBezTo>
                  <a:pt x="413" y="355"/>
                  <a:pt x="409" y="360"/>
                  <a:pt x="403" y="360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0" name="Freeform 1183">
            <a:extLst>
              <a:ext uri="{FF2B5EF4-FFF2-40B4-BE49-F238E27FC236}">
                <a16:creationId xmlns:a16="http://schemas.microsoft.com/office/drawing/2014/main" id="{8C52CF65-BF53-40CC-A87C-979DB8EF4874}"/>
              </a:ext>
            </a:extLst>
          </p:cNvPr>
          <p:cNvSpPr>
            <a:spLocks/>
          </p:cNvSpPr>
          <p:nvPr/>
        </p:nvSpPr>
        <p:spPr bwMode="auto">
          <a:xfrm>
            <a:off x="11524559" y="5274786"/>
            <a:ext cx="196601" cy="116458"/>
          </a:xfrm>
          <a:custGeom>
            <a:avLst/>
            <a:gdLst>
              <a:gd name="T0" fmla="*/ 10 w 379"/>
              <a:gd name="T1" fmla="*/ 225 h 225"/>
              <a:gd name="T2" fmla="*/ 0 w 379"/>
              <a:gd name="T3" fmla="*/ 215 h 225"/>
              <a:gd name="T4" fmla="*/ 0 w 379"/>
              <a:gd name="T5" fmla="*/ 0 h 225"/>
              <a:gd name="T6" fmla="*/ 369 w 379"/>
              <a:gd name="T7" fmla="*/ 0 h 225"/>
              <a:gd name="T8" fmla="*/ 379 w 379"/>
              <a:gd name="T9" fmla="*/ 10 h 225"/>
              <a:gd name="T10" fmla="*/ 369 w 379"/>
              <a:gd name="T11" fmla="*/ 20 h 225"/>
              <a:gd name="T12" fmla="*/ 20 w 379"/>
              <a:gd name="T13" fmla="*/ 20 h 225"/>
              <a:gd name="T14" fmla="*/ 20 w 379"/>
              <a:gd name="T15" fmla="*/ 215 h 225"/>
              <a:gd name="T16" fmla="*/ 10 w 379"/>
              <a:gd name="T17" fmla="*/ 225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79" h="225">
                <a:moveTo>
                  <a:pt x="10" y="225"/>
                </a:moveTo>
                <a:cubicBezTo>
                  <a:pt x="4" y="225"/>
                  <a:pt x="0" y="220"/>
                  <a:pt x="0" y="215"/>
                </a:cubicBezTo>
                <a:cubicBezTo>
                  <a:pt x="0" y="0"/>
                  <a:pt x="0" y="0"/>
                  <a:pt x="0" y="0"/>
                </a:cubicBezTo>
                <a:cubicBezTo>
                  <a:pt x="369" y="0"/>
                  <a:pt x="369" y="0"/>
                  <a:pt x="369" y="0"/>
                </a:cubicBezTo>
                <a:cubicBezTo>
                  <a:pt x="375" y="0"/>
                  <a:pt x="379" y="4"/>
                  <a:pt x="379" y="10"/>
                </a:cubicBezTo>
                <a:cubicBezTo>
                  <a:pt x="379" y="15"/>
                  <a:pt x="375" y="20"/>
                  <a:pt x="369" y="20"/>
                </a:cubicBezTo>
                <a:cubicBezTo>
                  <a:pt x="20" y="20"/>
                  <a:pt x="20" y="20"/>
                  <a:pt x="20" y="20"/>
                </a:cubicBezTo>
                <a:cubicBezTo>
                  <a:pt x="20" y="215"/>
                  <a:pt x="20" y="215"/>
                  <a:pt x="20" y="215"/>
                </a:cubicBezTo>
                <a:cubicBezTo>
                  <a:pt x="20" y="220"/>
                  <a:pt x="15" y="225"/>
                  <a:pt x="10" y="225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1" name="Rectangle 1184">
            <a:extLst>
              <a:ext uri="{FF2B5EF4-FFF2-40B4-BE49-F238E27FC236}">
                <a16:creationId xmlns:a16="http://schemas.microsoft.com/office/drawing/2014/main" id="{E2768717-33D6-44EE-B619-2ACC34E0AD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79479" y="5379974"/>
            <a:ext cx="65116" cy="71378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2" name="Rectangle 1185">
            <a:extLst>
              <a:ext uri="{FF2B5EF4-FFF2-40B4-BE49-F238E27FC236}">
                <a16:creationId xmlns:a16="http://schemas.microsoft.com/office/drawing/2014/main" id="{6D15BF3E-6AF6-48B7-A831-21BB9B6199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79479" y="5373713"/>
            <a:ext cx="65116" cy="71378"/>
          </a:xfrm>
          <a:prstGeom prst="rect">
            <a:avLst/>
          </a:pr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3" name="Rectangle 1186">
            <a:extLst>
              <a:ext uri="{FF2B5EF4-FFF2-40B4-BE49-F238E27FC236}">
                <a16:creationId xmlns:a16="http://schemas.microsoft.com/office/drawing/2014/main" id="{FAEC209E-E773-4470-9C8C-07ACB52508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88244" y="5379974"/>
            <a:ext cx="11270" cy="1127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4" name="Rectangle 1187">
            <a:extLst>
              <a:ext uri="{FF2B5EF4-FFF2-40B4-BE49-F238E27FC236}">
                <a16:creationId xmlns:a16="http://schemas.microsoft.com/office/drawing/2014/main" id="{B6E8F9BF-B1A5-4357-A672-5FA7B67F34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07028" y="5379974"/>
            <a:ext cx="10018" cy="1127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5" name="Rectangle 1188">
            <a:extLst>
              <a:ext uri="{FF2B5EF4-FFF2-40B4-BE49-F238E27FC236}">
                <a16:creationId xmlns:a16="http://schemas.microsoft.com/office/drawing/2014/main" id="{C0729527-B477-4D14-BE18-8815C4AC07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24559" y="5379974"/>
            <a:ext cx="11270" cy="1127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6" name="Rectangle 1189">
            <a:extLst>
              <a:ext uri="{FF2B5EF4-FFF2-40B4-BE49-F238E27FC236}">
                <a16:creationId xmlns:a16="http://schemas.microsoft.com/office/drawing/2014/main" id="{60452AF9-EDAE-4727-8342-2D07070842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88244" y="5396253"/>
            <a:ext cx="11270" cy="1127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7" name="Rectangle 1190">
            <a:extLst>
              <a:ext uri="{FF2B5EF4-FFF2-40B4-BE49-F238E27FC236}">
                <a16:creationId xmlns:a16="http://schemas.microsoft.com/office/drawing/2014/main" id="{559D00AF-D601-4111-BEF6-15B5C949DE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07028" y="5396253"/>
            <a:ext cx="10018" cy="1127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8" name="Rectangle 1191">
            <a:extLst>
              <a:ext uri="{FF2B5EF4-FFF2-40B4-BE49-F238E27FC236}">
                <a16:creationId xmlns:a16="http://schemas.microsoft.com/office/drawing/2014/main" id="{29680F9D-F8C4-4C83-9C8C-E3396282A2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24559" y="5396253"/>
            <a:ext cx="11270" cy="1127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9" name="Rectangle 1192">
            <a:extLst>
              <a:ext uri="{FF2B5EF4-FFF2-40B4-BE49-F238E27FC236}">
                <a16:creationId xmlns:a16="http://schemas.microsoft.com/office/drawing/2014/main" id="{9288F2EF-02BA-42A3-981E-A1E32237ED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88244" y="5411280"/>
            <a:ext cx="11270" cy="1127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0" name="Rectangle 1193">
            <a:extLst>
              <a:ext uri="{FF2B5EF4-FFF2-40B4-BE49-F238E27FC236}">
                <a16:creationId xmlns:a16="http://schemas.microsoft.com/office/drawing/2014/main" id="{A09D605B-B936-4666-A56C-24E1B809D3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07028" y="5411280"/>
            <a:ext cx="10018" cy="1127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1" name="Rectangle 1194">
            <a:extLst>
              <a:ext uri="{FF2B5EF4-FFF2-40B4-BE49-F238E27FC236}">
                <a16:creationId xmlns:a16="http://schemas.microsoft.com/office/drawing/2014/main" id="{E2D73D70-FC0D-499A-A40D-EA23772D52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24559" y="5411280"/>
            <a:ext cx="11270" cy="1127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2" name="Rectangle 1195">
            <a:extLst>
              <a:ext uri="{FF2B5EF4-FFF2-40B4-BE49-F238E27FC236}">
                <a16:creationId xmlns:a16="http://schemas.microsoft.com/office/drawing/2014/main" id="{6AE5388A-50C4-4D82-A49B-BA7D913AC0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88244" y="5426307"/>
            <a:ext cx="11270" cy="1252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3" name="Rectangle 1196">
            <a:extLst>
              <a:ext uri="{FF2B5EF4-FFF2-40B4-BE49-F238E27FC236}">
                <a16:creationId xmlns:a16="http://schemas.microsoft.com/office/drawing/2014/main" id="{78811036-DEE3-432B-B8AF-6C07F1AEA7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07028" y="5426307"/>
            <a:ext cx="10018" cy="1252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4" name="Rectangle 1197">
            <a:extLst>
              <a:ext uri="{FF2B5EF4-FFF2-40B4-BE49-F238E27FC236}">
                <a16:creationId xmlns:a16="http://schemas.microsoft.com/office/drawing/2014/main" id="{178147DD-7316-4AED-B8AE-25FD7286A6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24559" y="5426307"/>
            <a:ext cx="11270" cy="1252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5" name="Rectangle 1198">
            <a:extLst>
              <a:ext uri="{FF2B5EF4-FFF2-40B4-BE49-F238E27FC236}">
                <a16:creationId xmlns:a16="http://schemas.microsoft.com/office/drawing/2014/main" id="{C41E6832-5850-4785-9E34-33326ACDCD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10074" y="5915930"/>
            <a:ext cx="518425" cy="206619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6" name="Rectangle 1199">
            <a:extLst>
              <a:ext uri="{FF2B5EF4-FFF2-40B4-BE49-F238E27FC236}">
                <a16:creationId xmlns:a16="http://schemas.microsoft.com/office/drawing/2014/main" id="{B6A091D3-F1DE-4364-918F-8DEA2844A5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10074" y="5915930"/>
            <a:ext cx="518425" cy="27549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7" name="Rectangle 1200">
            <a:extLst>
              <a:ext uri="{FF2B5EF4-FFF2-40B4-BE49-F238E27FC236}">
                <a16:creationId xmlns:a16="http://schemas.microsoft.com/office/drawing/2014/main" id="{24DFDEE4-86FF-420F-B625-2BF9272197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10074" y="5771923"/>
            <a:ext cx="518425" cy="14400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8" name="Freeform 1201">
            <a:extLst>
              <a:ext uri="{FF2B5EF4-FFF2-40B4-BE49-F238E27FC236}">
                <a16:creationId xmlns:a16="http://schemas.microsoft.com/office/drawing/2014/main" id="{717F744C-FC34-48F5-8302-07ECFE7885D1}"/>
              </a:ext>
            </a:extLst>
          </p:cNvPr>
          <p:cNvSpPr>
            <a:spLocks/>
          </p:cNvSpPr>
          <p:nvPr/>
        </p:nvSpPr>
        <p:spPr bwMode="auto">
          <a:xfrm>
            <a:off x="9030110" y="5788202"/>
            <a:ext cx="22540" cy="111449"/>
          </a:xfrm>
          <a:custGeom>
            <a:avLst/>
            <a:gdLst>
              <a:gd name="T0" fmla="*/ 42 w 42"/>
              <a:gd name="T1" fmla="*/ 194 h 215"/>
              <a:gd name="T2" fmla="*/ 21 w 42"/>
              <a:gd name="T3" fmla="*/ 215 h 215"/>
              <a:gd name="T4" fmla="*/ 0 w 42"/>
              <a:gd name="T5" fmla="*/ 194 h 215"/>
              <a:gd name="T6" fmla="*/ 0 w 42"/>
              <a:gd name="T7" fmla="*/ 22 h 215"/>
              <a:gd name="T8" fmla="*/ 21 w 42"/>
              <a:gd name="T9" fmla="*/ 0 h 215"/>
              <a:gd name="T10" fmla="*/ 42 w 42"/>
              <a:gd name="T11" fmla="*/ 22 h 215"/>
              <a:gd name="T12" fmla="*/ 42 w 42"/>
              <a:gd name="T13" fmla="*/ 194 h 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2" h="215">
                <a:moveTo>
                  <a:pt x="42" y="194"/>
                </a:moveTo>
                <a:cubicBezTo>
                  <a:pt x="42" y="205"/>
                  <a:pt x="33" y="215"/>
                  <a:pt x="21" y="215"/>
                </a:cubicBezTo>
                <a:cubicBezTo>
                  <a:pt x="9" y="215"/>
                  <a:pt x="0" y="205"/>
                  <a:pt x="0" y="194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9" y="0"/>
                  <a:pt x="21" y="0"/>
                </a:cubicBezTo>
                <a:cubicBezTo>
                  <a:pt x="33" y="0"/>
                  <a:pt x="42" y="10"/>
                  <a:pt x="42" y="22"/>
                </a:cubicBezTo>
                <a:lnTo>
                  <a:pt x="42" y="194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9" name="Freeform 1202">
            <a:extLst>
              <a:ext uri="{FF2B5EF4-FFF2-40B4-BE49-F238E27FC236}">
                <a16:creationId xmlns:a16="http://schemas.microsoft.com/office/drawing/2014/main" id="{6456F07A-1BD1-4F18-AF06-1253F366A5C6}"/>
              </a:ext>
            </a:extLst>
          </p:cNvPr>
          <p:cNvSpPr>
            <a:spLocks/>
          </p:cNvSpPr>
          <p:nvPr/>
        </p:nvSpPr>
        <p:spPr bwMode="auto">
          <a:xfrm>
            <a:off x="9037623" y="5799472"/>
            <a:ext cx="7513" cy="86405"/>
          </a:xfrm>
          <a:custGeom>
            <a:avLst/>
            <a:gdLst>
              <a:gd name="T0" fmla="*/ 13 w 13"/>
              <a:gd name="T1" fmla="*/ 160 h 166"/>
              <a:gd name="T2" fmla="*/ 7 w 13"/>
              <a:gd name="T3" fmla="*/ 166 h 166"/>
              <a:gd name="T4" fmla="*/ 0 w 13"/>
              <a:gd name="T5" fmla="*/ 160 h 166"/>
              <a:gd name="T6" fmla="*/ 0 w 13"/>
              <a:gd name="T7" fmla="*/ 7 h 166"/>
              <a:gd name="T8" fmla="*/ 7 w 13"/>
              <a:gd name="T9" fmla="*/ 0 h 166"/>
              <a:gd name="T10" fmla="*/ 13 w 13"/>
              <a:gd name="T11" fmla="*/ 7 h 166"/>
              <a:gd name="T12" fmla="*/ 13 w 13"/>
              <a:gd name="T13" fmla="*/ 160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166">
                <a:moveTo>
                  <a:pt x="13" y="160"/>
                </a:moveTo>
                <a:cubicBezTo>
                  <a:pt x="13" y="163"/>
                  <a:pt x="11" y="166"/>
                  <a:pt x="7" y="166"/>
                </a:cubicBezTo>
                <a:cubicBezTo>
                  <a:pt x="3" y="166"/>
                  <a:pt x="0" y="163"/>
                  <a:pt x="0" y="160"/>
                </a:cubicBezTo>
                <a:cubicBezTo>
                  <a:pt x="0" y="7"/>
                  <a:pt x="0" y="7"/>
                  <a:pt x="0" y="7"/>
                </a:cubicBezTo>
                <a:cubicBezTo>
                  <a:pt x="0" y="3"/>
                  <a:pt x="3" y="0"/>
                  <a:pt x="7" y="0"/>
                </a:cubicBezTo>
                <a:cubicBezTo>
                  <a:pt x="11" y="0"/>
                  <a:pt x="13" y="3"/>
                  <a:pt x="13" y="7"/>
                </a:cubicBezTo>
                <a:lnTo>
                  <a:pt x="13" y="160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0" name="Freeform 1203">
            <a:extLst>
              <a:ext uri="{FF2B5EF4-FFF2-40B4-BE49-F238E27FC236}">
                <a16:creationId xmlns:a16="http://schemas.microsoft.com/office/drawing/2014/main" id="{DE9D65C3-6D41-43E6-917F-235CE3CE7C45}"/>
              </a:ext>
            </a:extLst>
          </p:cNvPr>
          <p:cNvSpPr>
            <a:spLocks/>
          </p:cNvSpPr>
          <p:nvPr/>
        </p:nvSpPr>
        <p:spPr bwMode="auto">
          <a:xfrm>
            <a:off x="9037623" y="5833282"/>
            <a:ext cx="7513" cy="52594"/>
          </a:xfrm>
          <a:custGeom>
            <a:avLst/>
            <a:gdLst>
              <a:gd name="T0" fmla="*/ 13 w 13"/>
              <a:gd name="T1" fmla="*/ 96 h 102"/>
              <a:gd name="T2" fmla="*/ 7 w 13"/>
              <a:gd name="T3" fmla="*/ 102 h 102"/>
              <a:gd name="T4" fmla="*/ 0 w 13"/>
              <a:gd name="T5" fmla="*/ 96 h 102"/>
              <a:gd name="T6" fmla="*/ 0 w 13"/>
              <a:gd name="T7" fmla="*/ 7 h 102"/>
              <a:gd name="T8" fmla="*/ 7 w 13"/>
              <a:gd name="T9" fmla="*/ 0 h 102"/>
              <a:gd name="T10" fmla="*/ 13 w 13"/>
              <a:gd name="T11" fmla="*/ 7 h 102"/>
              <a:gd name="T12" fmla="*/ 13 w 13"/>
              <a:gd name="T13" fmla="*/ 96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102">
                <a:moveTo>
                  <a:pt x="13" y="96"/>
                </a:moveTo>
                <a:cubicBezTo>
                  <a:pt x="13" y="99"/>
                  <a:pt x="11" y="102"/>
                  <a:pt x="7" y="102"/>
                </a:cubicBezTo>
                <a:cubicBezTo>
                  <a:pt x="3" y="102"/>
                  <a:pt x="0" y="99"/>
                  <a:pt x="0" y="96"/>
                </a:cubicBezTo>
                <a:cubicBezTo>
                  <a:pt x="0" y="7"/>
                  <a:pt x="0" y="7"/>
                  <a:pt x="0" y="7"/>
                </a:cubicBezTo>
                <a:cubicBezTo>
                  <a:pt x="0" y="3"/>
                  <a:pt x="3" y="0"/>
                  <a:pt x="7" y="0"/>
                </a:cubicBezTo>
                <a:cubicBezTo>
                  <a:pt x="11" y="0"/>
                  <a:pt x="13" y="3"/>
                  <a:pt x="13" y="7"/>
                </a:cubicBezTo>
                <a:lnTo>
                  <a:pt x="13" y="96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1" name="Oval 1204">
            <a:extLst>
              <a:ext uri="{FF2B5EF4-FFF2-40B4-BE49-F238E27FC236}">
                <a16:creationId xmlns:a16="http://schemas.microsoft.com/office/drawing/2014/main" id="{CE518F29-F6E8-424B-8A9C-9090B9779C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35118" y="5879615"/>
            <a:ext cx="12522" cy="13775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2" name="Freeform 1205">
            <a:extLst>
              <a:ext uri="{FF2B5EF4-FFF2-40B4-BE49-F238E27FC236}">
                <a16:creationId xmlns:a16="http://schemas.microsoft.com/office/drawing/2014/main" id="{D22ADC31-C9D3-407D-B2FB-30B7398EF533}"/>
              </a:ext>
            </a:extLst>
          </p:cNvPr>
          <p:cNvSpPr>
            <a:spLocks/>
          </p:cNvSpPr>
          <p:nvPr/>
        </p:nvSpPr>
        <p:spPr bwMode="auto">
          <a:xfrm>
            <a:off x="9067677" y="5788202"/>
            <a:ext cx="22540" cy="111449"/>
          </a:xfrm>
          <a:custGeom>
            <a:avLst/>
            <a:gdLst>
              <a:gd name="T0" fmla="*/ 42 w 42"/>
              <a:gd name="T1" fmla="*/ 194 h 215"/>
              <a:gd name="T2" fmla="*/ 21 w 42"/>
              <a:gd name="T3" fmla="*/ 215 h 215"/>
              <a:gd name="T4" fmla="*/ 0 w 42"/>
              <a:gd name="T5" fmla="*/ 194 h 215"/>
              <a:gd name="T6" fmla="*/ 0 w 42"/>
              <a:gd name="T7" fmla="*/ 22 h 215"/>
              <a:gd name="T8" fmla="*/ 21 w 42"/>
              <a:gd name="T9" fmla="*/ 0 h 215"/>
              <a:gd name="T10" fmla="*/ 42 w 42"/>
              <a:gd name="T11" fmla="*/ 22 h 215"/>
              <a:gd name="T12" fmla="*/ 42 w 42"/>
              <a:gd name="T13" fmla="*/ 194 h 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2" h="215">
                <a:moveTo>
                  <a:pt x="42" y="194"/>
                </a:moveTo>
                <a:cubicBezTo>
                  <a:pt x="42" y="205"/>
                  <a:pt x="33" y="215"/>
                  <a:pt x="21" y="215"/>
                </a:cubicBezTo>
                <a:cubicBezTo>
                  <a:pt x="9" y="215"/>
                  <a:pt x="0" y="205"/>
                  <a:pt x="0" y="194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9" y="0"/>
                  <a:pt x="21" y="0"/>
                </a:cubicBezTo>
                <a:cubicBezTo>
                  <a:pt x="33" y="0"/>
                  <a:pt x="42" y="10"/>
                  <a:pt x="42" y="22"/>
                </a:cubicBezTo>
                <a:lnTo>
                  <a:pt x="42" y="194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3" name="Freeform 1206">
            <a:extLst>
              <a:ext uri="{FF2B5EF4-FFF2-40B4-BE49-F238E27FC236}">
                <a16:creationId xmlns:a16="http://schemas.microsoft.com/office/drawing/2014/main" id="{2B951FE8-E51A-4490-96CA-012433465348}"/>
              </a:ext>
            </a:extLst>
          </p:cNvPr>
          <p:cNvSpPr>
            <a:spLocks/>
          </p:cNvSpPr>
          <p:nvPr/>
        </p:nvSpPr>
        <p:spPr bwMode="auto">
          <a:xfrm>
            <a:off x="9075190" y="5799472"/>
            <a:ext cx="6262" cy="86405"/>
          </a:xfrm>
          <a:custGeom>
            <a:avLst/>
            <a:gdLst>
              <a:gd name="T0" fmla="*/ 13 w 13"/>
              <a:gd name="T1" fmla="*/ 160 h 166"/>
              <a:gd name="T2" fmla="*/ 7 w 13"/>
              <a:gd name="T3" fmla="*/ 166 h 166"/>
              <a:gd name="T4" fmla="*/ 0 w 13"/>
              <a:gd name="T5" fmla="*/ 160 h 166"/>
              <a:gd name="T6" fmla="*/ 0 w 13"/>
              <a:gd name="T7" fmla="*/ 7 h 166"/>
              <a:gd name="T8" fmla="*/ 7 w 13"/>
              <a:gd name="T9" fmla="*/ 0 h 166"/>
              <a:gd name="T10" fmla="*/ 13 w 13"/>
              <a:gd name="T11" fmla="*/ 7 h 166"/>
              <a:gd name="T12" fmla="*/ 13 w 13"/>
              <a:gd name="T13" fmla="*/ 160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166">
                <a:moveTo>
                  <a:pt x="13" y="160"/>
                </a:moveTo>
                <a:cubicBezTo>
                  <a:pt x="13" y="163"/>
                  <a:pt x="10" y="166"/>
                  <a:pt x="7" y="166"/>
                </a:cubicBezTo>
                <a:cubicBezTo>
                  <a:pt x="3" y="166"/>
                  <a:pt x="0" y="163"/>
                  <a:pt x="0" y="160"/>
                </a:cubicBezTo>
                <a:cubicBezTo>
                  <a:pt x="0" y="7"/>
                  <a:pt x="0" y="7"/>
                  <a:pt x="0" y="7"/>
                </a:cubicBezTo>
                <a:cubicBezTo>
                  <a:pt x="0" y="3"/>
                  <a:pt x="3" y="0"/>
                  <a:pt x="7" y="0"/>
                </a:cubicBezTo>
                <a:cubicBezTo>
                  <a:pt x="10" y="0"/>
                  <a:pt x="13" y="3"/>
                  <a:pt x="13" y="7"/>
                </a:cubicBezTo>
                <a:lnTo>
                  <a:pt x="13" y="160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4" name="Freeform 1207">
            <a:extLst>
              <a:ext uri="{FF2B5EF4-FFF2-40B4-BE49-F238E27FC236}">
                <a16:creationId xmlns:a16="http://schemas.microsoft.com/office/drawing/2014/main" id="{9D8E02D1-0233-4A30-85B1-04B59214FA3A}"/>
              </a:ext>
            </a:extLst>
          </p:cNvPr>
          <p:cNvSpPr>
            <a:spLocks/>
          </p:cNvSpPr>
          <p:nvPr/>
        </p:nvSpPr>
        <p:spPr bwMode="auto">
          <a:xfrm>
            <a:off x="9075190" y="5852066"/>
            <a:ext cx="6262" cy="33811"/>
          </a:xfrm>
          <a:custGeom>
            <a:avLst/>
            <a:gdLst>
              <a:gd name="T0" fmla="*/ 13 w 13"/>
              <a:gd name="T1" fmla="*/ 60 h 66"/>
              <a:gd name="T2" fmla="*/ 7 w 13"/>
              <a:gd name="T3" fmla="*/ 66 h 66"/>
              <a:gd name="T4" fmla="*/ 0 w 13"/>
              <a:gd name="T5" fmla="*/ 60 h 66"/>
              <a:gd name="T6" fmla="*/ 0 w 13"/>
              <a:gd name="T7" fmla="*/ 6 h 66"/>
              <a:gd name="T8" fmla="*/ 7 w 13"/>
              <a:gd name="T9" fmla="*/ 0 h 66"/>
              <a:gd name="T10" fmla="*/ 13 w 13"/>
              <a:gd name="T11" fmla="*/ 6 h 66"/>
              <a:gd name="T12" fmla="*/ 13 w 13"/>
              <a:gd name="T13" fmla="*/ 60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66">
                <a:moveTo>
                  <a:pt x="13" y="60"/>
                </a:moveTo>
                <a:cubicBezTo>
                  <a:pt x="13" y="63"/>
                  <a:pt x="10" y="66"/>
                  <a:pt x="7" y="66"/>
                </a:cubicBezTo>
                <a:cubicBezTo>
                  <a:pt x="3" y="66"/>
                  <a:pt x="0" y="63"/>
                  <a:pt x="0" y="60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7" y="0"/>
                </a:cubicBezTo>
                <a:cubicBezTo>
                  <a:pt x="10" y="0"/>
                  <a:pt x="13" y="3"/>
                  <a:pt x="13" y="6"/>
                </a:cubicBezTo>
                <a:lnTo>
                  <a:pt x="13" y="6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5" name="Oval 1208">
            <a:extLst>
              <a:ext uri="{FF2B5EF4-FFF2-40B4-BE49-F238E27FC236}">
                <a16:creationId xmlns:a16="http://schemas.microsoft.com/office/drawing/2014/main" id="{7EF86F8C-64F7-40A9-A34B-F48DE5755A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72685" y="5879615"/>
            <a:ext cx="12522" cy="13775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6" name="Rectangle 1209">
            <a:extLst>
              <a:ext uri="{FF2B5EF4-FFF2-40B4-BE49-F238E27FC236}">
                <a16:creationId xmlns:a16="http://schemas.microsoft.com/office/drawing/2014/main" id="{FBFE0EF6-BF43-495F-96B2-22F1C0FC22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07748" y="5844553"/>
            <a:ext cx="22540" cy="57603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7" name="Rectangle 1210">
            <a:extLst>
              <a:ext uri="{FF2B5EF4-FFF2-40B4-BE49-F238E27FC236}">
                <a16:creationId xmlns:a16="http://schemas.microsoft.com/office/drawing/2014/main" id="{4E181362-E5F4-47BB-899B-08D19CF44B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15261" y="5848309"/>
            <a:ext cx="7513" cy="5008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8" name="Rectangle 1211">
            <a:extLst>
              <a:ext uri="{FF2B5EF4-FFF2-40B4-BE49-F238E27FC236}">
                <a16:creationId xmlns:a16="http://schemas.microsoft.com/office/drawing/2014/main" id="{FFE813EF-E6DF-41DC-B530-9488C777EC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17766" y="5850814"/>
            <a:ext cx="2504" cy="45080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9" name="Freeform 1212">
            <a:extLst>
              <a:ext uri="{FF2B5EF4-FFF2-40B4-BE49-F238E27FC236}">
                <a16:creationId xmlns:a16="http://schemas.microsoft.com/office/drawing/2014/main" id="{C36266AC-F0A7-4C5F-96DF-95DBE13A2CE7}"/>
              </a:ext>
            </a:extLst>
          </p:cNvPr>
          <p:cNvSpPr>
            <a:spLocks/>
          </p:cNvSpPr>
          <p:nvPr/>
        </p:nvSpPr>
        <p:spPr bwMode="auto">
          <a:xfrm>
            <a:off x="9110252" y="5872102"/>
            <a:ext cx="17531" cy="2504"/>
          </a:xfrm>
          <a:custGeom>
            <a:avLst/>
            <a:gdLst>
              <a:gd name="T0" fmla="*/ 3 w 35"/>
              <a:gd name="T1" fmla="*/ 7 h 7"/>
              <a:gd name="T2" fmla="*/ 0 w 35"/>
              <a:gd name="T3" fmla="*/ 3 h 7"/>
              <a:gd name="T4" fmla="*/ 3 w 35"/>
              <a:gd name="T5" fmla="*/ 0 h 7"/>
              <a:gd name="T6" fmla="*/ 31 w 35"/>
              <a:gd name="T7" fmla="*/ 0 h 7"/>
              <a:gd name="T8" fmla="*/ 35 w 35"/>
              <a:gd name="T9" fmla="*/ 3 h 7"/>
              <a:gd name="T10" fmla="*/ 31 w 35"/>
              <a:gd name="T11" fmla="*/ 7 h 7"/>
              <a:gd name="T12" fmla="*/ 3 w 35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5" h="7">
                <a:moveTo>
                  <a:pt x="3" y="7"/>
                </a:moveTo>
                <a:cubicBezTo>
                  <a:pt x="1" y="7"/>
                  <a:pt x="0" y="5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3" y="0"/>
                  <a:pt x="35" y="1"/>
                  <a:pt x="35" y="3"/>
                </a:cubicBezTo>
                <a:cubicBezTo>
                  <a:pt x="35" y="5"/>
                  <a:pt x="33" y="7"/>
                  <a:pt x="31" y="7"/>
                </a:cubicBezTo>
                <a:lnTo>
                  <a:pt x="3" y="7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0" name="Rectangle 1213">
            <a:extLst>
              <a:ext uri="{FF2B5EF4-FFF2-40B4-BE49-F238E27FC236}">
                <a16:creationId xmlns:a16="http://schemas.microsoft.com/office/drawing/2014/main" id="{57A69E6A-060E-4FAF-8540-41538CCDBD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32793" y="5844553"/>
            <a:ext cx="22540" cy="57603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1" name="Rectangle 1214">
            <a:extLst>
              <a:ext uri="{FF2B5EF4-FFF2-40B4-BE49-F238E27FC236}">
                <a16:creationId xmlns:a16="http://schemas.microsoft.com/office/drawing/2014/main" id="{642B207C-B112-4C1C-AF2D-C1C5EEC610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0306" y="5848309"/>
            <a:ext cx="6262" cy="5008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2" name="Rectangle 1215">
            <a:extLst>
              <a:ext uri="{FF2B5EF4-FFF2-40B4-BE49-F238E27FC236}">
                <a16:creationId xmlns:a16="http://schemas.microsoft.com/office/drawing/2014/main" id="{60E47FC9-E565-4F03-AFED-A43A053E50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2811" y="5850814"/>
            <a:ext cx="2504" cy="45080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3" name="Freeform 1216">
            <a:extLst>
              <a:ext uri="{FF2B5EF4-FFF2-40B4-BE49-F238E27FC236}">
                <a16:creationId xmlns:a16="http://schemas.microsoft.com/office/drawing/2014/main" id="{CDE5C10B-A401-44AD-9AB5-C92F3F6D7DEA}"/>
              </a:ext>
            </a:extLst>
          </p:cNvPr>
          <p:cNvSpPr>
            <a:spLocks/>
          </p:cNvSpPr>
          <p:nvPr/>
        </p:nvSpPr>
        <p:spPr bwMode="auto">
          <a:xfrm>
            <a:off x="9134045" y="5884624"/>
            <a:ext cx="18784" cy="2504"/>
          </a:xfrm>
          <a:custGeom>
            <a:avLst/>
            <a:gdLst>
              <a:gd name="T0" fmla="*/ 3 w 35"/>
              <a:gd name="T1" fmla="*/ 7 h 7"/>
              <a:gd name="T2" fmla="*/ 0 w 35"/>
              <a:gd name="T3" fmla="*/ 3 h 7"/>
              <a:gd name="T4" fmla="*/ 3 w 35"/>
              <a:gd name="T5" fmla="*/ 0 h 7"/>
              <a:gd name="T6" fmla="*/ 32 w 35"/>
              <a:gd name="T7" fmla="*/ 0 h 7"/>
              <a:gd name="T8" fmla="*/ 35 w 35"/>
              <a:gd name="T9" fmla="*/ 3 h 7"/>
              <a:gd name="T10" fmla="*/ 32 w 35"/>
              <a:gd name="T11" fmla="*/ 7 h 7"/>
              <a:gd name="T12" fmla="*/ 3 w 35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5" h="7">
                <a:moveTo>
                  <a:pt x="3" y="7"/>
                </a:moveTo>
                <a:cubicBezTo>
                  <a:pt x="1" y="7"/>
                  <a:pt x="0" y="5"/>
                  <a:pt x="0" y="3"/>
                </a:cubicBezTo>
                <a:cubicBezTo>
                  <a:pt x="0" y="2"/>
                  <a:pt x="1" y="0"/>
                  <a:pt x="3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4" y="0"/>
                  <a:pt x="35" y="2"/>
                  <a:pt x="35" y="3"/>
                </a:cubicBezTo>
                <a:cubicBezTo>
                  <a:pt x="35" y="5"/>
                  <a:pt x="34" y="7"/>
                  <a:pt x="32" y="7"/>
                </a:cubicBezTo>
                <a:lnTo>
                  <a:pt x="3" y="7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4" name="Rectangle 1217">
            <a:extLst>
              <a:ext uri="{FF2B5EF4-FFF2-40B4-BE49-F238E27FC236}">
                <a16:creationId xmlns:a16="http://schemas.microsoft.com/office/drawing/2014/main" id="{18ADBDA9-6B9E-4D1D-BAB0-4EB65918DD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6585" y="5844553"/>
            <a:ext cx="22540" cy="57603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5" name="Rectangle 1218">
            <a:extLst>
              <a:ext uri="{FF2B5EF4-FFF2-40B4-BE49-F238E27FC236}">
                <a16:creationId xmlns:a16="http://schemas.microsoft.com/office/drawing/2014/main" id="{5E5237C6-F10D-4C60-800B-F73CA44EC1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64098" y="5848309"/>
            <a:ext cx="7513" cy="5008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6" name="Rectangle 1219">
            <a:extLst>
              <a:ext uri="{FF2B5EF4-FFF2-40B4-BE49-F238E27FC236}">
                <a16:creationId xmlns:a16="http://schemas.microsoft.com/office/drawing/2014/main" id="{D6565DF7-A1A1-4ED6-935A-FC45CCC014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66603" y="5850814"/>
            <a:ext cx="2504" cy="45080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Freeform 1220">
            <a:extLst>
              <a:ext uri="{FF2B5EF4-FFF2-40B4-BE49-F238E27FC236}">
                <a16:creationId xmlns:a16="http://schemas.microsoft.com/office/drawing/2014/main" id="{DFF5ED11-9732-40D9-94BB-E9631A225B07}"/>
              </a:ext>
            </a:extLst>
          </p:cNvPr>
          <p:cNvSpPr>
            <a:spLocks/>
          </p:cNvSpPr>
          <p:nvPr/>
        </p:nvSpPr>
        <p:spPr bwMode="auto">
          <a:xfrm>
            <a:off x="9159089" y="5855823"/>
            <a:ext cx="17531" cy="3757"/>
          </a:xfrm>
          <a:custGeom>
            <a:avLst/>
            <a:gdLst>
              <a:gd name="T0" fmla="*/ 4 w 35"/>
              <a:gd name="T1" fmla="*/ 7 h 7"/>
              <a:gd name="T2" fmla="*/ 0 w 35"/>
              <a:gd name="T3" fmla="*/ 4 h 7"/>
              <a:gd name="T4" fmla="*/ 4 w 35"/>
              <a:gd name="T5" fmla="*/ 0 h 7"/>
              <a:gd name="T6" fmla="*/ 32 w 35"/>
              <a:gd name="T7" fmla="*/ 0 h 7"/>
              <a:gd name="T8" fmla="*/ 35 w 35"/>
              <a:gd name="T9" fmla="*/ 4 h 7"/>
              <a:gd name="T10" fmla="*/ 32 w 35"/>
              <a:gd name="T11" fmla="*/ 7 h 7"/>
              <a:gd name="T12" fmla="*/ 4 w 35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5" h="7">
                <a:moveTo>
                  <a:pt x="4" y="7"/>
                </a:moveTo>
                <a:cubicBezTo>
                  <a:pt x="2" y="7"/>
                  <a:pt x="0" y="6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4" y="0"/>
                  <a:pt x="35" y="2"/>
                  <a:pt x="35" y="4"/>
                </a:cubicBezTo>
                <a:cubicBezTo>
                  <a:pt x="35" y="6"/>
                  <a:pt x="34" y="7"/>
                  <a:pt x="32" y="7"/>
                </a:cubicBezTo>
                <a:lnTo>
                  <a:pt x="4" y="7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8" name="Rectangle 1221">
            <a:extLst>
              <a:ext uri="{FF2B5EF4-FFF2-40B4-BE49-F238E27FC236}">
                <a16:creationId xmlns:a16="http://schemas.microsoft.com/office/drawing/2014/main" id="{64E0C894-AF1D-4847-95F4-53CC2FB261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1629" y="5844553"/>
            <a:ext cx="22540" cy="57603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Rectangle 1222">
            <a:extLst>
              <a:ext uri="{FF2B5EF4-FFF2-40B4-BE49-F238E27FC236}">
                <a16:creationId xmlns:a16="http://schemas.microsoft.com/office/drawing/2014/main" id="{0727334D-8000-4A97-A2DA-C8BEF0FBD6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9143" y="5848309"/>
            <a:ext cx="7513" cy="5008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0" name="Rectangle 1223">
            <a:extLst>
              <a:ext uri="{FF2B5EF4-FFF2-40B4-BE49-F238E27FC236}">
                <a16:creationId xmlns:a16="http://schemas.microsoft.com/office/drawing/2014/main" id="{176B9F72-FC40-466C-A158-34D256697C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91647" y="5850814"/>
            <a:ext cx="2504" cy="45080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1" name="Freeform 1224">
            <a:extLst>
              <a:ext uri="{FF2B5EF4-FFF2-40B4-BE49-F238E27FC236}">
                <a16:creationId xmlns:a16="http://schemas.microsoft.com/office/drawing/2014/main" id="{405AC38D-42E5-4241-B56F-1E07A3619A01}"/>
              </a:ext>
            </a:extLst>
          </p:cNvPr>
          <p:cNvSpPr>
            <a:spLocks/>
          </p:cNvSpPr>
          <p:nvPr/>
        </p:nvSpPr>
        <p:spPr bwMode="auto">
          <a:xfrm>
            <a:off x="9182882" y="5865840"/>
            <a:ext cx="18784" cy="2504"/>
          </a:xfrm>
          <a:custGeom>
            <a:avLst/>
            <a:gdLst>
              <a:gd name="T0" fmla="*/ 4 w 36"/>
              <a:gd name="T1" fmla="*/ 7 h 7"/>
              <a:gd name="T2" fmla="*/ 0 w 36"/>
              <a:gd name="T3" fmla="*/ 3 h 7"/>
              <a:gd name="T4" fmla="*/ 4 w 36"/>
              <a:gd name="T5" fmla="*/ 0 h 7"/>
              <a:gd name="T6" fmla="*/ 32 w 36"/>
              <a:gd name="T7" fmla="*/ 0 h 7"/>
              <a:gd name="T8" fmla="*/ 36 w 36"/>
              <a:gd name="T9" fmla="*/ 3 h 7"/>
              <a:gd name="T10" fmla="*/ 32 w 36"/>
              <a:gd name="T11" fmla="*/ 7 h 7"/>
              <a:gd name="T12" fmla="*/ 4 w 36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6" h="7">
                <a:moveTo>
                  <a:pt x="4" y="7"/>
                </a:moveTo>
                <a:cubicBezTo>
                  <a:pt x="2" y="7"/>
                  <a:pt x="0" y="5"/>
                  <a:pt x="0" y="3"/>
                </a:cubicBezTo>
                <a:cubicBezTo>
                  <a:pt x="0" y="2"/>
                  <a:pt x="2" y="0"/>
                  <a:pt x="4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4" y="0"/>
                  <a:pt x="36" y="2"/>
                  <a:pt x="36" y="3"/>
                </a:cubicBezTo>
                <a:cubicBezTo>
                  <a:pt x="36" y="5"/>
                  <a:pt x="34" y="7"/>
                  <a:pt x="32" y="7"/>
                </a:cubicBezTo>
                <a:lnTo>
                  <a:pt x="4" y="7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" name="Rectangle 1225">
            <a:extLst>
              <a:ext uri="{FF2B5EF4-FFF2-40B4-BE49-F238E27FC236}">
                <a16:creationId xmlns:a16="http://schemas.microsoft.com/office/drawing/2014/main" id="{0D10C46B-F7F2-4CA3-987A-25CFA17DA9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06674" y="5844553"/>
            <a:ext cx="21288" cy="57603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3" name="Rectangle 1226">
            <a:extLst>
              <a:ext uri="{FF2B5EF4-FFF2-40B4-BE49-F238E27FC236}">
                <a16:creationId xmlns:a16="http://schemas.microsoft.com/office/drawing/2014/main" id="{2CD2081D-60E0-495D-984C-22DB325EAC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12936" y="5848309"/>
            <a:ext cx="7513" cy="5008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4" name="Rectangle 1227">
            <a:extLst>
              <a:ext uri="{FF2B5EF4-FFF2-40B4-BE49-F238E27FC236}">
                <a16:creationId xmlns:a16="http://schemas.microsoft.com/office/drawing/2014/main" id="{CDA0CF20-CE7E-4F5D-8BAA-76D4F98D20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16692" y="5850814"/>
            <a:ext cx="2504" cy="45080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5" name="Freeform 1228">
            <a:extLst>
              <a:ext uri="{FF2B5EF4-FFF2-40B4-BE49-F238E27FC236}">
                <a16:creationId xmlns:a16="http://schemas.microsoft.com/office/drawing/2014/main" id="{A17824E4-D6E4-41BD-8DA3-4662AF33C740}"/>
              </a:ext>
            </a:extLst>
          </p:cNvPr>
          <p:cNvSpPr>
            <a:spLocks/>
          </p:cNvSpPr>
          <p:nvPr/>
        </p:nvSpPr>
        <p:spPr bwMode="auto">
          <a:xfrm>
            <a:off x="9207927" y="5889633"/>
            <a:ext cx="18784" cy="3757"/>
          </a:xfrm>
          <a:custGeom>
            <a:avLst/>
            <a:gdLst>
              <a:gd name="T0" fmla="*/ 3 w 35"/>
              <a:gd name="T1" fmla="*/ 7 h 7"/>
              <a:gd name="T2" fmla="*/ 0 w 35"/>
              <a:gd name="T3" fmla="*/ 4 h 7"/>
              <a:gd name="T4" fmla="*/ 3 w 35"/>
              <a:gd name="T5" fmla="*/ 0 h 7"/>
              <a:gd name="T6" fmla="*/ 31 w 35"/>
              <a:gd name="T7" fmla="*/ 0 h 7"/>
              <a:gd name="T8" fmla="*/ 35 w 35"/>
              <a:gd name="T9" fmla="*/ 4 h 7"/>
              <a:gd name="T10" fmla="*/ 31 w 35"/>
              <a:gd name="T11" fmla="*/ 7 h 7"/>
              <a:gd name="T12" fmla="*/ 3 w 35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5" h="7">
                <a:moveTo>
                  <a:pt x="3" y="7"/>
                </a:moveTo>
                <a:cubicBezTo>
                  <a:pt x="1" y="7"/>
                  <a:pt x="0" y="6"/>
                  <a:pt x="0" y="4"/>
                </a:cubicBezTo>
                <a:cubicBezTo>
                  <a:pt x="0" y="2"/>
                  <a:pt x="1" y="0"/>
                  <a:pt x="3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3" y="0"/>
                  <a:pt x="35" y="2"/>
                  <a:pt x="35" y="4"/>
                </a:cubicBezTo>
                <a:cubicBezTo>
                  <a:pt x="35" y="6"/>
                  <a:pt x="33" y="7"/>
                  <a:pt x="31" y="7"/>
                </a:cubicBezTo>
                <a:lnTo>
                  <a:pt x="3" y="7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6" name="Rectangle 1229">
            <a:extLst>
              <a:ext uri="{FF2B5EF4-FFF2-40B4-BE49-F238E27FC236}">
                <a16:creationId xmlns:a16="http://schemas.microsoft.com/office/drawing/2014/main" id="{437EC60B-A0A0-412C-B8B1-71F35D9793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07748" y="5788202"/>
            <a:ext cx="120214" cy="50089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7" name="Rectangle 1230">
            <a:extLst>
              <a:ext uri="{FF2B5EF4-FFF2-40B4-BE49-F238E27FC236}">
                <a16:creationId xmlns:a16="http://schemas.microsoft.com/office/drawing/2014/main" id="{AC7FBBCE-6CF4-473F-A6D6-0AB2ACABDC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14009" y="5794463"/>
            <a:ext cx="107692" cy="37567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8" name="Rectangle 1231">
            <a:extLst>
              <a:ext uri="{FF2B5EF4-FFF2-40B4-BE49-F238E27FC236}">
                <a16:creationId xmlns:a16="http://schemas.microsoft.com/office/drawing/2014/main" id="{9B06F22E-B5B6-49FF-B2F7-767D4030F2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19018" y="5825769"/>
            <a:ext cx="33811" cy="2504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9" name="Rectangle 1232">
            <a:extLst>
              <a:ext uri="{FF2B5EF4-FFF2-40B4-BE49-F238E27FC236}">
                <a16:creationId xmlns:a16="http://schemas.microsoft.com/office/drawing/2014/main" id="{B598C7F4-5164-46B9-85A2-C8E51CAC2A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19018" y="5818256"/>
            <a:ext cx="81396" cy="3757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0" name="Rectangle 1233">
            <a:extLst>
              <a:ext uri="{FF2B5EF4-FFF2-40B4-BE49-F238E27FC236}">
                <a16:creationId xmlns:a16="http://schemas.microsoft.com/office/drawing/2014/main" id="{954A039D-F3AB-4D63-BEF5-6EADCDFB7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19018" y="5811995"/>
            <a:ext cx="58855" cy="2504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1" name="Rectangle 1234">
            <a:extLst>
              <a:ext uri="{FF2B5EF4-FFF2-40B4-BE49-F238E27FC236}">
                <a16:creationId xmlns:a16="http://schemas.microsoft.com/office/drawing/2014/main" id="{334989C4-1159-4674-8942-870C11CA6D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19018" y="5804481"/>
            <a:ext cx="43829" cy="3757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1236">
            <a:extLst>
              <a:ext uri="{FF2B5EF4-FFF2-40B4-BE49-F238E27FC236}">
                <a16:creationId xmlns:a16="http://schemas.microsoft.com/office/drawing/2014/main" id="{E6F9EEF5-09A2-41AD-9E2A-015C4186A1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19019" y="5798220"/>
            <a:ext cx="93918" cy="2504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" name="Rectangle 1237">
            <a:extLst>
              <a:ext uri="{FF2B5EF4-FFF2-40B4-BE49-F238E27FC236}">
                <a16:creationId xmlns:a16="http://schemas.microsoft.com/office/drawing/2014/main" id="{81FAED25-AE8C-481F-BFA5-172A8FAB0C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94510" y="5850814"/>
            <a:ext cx="108945" cy="5134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1238">
            <a:extLst>
              <a:ext uri="{FF2B5EF4-FFF2-40B4-BE49-F238E27FC236}">
                <a16:creationId xmlns:a16="http://schemas.microsoft.com/office/drawing/2014/main" id="{04FEA4BA-53BC-4A92-B6D9-0F8D84C40F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2023" y="5857074"/>
            <a:ext cx="95170" cy="38820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" name="Rectangle 1239">
            <a:extLst>
              <a:ext uri="{FF2B5EF4-FFF2-40B4-BE49-F238E27FC236}">
                <a16:creationId xmlns:a16="http://schemas.microsoft.com/office/drawing/2014/main" id="{B27157DA-6B3C-44B0-B74E-571855768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5780" y="5888381"/>
            <a:ext cx="30054" cy="3757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Rectangle 1240">
            <a:extLst>
              <a:ext uri="{FF2B5EF4-FFF2-40B4-BE49-F238E27FC236}">
                <a16:creationId xmlns:a16="http://schemas.microsoft.com/office/drawing/2014/main" id="{9C29B8F0-1A41-46DC-84A0-F7A4A81B0A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5780" y="5882119"/>
            <a:ext cx="48838" cy="2504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1241">
            <a:extLst>
              <a:ext uri="{FF2B5EF4-FFF2-40B4-BE49-F238E27FC236}">
                <a16:creationId xmlns:a16="http://schemas.microsoft.com/office/drawing/2014/main" id="{80E1EF98-8A06-49AE-BA16-2E60A1B196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5780" y="5874606"/>
            <a:ext cx="77638" cy="3757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Rectangle 1242">
            <a:extLst>
              <a:ext uri="{FF2B5EF4-FFF2-40B4-BE49-F238E27FC236}">
                <a16:creationId xmlns:a16="http://schemas.microsoft.com/office/drawing/2014/main" id="{9EC3E979-63D1-47E8-8377-258F6DEB23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5780" y="5868345"/>
            <a:ext cx="40071" cy="3757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Rectangle 1243">
            <a:extLst>
              <a:ext uri="{FF2B5EF4-FFF2-40B4-BE49-F238E27FC236}">
                <a16:creationId xmlns:a16="http://schemas.microsoft.com/office/drawing/2014/main" id="{1AAA0A86-1A71-46DC-95FC-FDFAAA30AD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5780" y="5862083"/>
            <a:ext cx="61360" cy="2504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" name="Rectangle 1244">
            <a:extLst>
              <a:ext uri="{FF2B5EF4-FFF2-40B4-BE49-F238E27FC236}">
                <a16:creationId xmlns:a16="http://schemas.microsoft.com/office/drawing/2014/main" id="{4B52EC52-8A4C-4B6D-8C58-A62A09CCA5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39233" y="5786949"/>
            <a:ext cx="12522" cy="12522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Rectangle 1245">
            <a:extLst>
              <a:ext uri="{FF2B5EF4-FFF2-40B4-BE49-F238E27FC236}">
                <a16:creationId xmlns:a16="http://schemas.microsoft.com/office/drawing/2014/main" id="{C0B39D64-EE11-4266-9A6E-BC930B1B8D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6764" y="5786949"/>
            <a:ext cx="12522" cy="12522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Rectangle 1246">
            <a:extLst>
              <a:ext uri="{FF2B5EF4-FFF2-40B4-BE49-F238E27FC236}">
                <a16:creationId xmlns:a16="http://schemas.microsoft.com/office/drawing/2014/main" id="{B9964E4C-7C3B-4913-AC03-7E44342681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75547" y="5786949"/>
            <a:ext cx="12522" cy="12522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" name="Rectangle 1247">
            <a:extLst>
              <a:ext uri="{FF2B5EF4-FFF2-40B4-BE49-F238E27FC236}">
                <a16:creationId xmlns:a16="http://schemas.microsoft.com/office/drawing/2014/main" id="{E86DA52E-80B6-4757-983C-85BEAEBAE0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94331" y="5786949"/>
            <a:ext cx="25045" cy="12522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" name="Rectangle 1248">
            <a:extLst>
              <a:ext uri="{FF2B5EF4-FFF2-40B4-BE49-F238E27FC236}">
                <a16:creationId xmlns:a16="http://schemas.microsoft.com/office/drawing/2014/main" id="{5E0C4943-CD7A-4690-B935-25BB52884E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39233" y="5806985"/>
            <a:ext cx="12522" cy="12522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Rectangle 1249">
            <a:extLst>
              <a:ext uri="{FF2B5EF4-FFF2-40B4-BE49-F238E27FC236}">
                <a16:creationId xmlns:a16="http://schemas.microsoft.com/office/drawing/2014/main" id="{439E328E-7D5E-49BA-817D-6BFFCFC20F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6764" y="5806985"/>
            <a:ext cx="12522" cy="12522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" name="Rectangle 1250">
            <a:extLst>
              <a:ext uri="{FF2B5EF4-FFF2-40B4-BE49-F238E27FC236}">
                <a16:creationId xmlns:a16="http://schemas.microsoft.com/office/drawing/2014/main" id="{E10A6A2B-D11C-4115-B811-46CE93C34B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75547" y="5806985"/>
            <a:ext cx="12522" cy="12522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Rectangle 1251">
            <a:extLst>
              <a:ext uri="{FF2B5EF4-FFF2-40B4-BE49-F238E27FC236}">
                <a16:creationId xmlns:a16="http://schemas.microsoft.com/office/drawing/2014/main" id="{E4BFCFF8-1243-4209-81F8-2D4654A5B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94331" y="5806985"/>
            <a:ext cx="25045" cy="12522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" name="Rectangle 1252">
            <a:extLst>
              <a:ext uri="{FF2B5EF4-FFF2-40B4-BE49-F238E27FC236}">
                <a16:creationId xmlns:a16="http://schemas.microsoft.com/office/drawing/2014/main" id="{4BE12EB4-B55C-40E8-96B7-EC877C1ECB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39233" y="5825769"/>
            <a:ext cx="12522" cy="12522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Rectangle 1253">
            <a:extLst>
              <a:ext uri="{FF2B5EF4-FFF2-40B4-BE49-F238E27FC236}">
                <a16:creationId xmlns:a16="http://schemas.microsoft.com/office/drawing/2014/main" id="{A6D48AF3-D0BA-48D7-84D7-009488CAA7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6764" y="5825769"/>
            <a:ext cx="12522" cy="12522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" name="Rectangle 1254">
            <a:extLst>
              <a:ext uri="{FF2B5EF4-FFF2-40B4-BE49-F238E27FC236}">
                <a16:creationId xmlns:a16="http://schemas.microsoft.com/office/drawing/2014/main" id="{7AE6D00B-980B-4FAF-9D26-036740F15A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75547" y="5825769"/>
            <a:ext cx="12522" cy="12522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Rectangle 1255">
            <a:extLst>
              <a:ext uri="{FF2B5EF4-FFF2-40B4-BE49-F238E27FC236}">
                <a16:creationId xmlns:a16="http://schemas.microsoft.com/office/drawing/2014/main" id="{9E094B12-6A3B-4B53-BE01-1E0429FF71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94331" y="5825769"/>
            <a:ext cx="25045" cy="12522"/>
          </a:xfrm>
          <a:prstGeom prst="rect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" name="Rectangle 1256">
            <a:extLst>
              <a:ext uri="{FF2B5EF4-FFF2-40B4-BE49-F238E27FC236}">
                <a16:creationId xmlns:a16="http://schemas.microsoft.com/office/drawing/2014/main" id="{C63E1174-71C4-4253-97DD-EF405B0DD1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34403" y="5786949"/>
            <a:ext cx="48838" cy="51342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" name="Rectangle 1257">
            <a:extLst>
              <a:ext uri="{FF2B5EF4-FFF2-40B4-BE49-F238E27FC236}">
                <a16:creationId xmlns:a16="http://schemas.microsoft.com/office/drawing/2014/main" id="{550F4A39-3C69-4337-98B6-2B51AAE7C3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38159" y="5790706"/>
            <a:ext cx="40071" cy="2254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Oval 1258">
            <a:extLst>
              <a:ext uri="{FF2B5EF4-FFF2-40B4-BE49-F238E27FC236}">
                <a16:creationId xmlns:a16="http://schemas.microsoft.com/office/drawing/2014/main" id="{20547D76-3D16-42A5-9494-F26359F69A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51934" y="5818256"/>
            <a:ext cx="13775" cy="13775"/>
          </a:xfrm>
          <a:prstGeom prst="ellipse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" name="Freeform 1259">
            <a:extLst>
              <a:ext uri="{FF2B5EF4-FFF2-40B4-BE49-F238E27FC236}">
                <a16:creationId xmlns:a16="http://schemas.microsoft.com/office/drawing/2014/main" id="{F5097FEE-C962-490B-B85F-E9B6864899BD}"/>
              </a:ext>
            </a:extLst>
          </p:cNvPr>
          <p:cNvSpPr>
            <a:spLocks/>
          </p:cNvSpPr>
          <p:nvPr/>
        </p:nvSpPr>
        <p:spPr bwMode="auto">
          <a:xfrm>
            <a:off x="9356943" y="5796967"/>
            <a:ext cx="3757" cy="16279"/>
          </a:xfrm>
          <a:custGeom>
            <a:avLst/>
            <a:gdLst>
              <a:gd name="T0" fmla="*/ 0 w 3"/>
              <a:gd name="T1" fmla="*/ 13 h 13"/>
              <a:gd name="T2" fmla="*/ 1 w 3"/>
              <a:gd name="T3" fmla="*/ 0 h 13"/>
              <a:gd name="T4" fmla="*/ 3 w 3"/>
              <a:gd name="T5" fmla="*/ 13 h 13"/>
              <a:gd name="T6" fmla="*/ 0 w 3"/>
              <a:gd name="T7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" h="13">
                <a:moveTo>
                  <a:pt x="0" y="13"/>
                </a:moveTo>
                <a:lnTo>
                  <a:pt x="1" y="0"/>
                </a:lnTo>
                <a:lnTo>
                  <a:pt x="3" y="13"/>
                </a:lnTo>
                <a:lnTo>
                  <a:pt x="0" y="1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" name="Rectangle 1260">
            <a:extLst>
              <a:ext uri="{FF2B5EF4-FFF2-40B4-BE49-F238E27FC236}">
                <a16:creationId xmlns:a16="http://schemas.microsoft.com/office/drawing/2014/main" id="{4073A57F-9FDB-4844-87CB-524719E21E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94510" y="5786949"/>
            <a:ext cx="48838" cy="51342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Rectangle 1261">
            <a:extLst>
              <a:ext uri="{FF2B5EF4-FFF2-40B4-BE49-F238E27FC236}">
                <a16:creationId xmlns:a16="http://schemas.microsoft.com/office/drawing/2014/main" id="{9191A2E6-41A3-4C11-BACC-9357CD2D9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99519" y="5790706"/>
            <a:ext cx="40071" cy="2254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Oval 1262">
            <a:extLst>
              <a:ext uri="{FF2B5EF4-FFF2-40B4-BE49-F238E27FC236}">
                <a16:creationId xmlns:a16="http://schemas.microsoft.com/office/drawing/2014/main" id="{E625229E-6D17-4503-8102-1CE3BFE33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12041" y="5818256"/>
            <a:ext cx="13775" cy="13775"/>
          </a:xfrm>
          <a:prstGeom prst="ellipse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" name="Freeform 1263">
            <a:extLst>
              <a:ext uri="{FF2B5EF4-FFF2-40B4-BE49-F238E27FC236}">
                <a16:creationId xmlns:a16="http://schemas.microsoft.com/office/drawing/2014/main" id="{B06573EC-1B23-4A6A-A842-56DBE94ADE85}"/>
              </a:ext>
            </a:extLst>
          </p:cNvPr>
          <p:cNvSpPr>
            <a:spLocks/>
          </p:cNvSpPr>
          <p:nvPr/>
        </p:nvSpPr>
        <p:spPr bwMode="auto">
          <a:xfrm>
            <a:off x="9412041" y="5796967"/>
            <a:ext cx="8766" cy="16279"/>
          </a:xfrm>
          <a:custGeom>
            <a:avLst/>
            <a:gdLst>
              <a:gd name="T0" fmla="*/ 4 w 7"/>
              <a:gd name="T1" fmla="*/ 13 h 13"/>
              <a:gd name="T2" fmla="*/ 0 w 7"/>
              <a:gd name="T3" fmla="*/ 0 h 13"/>
              <a:gd name="T4" fmla="*/ 7 w 7"/>
              <a:gd name="T5" fmla="*/ 13 h 13"/>
              <a:gd name="T6" fmla="*/ 4 w 7"/>
              <a:gd name="T7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13">
                <a:moveTo>
                  <a:pt x="4" y="13"/>
                </a:moveTo>
                <a:lnTo>
                  <a:pt x="0" y="0"/>
                </a:lnTo>
                <a:lnTo>
                  <a:pt x="7" y="13"/>
                </a:lnTo>
                <a:lnTo>
                  <a:pt x="4" y="1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" name="Rectangle 1264">
            <a:extLst>
              <a:ext uri="{FF2B5EF4-FFF2-40B4-BE49-F238E27FC236}">
                <a16:creationId xmlns:a16="http://schemas.microsoft.com/office/drawing/2014/main" id="{75D4D588-0968-438F-B009-9C50E98B3D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54617" y="5786949"/>
            <a:ext cx="48838" cy="51342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" name="Rectangle 1265">
            <a:extLst>
              <a:ext uri="{FF2B5EF4-FFF2-40B4-BE49-F238E27FC236}">
                <a16:creationId xmlns:a16="http://schemas.microsoft.com/office/drawing/2014/main" id="{2AA70749-6AF3-458C-9004-A1B4ECA181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59626" y="5790706"/>
            <a:ext cx="40071" cy="2254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" name="Oval 1266">
            <a:extLst>
              <a:ext uri="{FF2B5EF4-FFF2-40B4-BE49-F238E27FC236}">
                <a16:creationId xmlns:a16="http://schemas.microsoft.com/office/drawing/2014/main" id="{D112B56F-626C-4E8F-85CD-9BE0E34359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73400" y="5818256"/>
            <a:ext cx="12522" cy="13775"/>
          </a:xfrm>
          <a:prstGeom prst="ellipse">
            <a:avLst/>
          </a:pr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" name="Freeform 1267">
            <a:extLst>
              <a:ext uri="{FF2B5EF4-FFF2-40B4-BE49-F238E27FC236}">
                <a16:creationId xmlns:a16="http://schemas.microsoft.com/office/drawing/2014/main" id="{E54C8966-DBE7-4E2A-B1B7-606ECC4E106E}"/>
              </a:ext>
            </a:extLst>
          </p:cNvPr>
          <p:cNvSpPr>
            <a:spLocks/>
          </p:cNvSpPr>
          <p:nvPr/>
        </p:nvSpPr>
        <p:spPr bwMode="auto">
          <a:xfrm>
            <a:off x="9477157" y="5796967"/>
            <a:ext cx="11270" cy="16279"/>
          </a:xfrm>
          <a:custGeom>
            <a:avLst/>
            <a:gdLst>
              <a:gd name="T0" fmla="*/ 0 w 9"/>
              <a:gd name="T1" fmla="*/ 13 h 13"/>
              <a:gd name="T2" fmla="*/ 9 w 9"/>
              <a:gd name="T3" fmla="*/ 0 h 13"/>
              <a:gd name="T4" fmla="*/ 4 w 9"/>
              <a:gd name="T5" fmla="*/ 13 h 13"/>
              <a:gd name="T6" fmla="*/ 0 w 9"/>
              <a:gd name="T7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" h="13">
                <a:moveTo>
                  <a:pt x="0" y="13"/>
                </a:moveTo>
                <a:lnTo>
                  <a:pt x="9" y="0"/>
                </a:lnTo>
                <a:lnTo>
                  <a:pt x="4" y="13"/>
                </a:lnTo>
                <a:lnTo>
                  <a:pt x="0" y="1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Freeform 1268">
            <a:extLst>
              <a:ext uri="{FF2B5EF4-FFF2-40B4-BE49-F238E27FC236}">
                <a16:creationId xmlns:a16="http://schemas.microsoft.com/office/drawing/2014/main" id="{18696D04-961E-4852-AF8F-E6236E294EF5}"/>
              </a:ext>
            </a:extLst>
          </p:cNvPr>
          <p:cNvSpPr>
            <a:spLocks/>
          </p:cNvSpPr>
          <p:nvPr/>
        </p:nvSpPr>
        <p:spPr bwMode="auto">
          <a:xfrm>
            <a:off x="9288070" y="5878363"/>
            <a:ext cx="13775" cy="13775"/>
          </a:xfrm>
          <a:custGeom>
            <a:avLst/>
            <a:gdLst>
              <a:gd name="T0" fmla="*/ 16 w 27"/>
              <a:gd name="T1" fmla="*/ 2 h 26"/>
              <a:gd name="T2" fmla="*/ 24 w 27"/>
              <a:gd name="T3" fmla="*/ 2 h 26"/>
              <a:gd name="T4" fmla="*/ 24 w 27"/>
              <a:gd name="T5" fmla="*/ 10 h 26"/>
              <a:gd name="T6" fmla="*/ 10 w 27"/>
              <a:gd name="T7" fmla="*/ 24 h 26"/>
              <a:gd name="T8" fmla="*/ 2 w 27"/>
              <a:gd name="T9" fmla="*/ 24 h 26"/>
              <a:gd name="T10" fmla="*/ 2 w 27"/>
              <a:gd name="T11" fmla="*/ 16 h 26"/>
              <a:gd name="T12" fmla="*/ 16 w 27"/>
              <a:gd name="T13" fmla="*/ 2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26">
                <a:moveTo>
                  <a:pt x="16" y="2"/>
                </a:moveTo>
                <a:cubicBezTo>
                  <a:pt x="19" y="0"/>
                  <a:pt x="22" y="0"/>
                  <a:pt x="24" y="2"/>
                </a:cubicBezTo>
                <a:cubicBezTo>
                  <a:pt x="27" y="4"/>
                  <a:pt x="27" y="8"/>
                  <a:pt x="24" y="10"/>
                </a:cubicBezTo>
                <a:cubicBezTo>
                  <a:pt x="10" y="24"/>
                  <a:pt x="10" y="24"/>
                  <a:pt x="10" y="24"/>
                </a:cubicBezTo>
                <a:cubicBezTo>
                  <a:pt x="8" y="26"/>
                  <a:pt x="5" y="26"/>
                  <a:pt x="2" y="24"/>
                </a:cubicBezTo>
                <a:cubicBezTo>
                  <a:pt x="0" y="22"/>
                  <a:pt x="0" y="19"/>
                  <a:pt x="2" y="16"/>
                </a:cubicBezTo>
                <a:lnTo>
                  <a:pt x="16" y="2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" name="Freeform 1269">
            <a:extLst>
              <a:ext uri="{FF2B5EF4-FFF2-40B4-BE49-F238E27FC236}">
                <a16:creationId xmlns:a16="http://schemas.microsoft.com/office/drawing/2014/main" id="{F6415C65-BD85-4259-A994-E9A41712D37F}"/>
              </a:ext>
            </a:extLst>
          </p:cNvPr>
          <p:cNvSpPr>
            <a:spLocks/>
          </p:cNvSpPr>
          <p:nvPr/>
        </p:nvSpPr>
        <p:spPr bwMode="auto">
          <a:xfrm>
            <a:off x="9266782" y="5862083"/>
            <a:ext cx="6262" cy="16279"/>
          </a:xfrm>
          <a:custGeom>
            <a:avLst/>
            <a:gdLst>
              <a:gd name="T0" fmla="*/ 0 w 11"/>
              <a:gd name="T1" fmla="*/ 5 h 32"/>
              <a:gd name="T2" fmla="*/ 5 w 11"/>
              <a:gd name="T3" fmla="*/ 0 h 32"/>
              <a:gd name="T4" fmla="*/ 11 w 11"/>
              <a:gd name="T5" fmla="*/ 5 h 32"/>
              <a:gd name="T6" fmla="*/ 11 w 11"/>
              <a:gd name="T7" fmla="*/ 26 h 32"/>
              <a:gd name="T8" fmla="*/ 5 w 11"/>
              <a:gd name="T9" fmla="*/ 32 h 32"/>
              <a:gd name="T10" fmla="*/ 0 w 11"/>
              <a:gd name="T11" fmla="*/ 26 h 32"/>
              <a:gd name="T12" fmla="*/ 0 w 11"/>
              <a:gd name="T13" fmla="*/ 5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" h="32">
                <a:moveTo>
                  <a:pt x="0" y="5"/>
                </a:moveTo>
                <a:cubicBezTo>
                  <a:pt x="0" y="2"/>
                  <a:pt x="2" y="0"/>
                  <a:pt x="5" y="0"/>
                </a:cubicBezTo>
                <a:cubicBezTo>
                  <a:pt x="8" y="0"/>
                  <a:pt x="11" y="2"/>
                  <a:pt x="11" y="5"/>
                </a:cubicBezTo>
                <a:cubicBezTo>
                  <a:pt x="11" y="26"/>
                  <a:pt x="11" y="26"/>
                  <a:pt x="11" y="26"/>
                </a:cubicBezTo>
                <a:cubicBezTo>
                  <a:pt x="11" y="30"/>
                  <a:pt x="8" y="32"/>
                  <a:pt x="5" y="32"/>
                </a:cubicBezTo>
                <a:cubicBezTo>
                  <a:pt x="2" y="32"/>
                  <a:pt x="0" y="30"/>
                  <a:pt x="0" y="26"/>
                </a:cubicBezTo>
                <a:lnTo>
                  <a:pt x="0" y="5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" name="Freeform 1270">
            <a:extLst>
              <a:ext uri="{FF2B5EF4-FFF2-40B4-BE49-F238E27FC236}">
                <a16:creationId xmlns:a16="http://schemas.microsoft.com/office/drawing/2014/main" id="{F09DDE9E-A758-457D-89B0-6627C379EA90}"/>
              </a:ext>
            </a:extLst>
          </p:cNvPr>
          <p:cNvSpPr>
            <a:spLocks/>
          </p:cNvSpPr>
          <p:nvPr/>
        </p:nvSpPr>
        <p:spPr bwMode="auto">
          <a:xfrm>
            <a:off x="9266782" y="5872101"/>
            <a:ext cx="27549" cy="20036"/>
          </a:xfrm>
          <a:custGeom>
            <a:avLst/>
            <a:gdLst>
              <a:gd name="T0" fmla="*/ 0 w 52"/>
              <a:gd name="T1" fmla="*/ 31 h 38"/>
              <a:gd name="T2" fmla="*/ 6 w 52"/>
              <a:gd name="T3" fmla="*/ 38 h 38"/>
              <a:gd name="T4" fmla="*/ 45 w 52"/>
              <a:gd name="T5" fmla="*/ 38 h 38"/>
              <a:gd name="T6" fmla="*/ 52 w 52"/>
              <a:gd name="T7" fmla="*/ 31 h 38"/>
              <a:gd name="T8" fmla="*/ 52 w 52"/>
              <a:gd name="T9" fmla="*/ 6 h 38"/>
              <a:gd name="T10" fmla="*/ 45 w 52"/>
              <a:gd name="T11" fmla="*/ 0 h 38"/>
              <a:gd name="T12" fmla="*/ 6 w 52"/>
              <a:gd name="T13" fmla="*/ 0 h 38"/>
              <a:gd name="T14" fmla="*/ 0 w 52"/>
              <a:gd name="T15" fmla="*/ 6 h 38"/>
              <a:gd name="T16" fmla="*/ 0 w 52"/>
              <a:gd name="T17" fmla="*/ 31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2" h="38">
                <a:moveTo>
                  <a:pt x="0" y="31"/>
                </a:moveTo>
                <a:cubicBezTo>
                  <a:pt x="0" y="35"/>
                  <a:pt x="3" y="38"/>
                  <a:pt x="6" y="38"/>
                </a:cubicBezTo>
                <a:cubicBezTo>
                  <a:pt x="45" y="38"/>
                  <a:pt x="45" y="38"/>
                  <a:pt x="45" y="38"/>
                </a:cubicBezTo>
                <a:cubicBezTo>
                  <a:pt x="49" y="38"/>
                  <a:pt x="52" y="35"/>
                  <a:pt x="52" y="31"/>
                </a:cubicBezTo>
                <a:cubicBezTo>
                  <a:pt x="52" y="6"/>
                  <a:pt x="52" y="6"/>
                  <a:pt x="52" y="6"/>
                </a:cubicBezTo>
                <a:cubicBezTo>
                  <a:pt x="52" y="3"/>
                  <a:pt x="49" y="0"/>
                  <a:pt x="45" y="0"/>
                </a:cubicBezTo>
                <a:cubicBezTo>
                  <a:pt x="6" y="0"/>
                  <a:pt x="6" y="0"/>
                  <a:pt x="6" y="0"/>
                </a:cubicBezTo>
                <a:cubicBezTo>
                  <a:pt x="3" y="0"/>
                  <a:pt x="0" y="3"/>
                  <a:pt x="0" y="6"/>
                </a:cubicBezTo>
                <a:lnTo>
                  <a:pt x="0" y="31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" name="Freeform 1271">
            <a:extLst>
              <a:ext uri="{FF2B5EF4-FFF2-40B4-BE49-F238E27FC236}">
                <a16:creationId xmlns:a16="http://schemas.microsoft.com/office/drawing/2014/main" id="{0092AA85-637E-408F-AB72-07B3F0CB6980}"/>
              </a:ext>
            </a:extLst>
          </p:cNvPr>
          <p:cNvSpPr>
            <a:spLocks/>
          </p:cNvSpPr>
          <p:nvPr/>
        </p:nvSpPr>
        <p:spPr bwMode="auto">
          <a:xfrm>
            <a:off x="9280556" y="5857074"/>
            <a:ext cx="6262" cy="21288"/>
          </a:xfrm>
          <a:custGeom>
            <a:avLst/>
            <a:gdLst>
              <a:gd name="T0" fmla="*/ 0 w 11"/>
              <a:gd name="T1" fmla="*/ 5 h 42"/>
              <a:gd name="T2" fmla="*/ 6 w 11"/>
              <a:gd name="T3" fmla="*/ 0 h 42"/>
              <a:gd name="T4" fmla="*/ 11 w 11"/>
              <a:gd name="T5" fmla="*/ 5 h 42"/>
              <a:gd name="T6" fmla="*/ 11 w 11"/>
              <a:gd name="T7" fmla="*/ 36 h 42"/>
              <a:gd name="T8" fmla="*/ 6 w 11"/>
              <a:gd name="T9" fmla="*/ 42 h 42"/>
              <a:gd name="T10" fmla="*/ 0 w 11"/>
              <a:gd name="T11" fmla="*/ 36 h 42"/>
              <a:gd name="T12" fmla="*/ 0 w 11"/>
              <a:gd name="T13" fmla="*/ 5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" h="42">
                <a:moveTo>
                  <a:pt x="0" y="5"/>
                </a:moveTo>
                <a:cubicBezTo>
                  <a:pt x="0" y="2"/>
                  <a:pt x="3" y="0"/>
                  <a:pt x="6" y="0"/>
                </a:cubicBezTo>
                <a:cubicBezTo>
                  <a:pt x="9" y="0"/>
                  <a:pt x="11" y="2"/>
                  <a:pt x="11" y="5"/>
                </a:cubicBezTo>
                <a:cubicBezTo>
                  <a:pt x="11" y="36"/>
                  <a:pt x="11" y="36"/>
                  <a:pt x="11" y="36"/>
                </a:cubicBezTo>
                <a:cubicBezTo>
                  <a:pt x="11" y="39"/>
                  <a:pt x="9" y="42"/>
                  <a:pt x="6" y="42"/>
                </a:cubicBezTo>
                <a:cubicBezTo>
                  <a:pt x="3" y="42"/>
                  <a:pt x="0" y="39"/>
                  <a:pt x="0" y="36"/>
                </a:cubicBezTo>
                <a:lnTo>
                  <a:pt x="0" y="5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" name="Freeform 1272">
            <a:extLst>
              <a:ext uri="{FF2B5EF4-FFF2-40B4-BE49-F238E27FC236}">
                <a16:creationId xmlns:a16="http://schemas.microsoft.com/office/drawing/2014/main" id="{662A2BCF-F259-4332-9F0C-EBD913C9308E}"/>
              </a:ext>
            </a:extLst>
          </p:cNvPr>
          <p:cNvSpPr>
            <a:spLocks/>
          </p:cNvSpPr>
          <p:nvPr/>
        </p:nvSpPr>
        <p:spPr bwMode="auto">
          <a:xfrm>
            <a:off x="9288070" y="5859579"/>
            <a:ext cx="6262" cy="18784"/>
          </a:xfrm>
          <a:custGeom>
            <a:avLst/>
            <a:gdLst>
              <a:gd name="T0" fmla="*/ 0 w 11"/>
              <a:gd name="T1" fmla="*/ 5 h 38"/>
              <a:gd name="T2" fmla="*/ 6 w 11"/>
              <a:gd name="T3" fmla="*/ 0 h 38"/>
              <a:gd name="T4" fmla="*/ 11 w 11"/>
              <a:gd name="T5" fmla="*/ 5 h 38"/>
              <a:gd name="T6" fmla="*/ 11 w 11"/>
              <a:gd name="T7" fmla="*/ 32 h 38"/>
              <a:gd name="T8" fmla="*/ 6 w 11"/>
              <a:gd name="T9" fmla="*/ 38 h 38"/>
              <a:gd name="T10" fmla="*/ 0 w 11"/>
              <a:gd name="T11" fmla="*/ 32 h 38"/>
              <a:gd name="T12" fmla="*/ 0 w 11"/>
              <a:gd name="T13" fmla="*/ 5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" h="38">
                <a:moveTo>
                  <a:pt x="0" y="5"/>
                </a:moveTo>
                <a:cubicBezTo>
                  <a:pt x="0" y="2"/>
                  <a:pt x="3" y="0"/>
                  <a:pt x="6" y="0"/>
                </a:cubicBezTo>
                <a:cubicBezTo>
                  <a:pt x="9" y="0"/>
                  <a:pt x="11" y="2"/>
                  <a:pt x="11" y="5"/>
                </a:cubicBezTo>
                <a:cubicBezTo>
                  <a:pt x="11" y="32"/>
                  <a:pt x="11" y="32"/>
                  <a:pt x="11" y="32"/>
                </a:cubicBezTo>
                <a:cubicBezTo>
                  <a:pt x="11" y="36"/>
                  <a:pt x="9" y="38"/>
                  <a:pt x="6" y="38"/>
                </a:cubicBezTo>
                <a:cubicBezTo>
                  <a:pt x="3" y="38"/>
                  <a:pt x="0" y="36"/>
                  <a:pt x="0" y="32"/>
                </a:cubicBezTo>
                <a:lnTo>
                  <a:pt x="0" y="5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" name="Freeform 1273">
            <a:extLst>
              <a:ext uri="{FF2B5EF4-FFF2-40B4-BE49-F238E27FC236}">
                <a16:creationId xmlns:a16="http://schemas.microsoft.com/office/drawing/2014/main" id="{47957B64-F724-4D95-82E8-6EB57CC3D74C}"/>
              </a:ext>
            </a:extLst>
          </p:cNvPr>
          <p:cNvSpPr>
            <a:spLocks/>
          </p:cNvSpPr>
          <p:nvPr/>
        </p:nvSpPr>
        <p:spPr bwMode="auto">
          <a:xfrm>
            <a:off x="9274295" y="5859579"/>
            <a:ext cx="6262" cy="18784"/>
          </a:xfrm>
          <a:custGeom>
            <a:avLst/>
            <a:gdLst>
              <a:gd name="T0" fmla="*/ 0 w 12"/>
              <a:gd name="T1" fmla="*/ 5 h 37"/>
              <a:gd name="T2" fmla="*/ 6 w 12"/>
              <a:gd name="T3" fmla="*/ 0 h 37"/>
              <a:gd name="T4" fmla="*/ 12 w 12"/>
              <a:gd name="T5" fmla="*/ 5 h 37"/>
              <a:gd name="T6" fmla="*/ 12 w 12"/>
              <a:gd name="T7" fmla="*/ 31 h 37"/>
              <a:gd name="T8" fmla="*/ 6 w 12"/>
              <a:gd name="T9" fmla="*/ 37 h 37"/>
              <a:gd name="T10" fmla="*/ 0 w 12"/>
              <a:gd name="T11" fmla="*/ 31 h 37"/>
              <a:gd name="T12" fmla="*/ 0 w 12"/>
              <a:gd name="T13" fmla="*/ 5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37">
                <a:moveTo>
                  <a:pt x="0" y="5"/>
                </a:moveTo>
                <a:cubicBezTo>
                  <a:pt x="0" y="2"/>
                  <a:pt x="3" y="0"/>
                  <a:pt x="6" y="0"/>
                </a:cubicBezTo>
                <a:cubicBezTo>
                  <a:pt x="9" y="0"/>
                  <a:pt x="12" y="2"/>
                  <a:pt x="12" y="5"/>
                </a:cubicBezTo>
                <a:cubicBezTo>
                  <a:pt x="12" y="31"/>
                  <a:pt x="12" y="31"/>
                  <a:pt x="12" y="31"/>
                </a:cubicBezTo>
                <a:cubicBezTo>
                  <a:pt x="12" y="34"/>
                  <a:pt x="9" y="37"/>
                  <a:pt x="6" y="37"/>
                </a:cubicBezTo>
                <a:cubicBezTo>
                  <a:pt x="3" y="37"/>
                  <a:pt x="0" y="35"/>
                  <a:pt x="0" y="31"/>
                </a:cubicBezTo>
                <a:lnTo>
                  <a:pt x="0" y="5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" name="Freeform 1274">
            <a:extLst>
              <a:ext uri="{FF2B5EF4-FFF2-40B4-BE49-F238E27FC236}">
                <a16:creationId xmlns:a16="http://schemas.microsoft.com/office/drawing/2014/main" id="{A2B2F761-6671-4512-B43D-3BC94AC079AC}"/>
              </a:ext>
            </a:extLst>
          </p:cNvPr>
          <p:cNvSpPr>
            <a:spLocks/>
          </p:cNvSpPr>
          <p:nvPr/>
        </p:nvSpPr>
        <p:spPr bwMode="auto">
          <a:xfrm>
            <a:off x="9313114" y="5878363"/>
            <a:ext cx="13775" cy="13775"/>
          </a:xfrm>
          <a:custGeom>
            <a:avLst/>
            <a:gdLst>
              <a:gd name="T0" fmla="*/ 10 w 27"/>
              <a:gd name="T1" fmla="*/ 2 h 26"/>
              <a:gd name="T2" fmla="*/ 2 w 27"/>
              <a:gd name="T3" fmla="*/ 2 h 26"/>
              <a:gd name="T4" fmla="*/ 2 w 27"/>
              <a:gd name="T5" fmla="*/ 10 h 26"/>
              <a:gd name="T6" fmla="*/ 16 w 27"/>
              <a:gd name="T7" fmla="*/ 24 h 26"/>
              <a:gd name="T8" fmla="*/ 24 w 27"/>
              <a:gd name="T9" fmla="*/ 24 h 26"/>
              <a:gd name="T10" fmla="*/ 24 w 27"/>
              <a:gd name="T11" fmla="*/ 16 h 26"/>
              <a:gd name="T12" fmla="*/ 10 w 27"/>
              <a:gd name="T13" fmla="*/ 2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26">
                <a:moveTo>
                  <a:pt x="10" y="2"/>
                </a:moveTo>
                <a:cubicBezTo>
                  <a:pt x="8" y="0"/>
                  <a:pt x="5" y="0"/>
                  <a:pt x="2" y="2"/>
                </a:cubicBezTo>
                <a:cubicBezTo>
                  <a:pt x="0" y="4"/>
                  <a:pt x="0" y="8"/>
                  <a:pt x="2" y="10"/>
                </a:cubicBezTo>
                <a:cubicBezTo>
                  <a:pt x="16" y="24"/>
                  <a:pt x="16" y="24"/>
                  <a:pt x="16" y="24"/>
                </a:cubicBezTo>
                <a:cubicBezTo>
                  <a:pt x="19" y="26"/>
                  <a:pt x="22" y="26"/>
                  <a:pt x="24" y="24"/>
                </a:cubicBezTo>
                <a:cubicBezTo>
                  <a:pt x="27" y="22"/>
                  <a:pt x="27" y="19"/>
                  <a:pt x="24" y="16"/>
                </a:cubicBezTo>
                <a:lnTo>
                  <a:pt x="10" y="2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" name="Freeform 1275">
            <a:extLst>
              <a:ext uri="{FF2B5EF4-FFF2-40B4-BE49-F238E27FC236}">
                <a16:creationId xmlns:a16="http://schemas.microsoft.com/office/drawing/2014/main" id="{AAC482FA-F7A0-4783-B50A-67093CC7AE88}"/>
              </a:ext>
            </a:extLst>
          </p:cNvPr>
          <p:cNvSpPr>
            <a:spLocks/>
          </p:cNvSpPr>
          <p:nvPr/>
        </p:nvSpPr>
        <p:spPr bwMode="auto">
          <a:xfrm>
            <a:off x="9341916" y="5862083"/>
            <a:ext cx="6262" cy="16279"/>
          </a:xfrm>
          <a:custGeom>
            <a:avLst/>
            <a:gdLst>
              <a:gd name="T0" fmla="*/ 11 w 11"/>
              <a:gd name="T1" fmla="*/ 5 h 32"/>
              <a:gd name="T2" fmla="*/ 5 w 11"/>
              <a:gd name="T3" fmla="*/ 0 h 32"/>
              <a:gd name="T4" fmla="*/ 0 w 11"/>
              <a:gd name="T5" fmla="*/ 5 h 32"/>
              <a:gd name="T6" fmla="*/ 0 w 11"/>
              <a:gd name="T7" fmla="*/ 26 h 32"/>
              <a:gd name="T8" fmla="*/ 5 w 11"/>
              <a:gd name="T9" fmla="*/ 32 h 32"/>
              <a:gd name="T10" fmla="*/ 11 w 11"/>
              <a:gd name="T11" fmla="*/ 26 h 32"/>
              <a:gd name="T12" fmla="*/ 11 w 11"/>
              <a:gd name="T13" fmla="*/ 5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" h="32">
                <a:moveTo>
                  <a:pt x="11" y="5"/>
                </a:moveTo>
                <a:cubicBezTo>
                  <a:pt x="11" y="2"/>
                  <a:pt x="9" y="0"/>
                  <a:pt x="5" y="0"/>
                </a:cubicBezTo>
                <a:cubicBezTo>
                  <a:pt x="2" y="0"/>
                  <a:pt x="0" y="2"/>
                  <a:pt x="0" y="5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30"/>
                  <a:pt x="2" y="32"/>
                  <a:pt x="5" y="32"/>
                </a:cubicBezTo>
                <a:cubicBezTo>
                  <a:pt x="8" y="32"/>
                  <a:pt x="11" y="30"/>
                  <a:pt x="11" y="26"/>
                </a:cubicBezTo>
                <a:lnTo>
                  <a:pt x="11" y="5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" name="Freeform 1276">
            <a:extLst>
              <a:ext uri="{FF2B5EF4-FFF2-40B4-BE49-F238E27FC236}">
                <a16:creationId xmlns:a16="http://schemas.microsoft.com/office/drawing/2014/main" id="{9F00858A-8C8C-4A16-A1D8-02B7580D69CB}"/>
              </a:ext>
            </a:extLst>
          </p:cNvPr>
          <p:cNvSpPr>
            <a:spLocks/>
          </p:cNvSpPr>
          <p:nvPr/>
        </p:nvSpPr>
        <p:spPr bwMode="auto">
          <a:xfrm>
            <a:off x="9320628" y="5872101"/>
            <a:ext cx="27549" cy="20036"/>
          </a:xfrm>
          <a:custGeom>
            <a:avLst/>
            <a:gdLst>
              <a:gd name="T0" fmla="*/ 53 w 53"/>
              <a:gd name="T1" fmla="*/ 31 h 38"/>
              <a:gd name="T2" fmla="*/ 46 w 53"/>
              <a:gd name="T3" fmla="*/ 38 h 38"/>
              <a:gd name="T4" fmla="*/ 7 w 53"/>
              <a:gd name="T5" fmla="*/ 38 h 38"/>
              <a:gd name="T6" fmla="*/ 0 w 53"/>
              <a:gd name="T7" fmla="*/ 31 h 38"/>
              <a:gd name="T8" fmla="*/ 0 w 53"/>
              <a:gd name="T9" fmla="*/ 6 h 38"/>
              <a:gd name="T10" fmla="*/ 7 w 53"/>
              <a:gd name="T11" fmla="*/ 0 h 38"/>
              <a:gd name="T12" fmla="*/ 46 w 53"/>
              <a:gd name="T13" fmla="*/ 0 h 38"/>
              <a:gd name="T14" fmla="*/ 53 w 53"/>
              <a:gd name="T15" fmla="*/ 6 h 38"/>
              <a:gd name="T16" fmla="*/ 53 w 53"/>
              <a:gd name="T17" fmla="*/ 31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3" h="38">
                <a:moveTo>
                  <a:pt x="53" y="31"/>
                </a:moveTo>
                <a:cubicBezTo>
                  <a:pt x="53" y="35"/>
                  <a:pt x="50" y="38"/>
                  <a:pt x="46" y="38"/>
                </a:cubicBezTo>
                <a:cubicBezTo>
                  <a:pt x="7" y="38"/>
                  <a:pt x="7" y="38"/>
                  <a:pt x="7" y="38"/>
                </a:cubicBezTo>
                <a:cubicBezTo>
                  <a:pt x="3" y="38"/>
                  <a:pt x="0" y="35"/>
                  <a:pt x="0" y="31"/>
                </a:cubicBezTo>
                <a:cubicBezTo>
                  <a:pt x="0" y="6"/>
                  <a:pt x="0" y="6"/>
                  <a:pt x="0" y="6"/>
                </a:cubicBezTo>
                <a:cubicBezTo>
                  <a:pt x="1" y="3"/>
                  <a:pt x="3" y="0"/>
                  <a:pt x="7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50" y="0"/>
                  <a:pt x="53" y="3"/>
                  <a:pt x="53" y="6"/>
                </a:cubicBezTo>
                <a:lnTo>
                  <a:pt x="53" y="31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" name="Freeform 1277">
            <a:extLst>
              <a:ext uri="{FF2B5EF4-FFF2-40B4-BE49-F238E27FC236}">
                <a16:creationId xmlns:a16="http://schemas.microsoft.com/office/drawing/2014/main" id="{A101EA1E-F4AF-4B60-93AE-1D9BC61E2901}"/>
              </a:ext>
            </a:extLst>
          </p:cNvPr>
          <p:cNvSpPr>
            <a:spLocks/>
          </p:cNvSpPr>
          <p:nvPr/>
        </p:nvSpPr>
        <p:spPr bwMode="auto">
          <a:xfrm>
            <a:off x="9326889" y="5857074"/>
            <a:ext cx="6262" cy="21288"/>
          </a:xfrm>
          <a:custGeom>
            <a:avLst/>
            <a:gdLst>
              <a:gd name="T0" fmla="*/ 12 w 12"/>
              <a:gd name="T1" fmla="*/ 5 h 42"/>
              <a:gd name="T2" fmla="*/ 6 w 12"/>
              <a:gd name="T3" fmla="*/ 0 h 42"/>
              <a:gd name="T4" fmla="*/ 0 w 12"/>
              <a:gd name="T5" fmla="*/ 5 h 42"/>
              <a:gd name="T6" fmla="*/ 0 w 12"/>
              <a:gd name="T7" fmla="*/ 36 h 42"/>
              <a:gd name="T8" fmla="*/ 6 w 12"/>
              <a:gd name="T9" fmla="*/ 42 h 42"/>
              <a:gd name="T10" fmla="*/ 12 w 12"/>
              <a:gd name="T11" fmla="*/ 36 h 42"/>
              <a:gd name="T12" fmla="*/ 12 w 12"/>
              <a:gd name="T13" fmla="*/ 5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42">
                <a:moveTo>
                  <a:pt x="12" y="5"/>
                </a:moveTo>
                <a:cubicBezTo>
                  <a:pt x="12" y="2"/>
                  <a:pt x="9" y="0"/>
                  <a:pt x="6" y="0"/>
                </a:cubicBezTo>
                <a:cubicBezTo>
                  <a:pt x="3" y="0"/>
                  <a:pt x="0" y="2"/>
                  <a:pt x="0" y="5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39"/>
                  <a:pt x="3" y="42"/>
                  <a:pt x="6" y="42"/>
                </a:cubicBezTo>
                <a:cubicBezTo>
                  <a:pt x="9" y="42"/>
                  <a:pt x="12" y="39"/>
                  <a:pt x="12" y="36"/>
                </a:cubicBezTo>
                <a:lnTo>
                  <a:pt x="12" y="5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" name="Freeform 1278">
            <a:extLst>
              <a:ext uri="{FF2B5EF4-FFF2-40B4-BE49-F238E27FC236}">
                <a16:creationId xmlns:a16="http://schemas.microsoft.com/office/drawing/2014/main" id="{AD454D0E-5465-401D-BAB5-F55900B8189D}"/>
              </a:ext>
            </a:extLst>
          </p:cNvPr>
          <p:cNvSpPr>
            <a:spLocks/>
          </p:cNvSpPr>
          <p:nvPr/>
        </p:nvSpPr>
        <p:spPr bwMode="auto">
          <a:xfrm>
            <a:off x="9320628" y="5859579"/>
            <a:ext cx="6262" cy="18784"/>
          </a:xfrm>
          <a:custGeom>
            <a:avLst/>
            <a:gdLst>
              <a:gd name="T0" fmla="*/ 12 w 12"/>
              <a:gd name="T1" fmla="*/ 5 h 38"/>
              <a:gd name="T2" fmla="*/ 6 w 12"/>
              <a:gd name="T3" fmla="*/ 0 h 38"/>
              <a:gd name="T4" fmla="*/ 0 w 12"/>
              <a:gd name="T5" fmla="*/ 5 h 38"/>
              <a:gd name="T6" fmla="*/ 0 w 12"/>
              <a:gd name="T7" fmla="*/ 32 h 38"/>
              <a:gd name="T8" fmla="*/ 6 w 12"/>
              <a:gd name="T9" fmla="*/ 38 h 38"/>
              <a:gd name="T10" fmla="*/ 12 w 12"/>
              <a:gd name="T11" fmla="*/ 32 h 38"/>
              <a:gd name="T12" fmla="*/ 12 w 12"/>
              <a:gd name="T13" fmla="*/ 5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38">
                <a:moveTo>
                  <a:pt x="12" y="5"/>
                </a:moveTo>
                <a:cubicBezTo>
                  <a:pt x="12" y="2"/>
                  <a:pt x="9" y="0"/>
                  <a:pt x="6" y="0"/>
                </a:cubicBezTo>
                <a:cubicBezTo>
                  <a:pt x="3" y="0"/>
                  <a:pt x="0" y="2"/>
                  <a:pt x="0" y="5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36"/>
                  <a:pt x="3" y="38"/>
                  <a:pt x="6" y="38"/>
                </a:cubicBezTo>
                <a:cubicBezTo>
                  <a:pt x="9" y="38"/>
                  <a:pt x="12" y="36"/>
                  <a:pt x="12" y="32"/>
                </a:cubicBezTo>
                <a:lnTo>
                  <a:pt x="12" y="5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" name="Freeform 1279">
            <a:extLst>
              <a:ext uri="{FF2B5EF4-FFF2-40B4-BE49-F238E27FC236}">
                <a16:creationId xmlns:a16="http://schemas.microsoft.com/office/drawing/2014/main" id="{1FAAB284-FFCF-4A3A-AA8B-E5D929DDD596}"/>
              </a:ext>
            </a:extLst>
          </p:cNvPr>
          <p:cNvSpPr>
            <a:spLocks/>
          </p:cNvSpPr>
          <p:nvPr/>
        </p:nvSpPr>
        <p:spPr bwMode="auto">
          <a:xfrm>
            <a:off x="9334403" y="5859579"/>
            <a:ext cx="6262" cy="18784"/>
          </a:xfrm>
          <a:custGeom>
            <a:avLst/>
            <a:gdLst>
              <a:gd name="T0" fmla="*/ 11 w 11"/>
              <a:gd name="T1" fmla="*/ 5 h 37"/>
              <a:gd name="T2" fmla="*/ 6 w 11"/>
              <a:gd name="T3" fmla="*/ 0 h 37"/>
              <a:gd name="T4" fmla="*/ 0 w 11"/>
              <a:gd name="T5" fmla="*/ 5 h 37"/>
              <a:gd name="T6" fmla="*/ 0 w 11"/>
              <a:gd name="T7" fmla="*/ 31 h 37"/>
              <a:gd name="T8" fmla="*/ 6 w 11"/>
              <a:gd name="T9" fmla="*/ 37 h 37"/>
              <a:gd name="T10" fmla="*/ 11 w 11"/>
              <a:gd name="T11" fmla="*/ 31 h 37"/>
              <a:gd name="T12" fmla="*/ 11 w 11"/>
              <a:gd name="T13" fmla="*/ 5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" h="37">
                <a:moveTo>
                  <a:pt x="11" y="5"/>
                </a:moveTo>
                <a:cubicBezTo>
                  <a:pt x="11" y="2"/>
                  <a:pt x="9" y="0"/>
                  <a:pt x="6" y="0"/>
                </a:cubicBezTo>
                <a:cubicBezTo>
                  <a:pt x="3" y="0"/>
                  <a:pt x="0" y="2"/>
                  <a:pt x="0" y="5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34"/>
                  <a:pt x="3" y="37"/>
                  <a:pt x="6" y="37"/>
                </a:cubicBezTo>
                <a:cubicBezTo>
                  <a:pt x="9" y="37"/>
                  <a:pt x="11" y="35"/>
                  <a:pt x="11" y="31"/>
                </a:cubicBezTo>
                <a:lnTo>
                  <a:pt x="11" y="5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6" name="Rectangle 1280">
            <a:extLst>
              <a:ext uri="{FF2B5EF4-FFF2-40B4-BE49-F238E27FC236}">
                <a16:creationId xmlns:a16="http://schemas.microsoft.com/office/drawing/2014/main" id="{61366E4C-CBA6-460F-8FEB-B8455B84CF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25101" y="6051171"/>
            <a:ext cx="47585" cy="52594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" name="Freeform 1281">
            <a:extLst>
              <a:ext uri="{FF2B5EF4-FFF2-40B4-BE49-F238E27FC236}">
                <a16:creationId xmlns:a16="http://schemas.microsoft.com/office/drawing/2014/main" id="{5E565E46-331B-496A-9276-F017881885A2}"/>
              </a:ext>
            </a:extLst>
          </p:cNvPr>
          <p:cNvSpPr>
            <a:spLocks/>
          </p:cNvSpPr>
          <p:nvPr/>
        </p:nvSpPr>
        <p:spPr bwMode="auto">
          <a:xfrm>
            <a:off x="9072685" y="6028631"/>
            <a:ext cx="159034" cy="43829"/>
          </a:xfrm>
          <a:custGeom>
            <a:avLst/>
            <a:gdLst>
              <a:gd name="T0" fmla="*/ 36 w 127"/>
              <a:gd name="T1" fmla="*/ 35 h 35"/>
              <a:gd name="T2" fmla="*/ 0 w 127"/>
              <a:gd name="T3" fmla="*/ 35 h 35"/>
              <a:gd name="T4" fmla="*/ 0 w 127"/>
              <a:gd name="T5" fmla="*/ 34 h 35"/>
              <a:gd name="T6" fmla="*/ 35 w 127"/>
              <a:gd name="T7" fmla="*/ 34 h 35"/>
              <a:gd name="T8" fmla="*/ 35 w 127"/>
              <a:gd name="T9" fmla="*/ 0 h 35"/>
              <a:gd name="T10" fmla="*/ 127 w 127"/>
              <a:gd name="T11" fmla="*/ 0 h 35"/>
              <a:gd name="T12" fmla="*/ 127 w 127"/>
              <a:gd name="T13" fmla="*/ 1 h 35"/>
              <a:gd name="T14" fmla="*/ 36 w 127"/>
              <a:gd name="T15" fmla="*/ 1 h 35"/>
              <a:gd name="T16" fmla="*/ 36 w 127"/>
              <a:gd name="T17" fmla="*/ 35 h 35"/>
              <a:gd name="T18" fmla="*/ 36 w 127"/>
              <a:gd name="T19" fmla="*/ 35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" h="35">
                <a:moveTo>
                  <a:pt x="36" y="35"/>
                </a:moveTo>
                <a:lnTo>
                  <a:pt x="0" y="35"/>
                </a:lnTo>
                <a:lnTo>
                  <a:pt x="0" y="34"/>
                </a:lnTo>
                <a:lnTo>
                  <a:pt x="35" y="34"/>
                </a:lnTo>
                <a:lnTo>
                  <a:pt x="35" y="0"/>
                </a:lnTo>
                <a:lnTo>
                  <a:pt x="127" y="0"/>
                </a:lnTo>
                <a:lnTo>
                  <a:pt x="127" y="1"/>
                </a:lnTo>
                <a:lnTo>
                  <a:pt x="36" y="1"/>
                </a:lnTo>
                <a:lnTo>
                  <a:pt x="36" y="35"/>
                </a:lnTo>
                <a:lnTo>
                  <a:pt x="36" y="35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" name="Freeform 1282">
            <a:extLst>
              <a:ext uri="{FF2B5EF4-FFF2-40B4-BE49-F238E27FC236}">
                <a16:creationId xmlns:a16="http://schemas.microsoft.com/office/drawing/2014/main" id="{943CB555-0E10-4594-BFA4-5A0C4547B090}"/>
              </a:ext>
            </a:extLst>
          </p:cNvPr>
          <p:cNvSpPr>
            <a:spLocks/>
          </p:cNvSpPr>
          <p:nvPr/>
        </p:nvSpPr>
        <p:spPr bwMode="auto">
          <a:xfrm>
            <a:off x="9072685" y="6032387"/>
            <a:ext cx="159034" cy="45080"/>
          </a:xfrm>
          <a:custGeom>
            <a:avLst/>
            <a:gdLst>
              <a:gd name="T0" fmla="*/ 39 w 127"/>
              <a:gd name="T1" fmla="*/ 36 h 36"/>
              <a:gd name="T2" fmla="*/ 0 w 127"/>
              <a:gd name="T3" fmla="*/ 36 h 36"/>
              <a:gd name="T4" fmla="*/ 0 w 127"/>
              <a:gd name="T5" fmla="*/ 35 h 36"/>
              <a:gd name="T6" fmla="*/ 38 w 127"/>
              <a:gd name="T7" fmla="*/ 35 h 36"/>
              <a:gd name="T8" fmla="*/ 38 w 127"/>
              <a:gd name="T9" fmla="*/ 0 h 36"/>
              <a:gd name="T10" fmla="*/ 127 w 127"/>
              <a:gd name="T11" fmla="*/ 0 h 36"/>
              <a:gd name="T12" fmla="*/ 127 w 127"/>
              <a:gd name="T13" fmla="*/ 1 h 36"/>
              <a:gd name="T14" fmla="*/ 39 w 127"/>
              <a:gd name="T15" fmla="*/ 1 h 36"/>
              <a:gd name="T16" fmla="*/ 39 w 127"/>
              <a:gd name="T17" fmla="*/ 36 h 36"/>
              <a:gd name="T18" fmla="*/ 39 w 127"/>
              <a:gd name="T19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" h="36">
                <a:moveTo>
                  <a:pt x="39" y="36"/>
                </a:moveTo>
                <a:lnTo>
                  <a:pt x="0" y="36"/>
                </a:lnTo>
                <a:lnTo>
                  <a:pt x="0" y="35"/>
                </a:lnTo>
                <a:lnTo>
                  <a:pt x="38" y="35"/>
                </a:lnTo>
                <a:lnTo>
                  <a:pt x="38" y="0"/>
                </a:lnTo>
                <a:lnTo>
                  <a:pt x="127" y="0"/>
                </a:lnTo>
                <a:lnTo>
                  <a:pt x="127" y="1"/>
                </a:lnTo>
                <a:lnTo>
                  <a:pt x="39" y="1"/>
                </a:lnTo>
                <a:lnTo>
                  <a:pt x="39" y="36"/>
                </a:lnTo>
                <a:lnTo>
                  <a:pt x="39" y="36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" name="Freeform 1283">
            <a:extLst>
              <a:ext uri="{FF2B5EF4-FFF2-40B4-BE49-F238E27FC236}">
                <a16:creationId xmlns:a16="http://schemas.microsoft.com/office/drawing/2014/main" id="{C51A5C23-6920-47DA-9C43-986A52A28E6B}"/>
              </a:ext>
            </a:extLst>
          </p:cNvPr>
          <p:cNvSpPr>
            <a:spLocks/>
          </p:cNvSpPr>
          <p:nvPr/>
        </p:nvSpPr>
        <p:spPr bwMode="auto">
          <a:xfrm>
            <a:off x="9072685" y="6037396"/>
            <a:ext cx="159034" cy="43829"/>
          </a:xfrm>
          <a:custGeom>
            <a:avLst/>
            <a:gdLst>
              <a:gd name="T0" fmla="*/ 42 w 127"/>
              <a:gd name="T1" fmla="*/ 35 h 35"/>
              <a:gd name="T2" fmla="*/ 0 w 127"/>
              <a:gd name="T3" fmla="*/ 35 h 35"/>
              <a:gd name="T4" fmla="*/ 0 w 127"/>
              <a:gd name="T5" fmla="*/ 34 h 35"/>
              <a:gd name="T6" fmla="*/ 41 w 127"/>
              <a:gd name="T7" fmla="*/ 34 h 35"/>
              <a:gd name="T8" fmla="*/ 41 w 127"/>
              <a:gd name="T9" fmla="*/ 0 h 35"/>
              <a:gd name="T10" fmla="*/ 127 w 127"/>
              <a:gd name="T11" fmla="*/ 0 h 35"/>
              <a:gd name="T12" fmla="*/ 127 w 127"/>
              <a:gd name="T13" fmla="*/ 0 h 35"/>
              <a:gd name="T14" fmla="*/ 42 w 127"/>
              <a:gd name="T15" fmla="*/ 0 h 35"/>
              <a:gd name="T16" fmla="*/ 42 w 127"/>
              <a:gd name="T17" fmla="*/ 35 h 35"/>
              <a:gd name="T18" fmla="*/ 42 w 127"/>
              <a:gd name="T19" fmla="*/ 35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" h="35">
                <a:moveTo>
                  <a:pt x="42" y="35"/>
                </a:moveTo>
                <a:lnTo>
                  <a:pt x="0" y="35"/>
                </a:lnTo>
                <a:lnTo>
                  <a:pt x="0" y="34"/>
                </a:lnTo>
                <a:lnTo>
                  <a:pt x="41" y="34"/>
                </a:lnTo>
                <a:lnTo>
                  <a:pt x="41" y="0"/>
                </a:lnTo>
                <a:lnTo>
                  <a:pt x="127" y="0"/>
                </a:lnTo>
                <a:lnTo>
                  <a:pt x="127" y="0"/>
                </a:lnTo>
                <a:lnTo>
                  <a:pt x="42" y="0"/>
                </a:lnTo>
                <a:lnTo>
                  <a:pt x="42" y="35"/>
                </a:lnTo>
                <a:lnTo>
                  <a:pt x="42" y="35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" name="Freeform 1284">
            <a:extLst>
              <a:ext uri="{FF2B5EF4-FFF2-40B4-BE49-F238E27FC236}">
                <a16:creationId xmlns:a16="http://schemas.microsoft.com/office/drawing/2014/main" id="{38382711-3162-4B16-84E2-8F43EC5BF3F5}"/>
              </a:ext>
            </a:extLst>
          </p:cNvPr>
          <p:cNvSpPr>
            <a:spLocks/>
          </p:cNvSpPr>
          <p:nvPr/>
        </p:nvSpPr>
        <p:spPr bwMode="auto">
          <a:xfrm>
            <a:off x="9072685" y="6041153"/>
            <a:ext cx="159034" cy="43829"/>
          </a:xfrm>
          <a:custGeom>
            <a:avLst/>
            <a:gdLst>
              <a:gd name="T0" fmla="*/ 45 w 127"/>
              <a:gd name="T1" fmla="*/ 35 h 35"/>
              <a:gd name="T2" fmla="*/ 0 w 127"/>
              <a:gd name="T3" fmla="*/ 35 h 35"/>
              <a:gd name="T4" fmla="*/ 0 w 127"/>
              <a:gd name="T5" fmla="*/ 34 h 35"/>
              <a:gd name="T6" fmla="*/ 45 w 127"/>
              <a:gd name="T7" fmla="*/ 34 h 35"/>
              <a:gd name="T8" fmla="*/ 45 w 127"/>
              <a:gd name="T9" fmla="*/ 0 h 35"/>
              <a:gd name="T10" fmla="*/ 127 w 127"/>
              <a:gd name="T11" fmla="*/ 0 h 35"/>
              <a:gd name="T12" fmla="*/ 127 w 127"/>
              <a:gd name="T13" fmla="*/ 0 h 35"/>
              <a:gd name="T14" fmla="*/ 45 w 127"/>
              <a:gd name="T15" fmla="*/ 0 h 35"/>
              <a:gd name="T16" fmla="*/ 45 w 127"/>
              <a:gd name="T17" fmla="*/ 35 h 35"/>
              <a:gd name="T18" fmla="*/ 45 w 127"/>
              <a:gd name="T19" fmla="*/ 35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" h="35">
                <a:moveTo>
                  <a:pt x="45" y="35"/>
                </a:moveTo>
                <a:lnTo>
                  <a:pt x="0" y="35"/>
                </a:lnTo>
                <a:lnTo>
                  <a:pt x="0" y="34"/>
                </a:lnTo>
                <a:lnTo>
                  <a:pt x="45" y="34"/>
                </a:lnTo>
                <a:lnTo>
                  <a:pt x="45" y="0"/>
                </a:lnTo>
                <a:lnTo>
                  <a:pt x="127" y="0"/>
                </a:lnTo>
                <a:lnTo>
                  <a:pt x="127" y="0"/>
                </a:lnTo>
                <a:lnTo>
                  <a:pt x="45" y="0"/>
                </a:lnTo>
                <a:lnTo>
                  <a:pt x="45" y="35"/>
                </a:lnTo>
                <a:lnTo>
                  <a:pt x="45" y="35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" name="Freeform 1285">
            <a:extLst>
              <a:ext uri="{FF2B5EF4-FFF2-40B4-BE49-F238E27FC236}">
                <a16:creationId xmlns:a16="http://schemas.microsoft.com/office/drawing/2014/main" id="{7F351955-74FE-4705-AD56-85F25BCEC7A6}"/>
              </a:ext>
            </a:extLst>
          </p:cNvPr>
          <p:cNvSpPr>
            <a:spLocks/>
          </p:cNvSpPr>
          <p:nvPr/>
        </p:nvSpPr>
        <p:spPr bwMode="auto">
          <a:xfrm>
            <a:off x="9072685" y="6044909"/>
            <a:ext cx="159034" cy="43829"/>
          </a:xfrm>
          <a:custGeom>
            <a:avLst/>
            <a:gdLst>
              <a:gd name="T0" fmla="*/ 49 w 127"/>
              <a:gd name="T1" fmla="*/ 35 h 35"/>
              <a:gd name="T2" fmla="*/ 0 w 127"/>
              <a:gd name="T3" fmla="*/ 35 h 35"/>
              <a:gd name="T4" fmla="*/ 0 w 127"/>
              <a:gd name="T5" fmla="*/ 34 h 35"/>
              <a:gd name="T6" fmla="*/ 48 w 127"/>
              <a:gd name="T7" fmla="*/ 34 h 35"/>
              <a:gd name="T8" fmla="*/ 48 w 127"/>
              <a:gd name="T9" fmla="*/ 0 h 35"/>
              <a:gd name="T10" fmla="*/ 127 w 127"/>
              <a:gd name="T11" fmla="*/ 0 h 35"/>
              <a:gd name="T12" fmla="*/ 127 w 127"/>
              <a:gd name="T13" fmla="*/ 1 h 35"/>
              <a:gd name="T14" fmla="*/ 49 w 127"/>
              <a:gd name="T15" fmla="*/ 1 h 35"/>
              <a:gd name="T16" fmla="*/ 49 w 127"/>
              <a:gd name="T17" fmla="*/ 35 h 35"/>
              <a:gd name="T18" fmla="*/ 49 w 127"/>
              <a:gd name="T19" fmla="*/ 35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" h="35">
                <a:moveTo>
                  <a:pt x="49" y="35"/>
                </a:moveTo>
                <a:lnTo>
                  <a:pt x="0" y="35"/>
                </a:lnTo>
                <a:lnTo>
                  <a:pt x="0" y="34"/>
                </a:lnTo>
                <a:lnTo>
                  <a:pt x="48" y="34"/>
                </a:lnTo>
                <a:lnTo>
                  <a:pt x="48" y="0"/>
                </a:lnTo>
                <a:lnTo>
                  <a:pt x="127" y="0"/>
                </a:lnTo>
                <a:lnTo>
                  <a:pt x="127" y="1"/>
                </a:lnTo>
                <a:lnTo>
                  <a:pt x="49" y="1"/>
                </a:lnTo>
                <a:lnTo>
                  <a:pt x="49" y="35"/>
                </a:lnTo>
                <a:lnTo>
                  <a:pt x="49" y="35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" name="Rectangle 1286">
            <a:extLst>
              <a:ext uri="{FF2B5EF4-FFF2-40B4-BE49-F238E27FC236}">
                <a16:creationId xmlns:a16="http://schemas.microsoft.com/office/drawing/2014/main" id="{61F76CDE-5B2B-45B6-A244-3D26D5D451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27962" y="5997325"/>
            <a:ext cx="46333" cy="10644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" name="Oval 1287">
            <a:extLst>
              <a:ext uri="{FF2B5EF4-FFF2-40B4-BE49-F238E27FC236}">
                <a16:creationId xmlns:a16="http://schemas.microsoft.com/office/drawing/2014/main" id="{EBB1560E-4164-47EC-B568-CFAB5A32EE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3436" y="5923443"/>
            <a:ext cx="10018" cy="1127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" name="Oval 1288">
            <a:extLst>
              <a:ext uri="{FF2B5EF4-FFF2-40B4-BE49-F238E27FC236}">
                <a16:creationId xmlns:a16="http://schemas.microsoft.com/office/drawing/2014/main" id="{72EA565D-EA35-48C2-B0D2-8818A1A861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77157" y="5923443"/>
            <a:ext cx="11270" cy="1127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" name="Oval 1289">
            <a:extLst>
              <a:ext uri="{FF2B5EF4-FFF2-40B4-BE49-F238E27FC236}">
                <a16:creationId xmlns:a16="http://schemas.microsoft.com/office/drawing/2014/main" id="{D63F41CA-2FF8-4ABB-950E-C6AD271F54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60878" y="5923443"/>
            <a:ext cx="11270" cy="1127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" name="Oval 1290">
            <a:extLst>
              <a:ext uri="{FF2B5EF4-FFF2-40B4-BE49-F238E27FC236}">
                <a16:creationId xmlns:a16="http://schemas.microsoft.com/office/drawing/2014/main" id="{1B8B10D3-17F0-40FD-9742-9696854DD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4599" y="5923443"/>
            <a:ext cx="11270" cy="1127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7" name="Oval 1291">
            <a:extLst>
              <a:ext uri="{FF2B5EF4-FFF2-40B4-BE49-F238E27FC236}">
                <a16:creationId xmlns:a16="http://schemas.microsoft.com/office/drawing/2014/main" id="{32915DF4-21AF-406C-945E-BBD0A9A979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28320" y="5923443"/>
            <a:ext cx="11270" cy="1127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" name="Freeform 1292">
            <a:extLst>
              <a:ext uri="{FF2B5EF4-FFF2-40B4-BE49-F238E27FC236}">
                <a16:creationId xmlns:a16="http://schemas.microsoft.com/office/drawing/2014/main" id="{0AB0A2BB-855B-404E-8AD8-A7A2F0620BC8}"/>
              </a:ext>
            </a:extLst>
          </p:cNvPr>
          <p:cNvSpPr>
            <a:spLocks/>
          </p:cNvSpPr>
          <p:nvPr/>
        </p:nvSpPr>
        <p:spPr bwMode="auto">
          <a:xfrm>
            <a:off x="10779480" y="6406805"/>
            <a:ext cx="61360" cy="95170"/>
          </a:xfrm>
          <a:custGeom>
            <a:avLst/>
            <a:gdLst>
              <a:gd name="T0" fmla="*/ 49 w 49"/>
              <a:gd name="T1" fmla="*/ 76 h 76"/>
              <a:gd name="T2" fmla="*/ 0 w 49"/>
              <a:gd name="T3" fmla="*/ 76 h 76"/>
              <a:gd name="T4" fmla="*/ 19 w 49"/>
              <a:gd name="T5" fmla="*/ 0 h 76"/>
              <a:gd name="T6" fmla="*/ 49 w 49"/>
              <a:gd name="T7" fmla="*/ 0 h 76"/>
              <a:gd name="T8" fmla="*/ 49 w 49"/>
              <a:gd name="T9" fmla="*/ 7 h 76"/>
              <a:gd name="T10" fmla="*/ 41 w 49"/>
              <a:gd name="T11" fmla="*/ 7 h 76"/>
              <a:gd name="T12" fmla="*/ 24 w 49"/>
              <a:gd name="T13" fmla="*/ 69 h 76"/>
              <a:gd name="T14" fmla="*/ 49 w 49"/>
              <a:gd name="T15" fmla="*/ 69 h 76"/>
              <a:gd name="T16" fmla="*/ 49 w 49"/>
              <a:gd name="T17" fmla="*/ 76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9" h="76">
                <a:moveTo>
                  <a:pt x="49" y="76"/>
                </a:moveTo>
                <a:lnTo>
                  <a:pt x="0" y="76"/>
                </a:lnTo>
                <a:lnTo>
                  <a:pt x="19" y="0"/>
                </a:lnTo>
                <a:lnTo>
                  <a:pt x="49" y="0"/>
                </a:lnTo>
                <a:lnTo>
                  <a:pt x="49" y="7"/>
                </a:lnTo>
                <a:lnTo>
                  <a:pt x="41" y="7"/>
                </a:lnTo>
                <a:lnTo>
                  <a:pt x="24" y="69"/>
                </a:lnTo>
                <a:lnTo>
                  <a:pt x="49" y="69"/>
                </a:lnTo>
                <a:lnTo>
                  <a:pt x="49" y="76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9" name="Rectangle 1293">
            <a:extLst>
              <a:ext uri="{FF2B5EF4-FFF2-40B4-BE49-F238E27FC236}">
                <a16:creationId xmlns:a16="http://schemas.microsoft.com/office/drawing/2014/main" id="{BEC651C4-70FC-444F-BC68-DB1C2960AE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73219" y="6320401"/>
            <a:ext cx="118963" cy="154025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" name="Freeform 1294">
            <a:extLst>
              <a:ext uri="{FF2B5EF4-FFF2-40B4-BE49-F238E27FC236}">
                <a16:creationId xmlns:a16="http://schemas.microsoft.com/office/drawing/2014/main" id="{D627B49E-9430-496B-9639-82298E6580C0}"/>
              </a:ext>
            </a:extLst>
          </p:cNvPr>
          <p:cNvSpPr>
            <a:spLocks/>
          </p:cNvSpPr>
          <p:nvPr/>
        </p:nvSpPr>
        <p:spPr bwMode="auto">
          <a:xfrm>
            <a:off x="10761949" y="6320401"/>
            <a:ext cx="11270" cy="154025"/>
          </a:xfrm>
          <a:custGeom>
            <a:avLst/>
            <a:gdLst>
              <a:gd name="T0" fmla="*/ 0 w 9"/>
              <a:gd name="T1" fmla="*/ 119 h 123"/>
              <a:gd name="T2" fmla="*/ 9 w 9"/>
              <a:gd name="T3" fmla="*/ 123 h 123"/>
              <a:gd name="T4" fmla="*/ 9 w 9"/>
              <a:gd name="T5" fmla="*/ 0 h 123"/>
              <a:gd name="T6" fmla="*/ 0 w 9"/>
              <a:gd name="T7" fmla="*/ 3 h 123"/>
              <a:gd name="T8" fmla="*/ 0 w 9"/>
              <a:gd name="T9" fmla="*/ 119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123">
                <a:moveTo>
                  <a:pt x="0" y="119"/>
                </a:moveTo>
                <a:lnTo>
                  <a:pt x="9" y="123"/>
                </a:lnTo>
                <a:lnTo>
                  <a:pt x="9" y="0"/>
                </a:lnTo>
                <a:lnTo>
                  <a:pt x="0" y="3"/>
                </a:lnTo>
                <a:lnTo>
                  <a:pt x="0" y="119"/>
                </a:ln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" name="Rectangle 1295">
            <a:extLst>
              <a:ext uri="{FF2B5EF4-FFF2-40B4-BE49-F238E27FC236}">
                <a16:creationId xmlns:a16="http://schemas.microsoft.com/office/drawing/2014/main" id="{2EEF9C82-80FB-413A-89E4-CA37F101EC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86994" y="6335428"/>
            <a:ext cx="91413" cy="11896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2" name="Rectangle 1296">
            <a:extLst>
              <a:ext uri="{FF2B5EF4-FFF2-40B4-BE49-F238E27FC236}">
                <a16:creationId xmlns:a16="http://schemas.microsoft.com/office/drawing/2014/main" id="{295FC08A-B5E4-4D0D-9279-0C6AF9A796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97012" y="6347950"/>
            <a:ext cx="70125" cy="626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3" name="Rectangle 1297">
            <a:extLst>
              <a:ext uri="{FF2B5EF4-FFF2-40B4-BE49-F238E27FC236}">
                <a16:creationId xmlns:a16="http://schemas.microsoft.com/office/drawing/2014/main" id="{F0B71154-FEEF-4074-A4B6-49859AE12A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97012" y="6361725"/>
            <a:ext cx="35063" cy="626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4" name="Rectangle 1298">
            <a:extLst>
              <a:ext uri="{FF2B5EF4-FFF2-40B4-BE49-F238E27FC236}">
                <a16:creationId xmlns:a16="http://schemas.microsoft.com/office/drawing/2014/main" id="{91095272-B612-40BB-B85C-3E8C989A76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97012" y="6375499"/>
            <a:ext cx="47585" cy="626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" name="Rectangle 1299">
            <a:extLst>
              <a:ext uri="{FF2B5EF4-FFF2-40B4-BE49-F238E27FC236}">
                <a16:creationId xmlns:a16="http://schemas.microsoft.com/office/drawing/2014/main" id="{1094D302-9D1E-4EA9-B478-8B8C9E8B3A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97012" y="6389274"/>
            <a:ext cx="61360" cy="626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6" name="Rectangle 1300">
            <a:extLst>
              <a:ext uri="{FF2B5EF4-FFF2-40B4-BE49-F238E27FC236}">
                <a16:creationId xmlns:a16="http://schemas.microsoft.com/office/drawing/2014/main" id="{23CC44BC-A4B8-4D60-83DF-ABC551D25C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97012" y="6403048"/>
            <a:ext cx="53846" cy="626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7" name="Rectangle 1301">
            <a:extLst>
              <a:ext uri="{FF2B5EF4-FFF2-40B4-BE49-F238E27FC236}">
                <a16:creationId xmlns:a16="http://schemas.microsoft.com/office/drawing/2014/main" id="{BF21C4B7-30FB-40CD-B155-D9112FAAAD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97012" y="6416823"/>
            <a:ext cx="36315" cy="626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Rectangle 1302">
            <a:extLst>
              <a:ext uri="{FF2B5EF4-FFF2-40B4-BE49-F238E27FC236}">
                <a16:creationId xmlns:a16="http://schemas.microsoft.com/office/drawing/2014/main" id="{9E3AC3BB-7CA7-468E-AA91-054669AC09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97012" y="6430597"/>
            <a:ext cx="67621" cy="6262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9" name="Rectangle 1303">
            <a:extLst>
              <a:ext uri="{FF2B5EF4-FFF2-40B4-BE49-F238E27FC236}">
                <a16:creationId xmlns:a16="http://schemas.microsoft.com/office/drawing/2014/main" id="{BA1879AC-0CD0-49B1-90AE-6C9E95B842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06315" y="6501975"/>
            <a:ext cx="557244" cy="11270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0" name="Rectangle 1304">
            <a:extLst>
              <a:ext uri="{FF2B5EF4-FFF2-40B4-BE49-F238E27FC236}">
                <a16:creationId xmlns:a16="http://schemas.microsoft.com/office/drawing/2014/main" id="{BE651A5E-5D3D-40E2-A571-5F959D643D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06315" y="6513245"/>
            <a:ext cx="186583" cy="192844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Rectangle 1305">
            <a:extLst>
              <a:ext uri="{FF2B5EF4-FFF2-40B4-BE49-F238E27FC236}">
                <a16:creationId xmlns:a16="http://schemas.microsoft.com/office/drawing/2014/main" id="{B94465EF-4C76-44C0-8350-996A6A1650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92003" y="6513245"/>
            <a:ext cx="170304" cy="192844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2" name="Freeform 1306">
            <a:extLst>
              <a:ext uri="{FF2B5EF4-FFF2-40B4-BE49-F238E27FC236}">
                <a16:creationId xmlns:a16="http://schemas.microsoft.com/office/drawing/2014/main" id="{B9467B4B-24E7-472F-9549-881B03F07C8C}"/>
              </a:ext>
            </a:extLst>
          </p:cNvPr>
          <p:cNvSpPr>
            <a:spLocks/>
          </p:cNvSpPr>
          <p:nvPr/>
        </p:nvSpPr>
        <p:spPr bwMode="auto">
          <a:xfrm>
            <a:off x="10678049" y="6396787"/>
            <a:ext cx="20036" cy="18784"/>
          </a:xfrm>
          <a:custGeom>
            <a:avLst/>
            <a:gdLst>
              <a:gd name="T0" fmla="*/ 9 w 40"/>
              <a:gd name="T1" fmla="*/ 33 h 36"/>
              <a:gd name="T2" fmla="*/ 15 w 40"/>
              <a:gd name="T3" fmla="*/ 34 h 36"/>
              <a:gd name="T4" fmla="*/ 37 w 40"/>
              <a:gd name="T5" fmla="*/ 20 h 36"/>
              <a:gd name="T6" fmla="*/ 39 w 40"/>
              <a:gd name="T7" fmla="*/ 13 h 36"/>
              <a:gd name="T8" fmla="*/ 31 w 40"/>
              <a:gd name="T9" fmla="*/ 2 h 36"/>
              <a:gd name="T10" fmla="*/ 25 w 40"/>
              <a:gd name="T11" fmla="*/ 1 h 36"/>
              <a:gd name="T12" fmla="*/ 3 w 40"/>
              <a:gd name="T13" fmla="*/ 16 h 36"/>
              <a:gd name="T14" fmla="*/ 2 w 40"/>
              <a:gd name="T15" fmla="*/ 22 h 36"/>
              <a:gd name="T16" fmla="*/ 9 w 40"/>
              <a:gd name="T17" fmla="*/ 33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" h="36">
                <a:moveTo>
                  <a:pt x="9" y="33"/>
                </a:moveTo>
                <a:cubicBezTo>
                  <a:pt x="11" y="35"/>
                  <a:pt x="13" y="36"/>
                  <a:pt x="15" y="34"/>
                </a:cubicBezTo>
                <a:cubicBezTo>
                  <a:pt x="37" y="20"/>
                  <a:pt x="37" y="20"/>
                  <a:pt x="37" y="20"/>
                </a:cubicBezTo>
                <a:cubicBezTo>
                  <a:pt x="39" y="18"/>
                  <a:pt x="40" y="16"/>
                  <a:pt x="39" y="13"/>
                </a:cubicBezTo>
                <a:cubicBezTo>
                  <a:pt x="31" y="2"/>
                  <a:pt x="31" y="2"/>
                  <a:pt x="31" y="2"/>
                </a:cubicBezTo>
                <a:cubicBezTo>
                  <a:pt x="30" y="0"/>
                  <a:pt x="27" y="0"/>
                  <a:pt x="25" y="1"/>
                </a:cubicBezTo>
                <a:cubicBezTo>
                  <a:pt x="3" y="16"/>
                  <a:pt x="3" y="16"/>
                  <a:pt x="3" y="16"/>
                </a:cubicBezTo>
                <a:cubicBezTo>
                  <a:pt x="1" y="17"/>
                  <a:pt x="0" y="20"/>
                  <a:pt x="2" y="22"/>
                </a:cubicBezTo>
                <a:lnTo>
                  <a:pt x="9" y="33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307">
            <a:extLst>
              <a:ext uri="{FF2B5EF4-FFF2-40B4-BE49-F238E27FC236}">
                <a16:creationId xmlns:a16="http://schemas.microsoft.com/office/drawing/2014/main" id="{D327C966-ECBD-4C06-AF1D-66EA711834D7}"/>
              </a:ext>
            </a:extLst>
          </p:cNvPr>
          <p:cNvSpPr>
            <a:spLocks/>
          </p:cNvSpPr>
          <p:nvPr/>
        </p:nvSpPr>
        <p:spPr bwMode="auto">
          <a:xfrm>
            <a:off x="10683058" y="6394283"/>
            <a:ext cx="7513" cy="10018"/>
          </a:xfrm>
          <a:custGeom>
            <a:avLst/>
            <a:gdLst>
              <a:gd name="T0" fmla="*/ 14 w 15"/>
              <a:gd name="T1" fmla="*/ 10 h 18"/>
              <a:gd name="T2" fmla="*/ 12 w 15"/>
              <a:gd name="T3" fmla="*/ 16 h 18"/>
              <a:gd name="T4" fmla="*/ 6 w 15"/>
              <a:gd name="T5" fmla="*/ 15 h 18"/>
              <a:gd name="T6" fmla="*/ 1 w 15"/>
              <a:gd name="T7" fmla="*/ 8 h 18"/>
              <a:gd name="T8" fmla="*/ 3 w 15"/>
              <a:gd name="T9" fmla="*/ 1 h 18"/>
              <a:gd name="T10" fmla="*/ 3 w 15"/>
              <a:gd name="T11" fmla="*/ 1 h 18"/>
              <a:gd name="T12" fmla="*/ 9 w 15"/>
              <a:gd name="T13" fmla="*/ 3 h 18"/>
              <a:gd name="T14" fmla="*/ 14 w 15"/>
              <a:gd name="T15" fmla="*/ 1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18">
                <a:moveTo>
                  <a:pt x="14" y="10"/>
                </a:moveTo>
                <a:cubicBezTo>
                  <a:pt x="15" y="12"/>
                  <a:pt x="14" y="15"/>
                  <a:pt x="12" y="16"/>
                </a:cubicBezTo>
                <a:cubicBezTo>
                  <a:pt x="10" y="18"/>
                  <a:pt x="8" y="17"/>
                  <a:pt x="6" y="15"/>
                </a:cubicBezTo>
                <a:cubicBezTo>
                  <a:pt x="1" y="8"/>
                  <a:pt x="1" y="8"/>
                  <a:pt x="1" y="8"/>
                </a:cubicBezTo>
                <a:cubicBezTo>
                  <a:pt x="0" y="5"/>
                  <a:pt x="1" y="3"/>
                  <a:pt x="3" y="1"/>
                </a:cubicBezTo>
                <a:cubicBezTo>
                  <a:pt x="3" y="1"/>
                  <a:pt x="3" y="1"/>
                  <a:pt x="3" y="1"/>
                </a:cubicBezTo>
                <a:cubicBezTo>
                  <a:pt x="5" y="0"/>
                  <a:pt x="7" y="1"/>
                  <a:pt x="9" y="3"/>
                </a:cubicBezTo>
                <a:lnTo>
                  <a:pt x="14" y="10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" name="Freeform 1308">
            <a:extLst>
              <a:ext uri="{FF2B5EF4-FFF2-40B4-BE49-F238E27FC236}">
                <a16:creationId xmlns:a16="http://schemas.microsoft.com/office/drawing/2014/main" id="{FE88F314-95E2-4D10-9336-1795756FE58E}"/>
              </a:ext>
            </a:extLst>
          </p:cNvPr>
          <p:cNvSpPr>
            <a:spLocks/>
          </p:cNvSpPr>
          <p:nvPr/>
        </p:nvSpPr>
        <p:spPr bwMode="auto">
          <a:xfrm>
            <a:off x="10686815" y="6391779"/>
            <a:ext cx="7513" cy="10018"/>
          </a:xfrm>
          <a:custGeom>
            <a:avLst/>
            <a:gdLst>
              <a:gd name="T0" fmla="*/ 14 w 15"/>
              <a:gd name="T1" fmla="*/ 10 h 18"/>
              <a:gd name="T2" fmla="*/ 13 w 15"/>
              <a:gd name="T3" fmla="*/ 16 h 18"/>
              <a:gd name="T4" fmla="*/ 7 w 15"/>
              <a:gd name="T5" fmla="*/ 15 h 18"/>
              <a:gd name="T6" fmla="*/ 2 w 15"/>
              <a:gd name="T7" fmla="*/ 8 h 18"/>
              <a:gd name="T8" fmla="*/ 3 w 15"/>
              <a:gd name="T9" fmla="*/ 1 h 18"/>
              <a:gd name="T10" fmla="*/ 3 w 15"/>
              <a:gd name="T11" fmla="*/ 1 h 18"/>
              <a:gd name="T12" fmla="*/ 9 w 15"/>
              <a:gd name="T13" fmla="*/ 3 h 18"/>
              <a:gd name="T14" fmla="*/ 14 w 15"/>
              <a:gd name="T15" fmla="*/ 1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18">
                <a:moveTo>
                  <a:pt x="14" y="10"/>
                </a:moveTo>
                <a:cubicBezTo>
                  <a:pt x="15" y="12"/>
                  <a:pt x="15" y="15"/>
                  <a:pt x="13" y="16"/>
                </a:cubicBezTo>
                <a:cubicBezTo>
                  <a:pt x="11" y="18"/>
                  <a:pt x="8" y="17"/>
                  <a:pt x="7" y="15"/>
                </a:cubicBezTo>
                <a:cubicBezTo>
                  <a:pt x="2" y="8"/>
                  <a:pt x="2" y="8"/>
                  <a:pt x="2" y="8"/>
                </a:cubicBezTo>
                <a:cubicBezTo>
                  <a:pt x="0" y="6"/>
                  <a:pt x="1" y="3"/>
                  <a:pt x="3" y="1"/>
                </a:cubicBezTo>
                <a:cubicBezTo>
                  <a:pt x="3" y="1"/>
                  <a:pt x="3" y="1"/>
                  <a:pt x="3" y="1"/>
                </a:cubicBezTo>
                <a:cubicBezTo>
                  <a:pt x="5" y="0"/>
                  <a:pt x="8" y="1"/>
                  <a:pt x="9" y="3"/>
                </a:cubicBezTo>
                <a:lnTo>
                  <a:pt x="14" y="10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" name="Freeform 1309">
            <a:extLst>
              <a:ext uri="{FF2B5EF4-FFF2-40B4-BE49-F238E27FC236}">
                <a16:creationId xmlns:a16="http://schemas.microsoft.com/office/drawing/2014/main" id="{ECFB24FB-D956-45FA-AFB2-41257CF9CEF6}"/>
              </a:ext>
            </a:extLst>
          </p:cNvPr>
          <p:cNvSpPr>
            <a:spLocks/>
          </p:cNvSpPr>
          <p:nvPr/>
        </p:nvSpPr>
        <p:spPr bwMode="auto">
          <a:xfrm>
            <a:off x="10679302" y="6396787"/>
            <a:ext cx="7513" cy="10018"/>
          </a:xfrm>
          <a:custGeom>
            <a:avLst/>
            <a:gdLst>
              <a:gd name="T0" fmla="*/ 12 w 15"/>
              <a:gd name="T1" fmla="*/ 16 h 17"/>
              <a:gd name="T2" fmla="*/ 6 w 15"/>
              <a:gd name="T3" fmla="*/ 15 h 17"/>
              <a:gd name="T4" fmla="*/ 1 w 15"/>
              <a:gd name="T5" fmla="*/ 7 h 17"/>
              <a:gd name="T6" fmla="*/ 2 w 15"/>
              <a:gd name="T7" fmla="*/ 1 h 17"/>
              <a:gd name="T8" fmla="*/ 2 w 15"/>
              <a:gd name="T9" fmla="*/ 1 h 17"/>
              <a:gd name="T10" fmla="*/ 8 w 15"/>
              <a:gd name="T11" fmla="*/ 3 h 17"/>
              <a:gd name="T12" fmla="*/ 13 w 15"/>
              <a:gd name="T13" fmla="*/ 10 h 17"/>
              <a:gd name="T14" fmla="*/ 12 w 15"/>
              <a:gd name="T15" fmla="*/ 16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17">
                <a:moveTo>
                  <a:pt x="12" y="16"/>
                </a:moveTo>
                <a:cubicBezTo>
                  <a:pt x="10" y="17"/>
                  <a:pt x="7" y="17"/>
                  <a:pt x="6" y="15"/>
                </a:cubicBezTo>
                <a:cubicBezTo>
                  <a:pt x="1" y="7"/>
                  <a:pt x="1" y="7"/>
                  <a:pt x="1" y="7"/>
                </a:cubicBezTo>
                <a:cubicBezTo>
                  <a:pt x="0" y="5"/>
                  <a:pt x="0" y="3"/>
                  <a:pt x="2" y="1"/>
                </a:cubicBezTo>
                <a:cubicBezTo>
                  <a:pt x="2" y="1"/>
                  <a:pt x="2" y="1"/>
                  <a:pt x="2" y="1"/>
                </a:cubicBezTo>
                <a:cubicBezTo>
                  <a:pt x="4" y="0"/>
                  <a:pt x="7" y="0"/>
                  <a:pt x="8" y="3"/>
                </a:cubicBezTo>
                <a:cubicBezTo>
                  <a:pt x="13" y="10"/>
                  <a:pt x="13" y="10"/>
                  <a:pt x="13" y="10"/>
                </a:cubicBezTo>
                <a:cubicBezTo>
                  <a:pt x="15" y="12"/>
                  <a:pt x="14" y="15"/>
                  <a:pt x="12" y="16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6" name="Freeform 1310">
            <a:extLst>
              <a:ext uri="{FF2B5EF4-FFF2-40B4-BE49-F238E27FC236}">
                <a16:creationId xmlns:a16="http://schemas.microsoft.com/office/drawing/2014/main" id="{2A5B366D-D9EB-4388-84DC-D1AA70906FE2}"/>
              </a:ext>
            </a:extLst>
          </p:cNvPr>
          <p:cNvSpPr>
            <a:spLocks/>
          </p:cNvSpPr>
          <p:nvPr/>
        </p:nvSpPr>
        <p:spPr bwMode="auto">
          <a:xfrm>
            <a:off x="10675545" y="6400544"/>
            <a:ext cx="7513" cy="8766"/>
          </a:xfrm>
          <a:custGeom>
            <a:avLst/>
            <a:gdLst>
              <a:gd name="T0" fmla="*/ 14 w 15"/>
              <a:gd name="T1" fmla="*/ 10 h 17"/>
              <a:gd name="T2" fmla="*/ 13 w 15"/>
              <a:gd name="T3" fmla="*/ 16 h 17"/>
              <a:gd name="T4" fmla="*/ 7 w 15"/>
              <a:gd name="T5" fmla="*/ 15 h 17"/>
              <a:gd name="T6" fmla="*/ 2 w 15"/>
              <a:gd name="T7" fmla="*/ 7 h 17"/>
              <a:gd name="T8" fmla="*/ 3 w 15"/>
              <a:gd name="T9" fmla="*/ 1 h 17"/>
              <a:gd name="T10" fmla="*/ 9 w 15"/>
              <a:gd name="T11" fmla="*/ 2 h 17"/>
              <a:gd name="T12" fmla="*/ 14 w 15"/>
              <a:gd name="T13" fmla="*/ 1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" h="17">
                <a:moveTo>
                  <a:pt x="14" y="10"/>
                </a:moveTo>
                <a:cubicBezTo>
                  <a:pt x="15" y="12"/>
                  <a:pt x="15" y="15"/>
                  <a:pt x="13" y="16"/>
                </a:cubicBezTo>
                <a:cubicBezTo>
                  <a:pt x="11" y="17"/>
                  <a:pt x="8" y="17"/>
                  <a:pt x="7" y="15"/>
                </a:cubicBezTo>
                <a:cubicBezTo>
                  <a:pt x="2" y="7"/>
                  <a:pt x="2" y="7"/>
                  <a:pt x="2" y="7"/>
                </a:cubicBezTo>
                <a:cubicBezTo>
                  <a:pt x="0" y="5"/>
                  <a:pt x="1" y="3"/>
                  <a:pt x="3" y="1"/>
                </a:cubicBezTo>
                <a:cubicBezTo>
                  <a:pt x="5" y="0"/>
                  <a:pt x="8" y="0"/>
                  <a:pt x="9" y="2"/>
                </a:cubicBezTo>
                <a:lnTo>
                  <a:pt x="14" y="10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7" name="Freeform 1311">
            <a:extLst>
              <a:ext uri="{FF2B5EF4-FFF2-40B4-BE49-F238E27FC236}">
                <a16:creationId xmlns:a16="http://schemas.microsoft.com/office/drawing/2014/main" id="{7ED43989-16FD-45A2-82AA-43CB699D36C6}"/>
              </a:ext>
            </a:extLst>
          </p:cNvPr>
          <p:cNvSpPr>
            <a:spLocks/>
          </p:cNvSpPr>
          <p:nvPr/>
        </p:nvSpPr>
        <p:spPr bwMode="auto">
          <a:xfrm>
            <a:off x="10693076" y="6394283"/>
            <a:ext cx="6262" cy="12522"/>
          </a:xfrm>
          <a:custGeom>
            <a:avLst/>
            <a:gdLst>
              <a:gd name="T0" fmla="*/ 4 w 13"/>
              <a:gd name="T1" fmla="*/ 23 h 24"/>
              <a:gd name="T2" fmla="*/ 1 w 13"/>
              <a:gd name="T3" fmla="*/ 18 h 24"/>
              <a:gd name="T4" fmla="*/ 3 w 13"/>
              <a:gd name="T5" fmla="*/ 4 h 24"/>
              <a:gd name="T6" fmla="*/ 9 w 13"/>
              <a:gd name="T7" fmla="*/ 1 h 24"/>
              <a:gd name="T8" fmla="*/ 9 w 13"/>
              <a:gd name="T9" fmla="*/ 1 h 24"/>
              <a:gd name="T10" fmla="*/ 12 w 13"/>
              <a:gd name="T11" fmla="*/ 6 h 24"/>
              <a:gd name="T12" fmla="*/ 9 w 13"/>
              <a:gd name="T13" fmla="*/ 20 h 24"/>
              <a:gd name="T14" fmla="*/ 4 w 13"/>
              <a:gd name="T15" fmla="*/ 23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24">
                <a:moveTo>
                  <a:pt x="4" y="23"/>
                </a:moveTo>
                <a:cubicBezTo>
                  <a:pt x="2" y="23"/>
                  <a:pt x="0" y="21"/>
                  <a:pt x="1" y="18"/>
                </a:cubicBezTo>
                <a:cubicBezTo>
                  <a:pt x="3" y="4"/>
                  <a:pt x="3" y="4"/>
                  <a:pt x="3" y="4"/>
                </a:cubicBezTo>
                <a:cubicBezTo>
                  <a:pt x="4" y="2"/>
                  <a:pt x="6" y="0"/>
                  <a:pt x="9" y="1"/>
                </a:cubicBezTo>
                <a:cubicBezTo>
                  <a:pt x="9" y="1"/>
                  <a:pt x="9" y="1"/>
                  <a:pt x="9" y="1"/>
                </a:cubicBezTo>
                <a:cubicBezTo>
                  <a:pt x="11" y="1"/>
                  <a:pt x="13" y="3"/>
                  <a:pt x="12" y="6"/>
                </a:cubicBezTo>
                <a:cubicBezTo>
                  <a:pt x="9" y="20"/>
                  <a:pt x="9" y="20"/>
                  <a:pt x="9" y="20"/>
                </a:cubicBezTo>
                <a:cubicBezTo>
                  <a:pt x="9" y="22"/>
                  <a:pt x="6" y="24"/>
                  <a:pt x="4" y="23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8" name="Freeform 1312">
            <a:extLst>
              <a:ext uri="{FF2B5EF4-FFF2-40B4-BE49-F238E27FC236}">
                <a16:creationId xmlns:a16="http://schemas.microsoft.com/office/drawing/2014/main" id="{79EB7126-47E3-452E-BFE9-E2E36C7DED72}"/>
              </a:ext>
            </a:extLst>
          </p:cNvPr>
          <p:cNvSpPr>
            <a:spLocks/>
          </p:cNvSpPr>
          <p:nvPr/>
        </p:nvSpPr>
        <p:spPr bwMode="auto">
          <a:xfrm>
            <a:off x="10685562" y="6369238"/>
            <a:ext cx="121467" cy="169052"/>
          </a:xfrm>
          <a:custGeom>
            <a:avLst/>
            <a:gdLst>
              <a:gd name="T0" fmla="*/ 210 w 234"/>
              <a:gd name="T1" fmla="*/ 51 h 325"/>
              <a:gd name="T2" fmla="*/ 129 w 234"/>
              <a:gd name="T3" fmla="*/ 57 h 325"/>
              <a:gd name="T4" fmla="*/ 27 w 234"/>
              <a:gd name="T5" fmla="*/ 74 h 325"/>
              <a:gd name="T6" fmla="*/ 0 w 234"/>
              <a:gd name="T7" fmla="*/ 92 h 325"/>
              <a:gd name="T8" fmla="*/ 210 w 234"/>
              <a:gd name="T9" fmla="*/ 51 h 3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4" h="325">
                <a:moveTo>
                  <a:pt x="210" y="51"/>
                </a:moveTo>
                <a:cubicBezTo>
                  <a:pt x="203" y="0"/>
                  <a:pt x="125" y="13"/>
                  <a:pt x="129" y="57"/>
                </a:cubicBezTo>
                <a:cubicBezTo>
                  <a:pt x="142" y="209"/>
                  <a:pt x="88" y="198"/>
                  <a:pt x="27" y="74"/>
                </a:cubicBezTo>
                <a:cubicBezTo>
                  <a:pt x="0" y="92"/>
                  <a:pt x="0" y="92"/>
                  <a:pt x="0" y="92"/>
                </a:cubicBezTo>
                <a:cubicBezTo>
                  <a:pt x="101" y="325"/>
                  <a:pt x="234" y="221"/>
                  <a:pt x="210" y="5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9" name="Rectangle 1313">
            <a:extLst>
              <a:ext uri="{FF2B5EF4-FFF2-40B4-BE49-F238E27FC236}">
                <a16:creationId xmlns:a16="http://schemas.microsoft.com/office/drawing/2014/main" id="{72A1063C-5AB6-4F8E-BEC6-BB3C832478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35473" y="6478182"/>
            <a:ext cx="62612" cy="5009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0" name="Rectangle 1314">
            <a:extLst>
              <a:ext uri="{FF2B5EF4-FFF2-40B4-BE49-F238E27FC236}">
                <a16:creationId xmlns:a16="http://schemas.microsoft.com/office/drawing/2014/main" id="{3E3DFB8C-09E9-4F15-A3FC-BA982D104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55509" y="6476930"/>
            <a:ext cx="22540" cy="125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1" name="Freeform 1315">
            <a:extLst>
              <a:ext uri="{FF2B5EF4-FFF2-40B4-BE49-F238E27FC236}">
                <a16:creationId xmlns:a16="http://schemas.microsoft.com/office/drawing/2014/main" id="{A182FE54-7EF2-4097-A6A8-31C9B09AF2E2}"/>
              </a:ext>
            </a:extLst>
          </p:cNvPr>
          <p:cNvSpPr>
            <a:spLocks/>
          </p:cNvSpPr>
          <p:nvPr/>
        </p:nvSpPr>
        <p:spPr bwMode="auto">
          <a:xfrm>
            <a:off x="10644239" y="6483191"/>
            <a:ext cx="53846" cy="18784"/>
          </a:xfrm>
          <a:custGeom>
            <a:avLst/>
            <a:gdLst>
              <a:gd name="T0" fmla="*/ 43 w 43"/>
              <a:gd name="T1" fmla="*/ 15 h 15"/>
              <a:gd name="T2" fmla="*/ 0 w 43"/>
              <a:gd name="T3" fmla="*/ 15 h 15"/>
              <a:gd name="T4" fmla="*/ 14 w 43"/>
              <a:gd name="T5" fmla="*/ 0 h 15"/>
              <a:gd name="T6" fmla="*/ 43 w 43"/>
              <a:gd name="T7" fmla="*/ 0 h 15"/>
              <a:gd name="T8" fmla="*/ 43 w 43"/>
              <a:gd name="T9" fmla="*/ 1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" h="15">
                <a:moveTo>
                  <a:pt x="43" y="15"/>
                </a:moveTo>
                <a:lnTo>
                  <a:pt x="0" y="15"/>
                </a:lnTo>
                <a:lnTo>
                  <a:pt x="14" y="0"/>
                </a:lnTo>
                <a:lnTo>
                  <a:pt x="43" y="0"/>
                </a:lnTo>
                <a:lnTo>
                  <a:pt x="43" y="15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2" name="Freeform 1316">
            <a:extLst>
              <a:ext uri="{FF2B5EF4-FFF2-40B4-BE49-F238E27FC236}">
                <a16:creationId xmlns:a16="http://schemas.microsoft.com/office/drawing/2014/main" id="{9428075B-52A9-4D86-8099-08EBBA40E00B}"/>
              </a:ext>
            </a:extLst>
          </p:cNvPr>
          <p:cNvSpPr>
            <a:spLocks/>
          </p:cNvSpPr>
          <p:nvPr/>
        </p:nvSpPr>
        <p:spPr bwMode="auto">
          <a:xfrm>
            <a:off x="10674293" y="6420580"/>
            <a:ext cx="53846" cy="72630"/>
          </a:xfrm>
          <a:custGeom>
            <a:avLst/>
            <a:gdLst>
              <a:gd name="T0" fmla="*/ 0 w 104"/>
              <a:gd name="T1" fmla="*/ 0 h 141"/>
              <a:gd name="T2" fmla="*/ 60 w 104"/>
              <a:gd name="T3" fmla="*/ 0 h 141"/>
              <a:gd name="T4" fmla="*/ 104 w 104"/>
              <a:gd name="T5" fmla="*/ 44 h 141"/>
              <a:gd name="T6" fmla="*/ 104 w 104"/>
              <a:gd name="T7" fmla="*/ 97 h 141"/>
              <a:gd name="T8" fmla="*/ 60 w 104"/>
              <a:gd name="T9" fmla="*/ 141 h 141"/>
              <a:gd name="T10" fmla="*/ 31 w 104"/>
              <a:gd name="T11" fmla="*/ 141 h 141"/>
              <a:gd name="T12" fmla="*/ 31 w 104"/>
              <a:gd name="T13" fmla="*/ 122 h 141"/>
              <a:gd name="T14" fmla="*/ 45 w 104"/>
              <a:gd name="T15" fmla="*/ 122 h 141"/>
              <a:gd name="T16" fmla="*/ 59 w 104"/>
              <a:gd name="T17" fmla="*/ 107 h 141"/>
              <a:gd name="T18" fmla="*/ 59 w 104"/>
              <a:gd name="T19" fmla="*/ 39 h 141"/>
              <a:gd name="T20" fmla="*/ 36 w 104"/>
              <a:gd name="T21" fmla="*/ 15 h 141"/>
              <a:gd name="T22" fmla="*/ 0 w 104"/>
              <a:gd name="T23" fmla="*/ 15 h 141"/>
              <a:gd name="T24" fmla="*/ 0 w 104"/>
              <a:gd name="T25" fmla="*/ 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4" h="141">
                <a:moveTo>
                  <a:pt x="0" y="0"/>
                </a:moveTo>
                <a:cubicBezTo>
                  <a:pt x="60" y="0"/>
                  <a:pt x="60" y="0"/>
                  <a:pt x="60" y="0"/>
                </a:cubicBezTo>
                <a:cubicBezTo>
                  <a:pt x="84" y="0"/>
                  <a:pt x="104" y="20"/>
                  <a:pt x="104" y="44"/>
                </a:cubicBezTo>
                <a:cubicBezTo>
                  <a:pt x="104" y="97"/>
                  <a:pt x="104" y="97"/>
                  <a:pt x="104" y="97"/>
                </a:cubicBezTo>
                <a:cubicBezTo>
                  <a:pt x="104" y="121"/>
                  <a:pt x="84" y="141"/>
                  <a:pt x="60" y="141"/>
                </a:cubicBezTo>
                <a:cubicBezTo>
                  <a:pt x="31" y="141"/>
                  <a:pt x="31" y="141"/>
                  <a:pt x="31" y="141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45" y="122"/>
                  <a:pt x="45" y="122"/>
                  <a:pt x="45" y="122"/>
                </a:cubicBezTo>
                <a:cubicBezTo>
                  <a:pt x="53" y="122"/>
                  <a:pt x="59" y="115"/>
                  <a:pt x="59" y="107"/>
                </a:cubicBezTo>
                <a:cubicBezTo>
                  <a:pt x="59" y="39"/>
                  <a:pt x="59" y="39"/>
                  <a:pt x="59" y="39"/>
                </a:cubicBezTo>
                <a:cubicBezTo>
                  <a:pt x="59" y="26"/>
                  <a:pt x="49" y="15"/>
                  <a:pt x="36" y="15"/>
                </a:cubicBezTo>
                <a:cubicBezTo>
                  <a:pt x="0" y="15"/>
                  <a:pt x="0" y="15"/>
                  <a:pt x="0" y="15"/>
                </a:cubicBezTo>
                <a:lnTo>
                  <a:pt x="0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" name="Rectangle 1317">
            <a:extLst>
              <a:ext uri="{FF2B5EF4-FFF2-40B4-BE49-F238E27FC236}">
                <a16:creationId xmlns:a16="http://schemas.microsoft.com/office/drawing/2014/main" id="{A168F0A6-2DAA-4DF2-9D1F-96EA72908A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69284" y="6410562"/>
            <a:ext cx="7513" cy="41324"/>
          </a:xfrm>
          <a:prstGeom prst="rect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" name="Rectangle 1318">
            <a:extLst>
              <a:ext uri="{FF2B5EF4-FFF2-40B4-BE49-F238E27FC236}">
                <a16:creationId xmlns:a16="http://schemas.microsoft.com/office/drawing/2014/main" id="{1F7B1E9A-F0F1-4D65-BD45-DE93D0C742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70536" y="6451886"/>
            <a:ext cx="5009" cy="1127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5" name="Freeform 1319">
            <a:extLst>
              <a:ext uri="{FF2B5EF4-FFF2-40B4-BE49-F238E27FC236}">
                <a16:creationId xmlns:a16="http://schemas.microsoft.com/office/drawing/2014/main" id="{FDE3437B-167E-4AF9-8AC0-91B00A470368}"/>
              </a:ext>
            </a:extLst>
          </p:cNvPr>
          <p:cNvSpPr>
            <a:spLocks/>
          </p:cNvSpPr>
          <p:nvPr/>
        </p:nvSpPr>
        <p:spPr bwMode="auto">
          <a:xfrm>
            <a:off x="10670536" y="6463155"/>
            <a:ext cx="5009" cy="2504"/>
          </a:xfrm>
          <a:custGeom>
            <a:avLst/>
            <a:gdLst>
              <a:gd name="T0" fmla="*/ 4 w 4"/>
              <a:gd name="T1" fmla="*/ 0 h 2"/>
              <a:gd name="T2" fmla="*/ 0 w 4"/>
              <a:gd name="T3" fmla="*/ 0 h 2"/>
              <a:gd name="T4" fmla="*/ 1 w 4"/>
              <a:gd name="T5" fmla="*/ 2 h 2"/>
              <a:gd name="T6" fmla="*/ 4 w 4"/>
              <a:gd name="T7" fmla="*/ 2 h 2"/>
              <a:gd name="T8" fmla="*/ 4 w 4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2">
                <a:moveTo>
                  <a:pt x="4" y="0"/>
                </a:moveTo>
                <a:lnTo>
                  <a:pt x="0" y="0"/>
                </a:lnTo>
                <a:lnTo>
                  <a:pt x="1" y="2"/>
                </a:lnTo>
                <a:lnTo>
                  <a:pt x="4" y="2"/>
                </a:lnTo>
                <a:lnTo>
                  <a:pt x="4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6" name="Freeform 1320">
            <a:extLst>
              <a:ext uri="{FF2B5EF4-FFF2-40B4-BE49-F238E27FC236}">
                <a16:creationId xmlns:a16="http://schemas.microsoft.com/office/drawing/2014/main" id="{06E7FDCA-FA49-4706-A1E1-35A054D5E4E2}"/>
              </a:ext>
            </a:extLst>
          </p:cNvPr>
          <p:cNvSpPr>
            <a:spLocks/>
          </p:cNvSpPr>
          <p:nvPr/>
        </p:nvSpPr>
        <p:spPr bwMode="auto">
          <a:xfrm>
            <a:off x="10660518" y="6446877"/>
            <a:ext cx="11270" cy="11270"/>
          </a:xfrm>
          <a:custGeom>
            <a:avLst/>
            <a:gdLst>
              <a:gd name="T0" fmla="*/ 3 w 9"/>
              <a:gd name="T1" fmla="*/ 9 h 9"/>
              <a:gd name="T2" fmla="*/ 0 w 9"/>
              <a:gd name="T3" fmla="*/ 6 h 9"/>
              <a:gd name="T4" fmla="*/ 7 w 9"/>
              <a:gd name="T5" fmla="*/ 0 h 9"/>
              <a:gd name="T6" fmla="*/ 9 w 9"/>
              <a:gd name="T7" fmla="*/ 2 h 9"/>
              <a:gd name="T8" fmla="*/ 3 w 9"/>
              <a:gd name="T9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9">
                <a:moveTo>
                  <a:pt x="3" y="9"/>
                </a:moveTo>
                <a:lnTo>
                  <a:pt x="0" y="6"/>
                </a:lnTo>
                <a:lnTo>
                  <a:pt x="7" y="0"/>
                </a:lnTo>
                <a:lnTo>
                  <a:pt x="9" y="2"/>
                </a:lnTo>
                <a:lnTo>
                  <a:pt x="3" y="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7" name="Freeform 1321">
            <a:extLst>
              <a:ext uri="{FF2B5EF4-FFF2-40B4-BE49-F238E27FC236}">
                <a16:creationId xmlns:a16="http://schemas.microsoft.com/office/drawing/2014/main" id="{6CA8AA29-A909-4305-8F4D-A400EA474048}"/>
              </a:ext>
            </a:extLst>
          </p:cNvPr>
          <p:cNvSpPr>
            <a:spLocks/>
          </p:cNvSpPr>
          <p:nvPr/>
        </p:nvSpPr>
        <p:spPr bwMode="auto">
          <a:xfrm>
            <a:off x="10660518" y="6454390"/>
            <a:ext cx="3757" cy="3757"/>
          </a:xfrm>
          <a:custGeom>
            <a:avLst/>
            <a:gdLst>
              <a:gd name="T0" fmla="*/ 3 w 3"/>
              <a:gd name="T1" fmla="*/ 3 h 3"/>
              <a:gd name="T2" fmla="*/ 0 w 3"/>
              <a:gd name="T3" fmla="*/ 0 h 3"/>
              <a:gd name="T4" fmla="*/ 0 w 3"/>
              <a:gd name="T5" fmla="*/ 1 h 3"/>
              <a:gd name="T6" fmla="*/ 2 w 3"/>
              <a:gd name="T7" fmla="*/ 3 h 3"/>
              <a:gd name="T8" fmla="*/ 3 w 3"/>
              <a:gd name="T9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3">
                <a:moveTo>
                  <a:pt x="3" y="3"/>
                </a:moveTo>
                <a:lnTo>
                  <a:pt x="0" y="0"/>
                </a:lnTo>
                <a:lnTo>
                  <a:pt x="0" y="1"/>
                </a:lnTo>
                <a:lnTo>
                  <a:pt x="2" y="3"/>
                </a:lnTo>
                <a:lnTo>
                  <a:pt x="3" y="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8" name="Rectangle 1322">
            <a:extLst>
              <a:ext uri="{FF2B5EF4-FFF2-40B4-BE49-F238E27FC236}">
                <a16:creationId xmlns:a16="http://schemas.microsoft.com/office/drawing/2014/main" id="{D42F4DE2-8BA6-4ECD-9CCC-7493AAC371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55509" y="6443120"/>
            <a:ext cx="11270" cy="500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9" name="Freeform 1323">
            <a:extLst>
              <a:ext uri="{FF2B5EF4-FFF2-40B4-BE49-F238E27FC236}">
                <a16:creationId xmlns:a16="http://schemas.microsoft.com/office/drawing/2014/main" id="{C15AD963-0541-4253-AE8B-B02378398E4D}"/>
              </a:ext>
            </a:extLst>
          </p:cNvPr>
          <p:cNvSpPr>
            <a:spLocks/>
          </p:cNvSpPr>
          <p:nvPr/>
        </p:nvSpPr>
        <p:spPr bwMode="auto">
          <a:xfrm>
            <a:off x="10654257" y="6443120"/>
            <a:ext cx="1253" cy="5009"/>
          </a:xfrm>
          <a:custGeom>
            <a:avLst/>
            <a:gdLst>
              <a:gd name="T0" fmla="*/ 1 w 1"/>
              <a:gd name="T1" fmla="*/ 4 h 4"/>
              <a:gd name="T2" fmla="*/ 1 w 1"/>
              <a:gd name="T3" fmla="*/ 0 h 4"/>
              <a:gd name="T4" fmla="*/ 0 w 1"/>
              <a:gd name="T5" fmla="*/ 0 h 4"/>
              <a:gd name="T6" fmla="*/ 0 w 1"/>
              <a:gd name="T7" fmla="*/ 3 h 4"/>
              <a:gd name="T8" fmla="*/ 1 w 1"/>
              <a:gd name="T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4">
                <a:moveTo>
                  <a:pt x="1" y="4"/>
                </a:moveTo>
                <a:lnTo>
                  <a:pt x="1" y="0"/>
                </a:lnTo>
                <a:lnTo>
                  <a:pt x="0" y="0"/>
                </a:lnTo>
                <a:lnTo>
                  <a:pt x="0" y="3"/>
                </a:lnTo>
                <a:lnTo>
                  <a:pt x="1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0" name="Freeform 1324">
            <a:extLst>
              <a:ext uri="{FF2B5EF4-FFF2-40B4-BE49-F238E27FC236}">
                <a16:creationId xmlns:a16="http://schemas.microsoft.com/office/drawing/2014/main" id="{E86CE8E8-ED8D-47B8-8505-743E314723FB}"/>
              </a:ext>
            </a:extLst>
          </p:cNvPr>
          <p:cNvSpPr>
            <a:spLocks/>
          </p:cNvSpPr>
          <p:nvPr/>
        </p:nvSpPr>
        <p:spPr bwMode="auto">
          <a:xfrm>
            <a:off x="10656761" y="6430597"/>
            <a:ext cx="31306" cy="31306"/>
          </a:xfrm>
          <a:custGeom>
            <a:avLst/>
            <a:gdLst>
              <a:gd name="T0" fmla="*/ 25 w 25"/>
              <a:gd name="T1" fmla="*/ 23 h 25"/>
              <a:gd name="T2" fmla="*/ 17 w 25"/>
              <a:gd name="T3" fmla="*/ 25 h 25"/>
              <a:gd name="T4" fmla="*/ 0 w 25"/>
              <a:gd name="T5" fmla="*/ 8 h 25"/>
              <a:gd name="T6" fmla="*/ 2 w 25"/>
              <a:gd name="T7" fmla="*/ 0 h 25"/>
              <a:gd name="T8" fmla="*/ 25 w 25"/>
              <a:gd name="T9" fmla="*/ 23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" h="25">
                <a:moveTo>
                  <a:pt x="25" y="23"/>
                </a:moveTo>
                <a:lnTo>
                  <a:pt x="17" y="25"/>
                </a:lnTo>
                <a:lnTo>
                  <a:pt x="0" y="8"/>
                </a:lnTo>
                <a:lnTo>
                  <a:pt x="2" y="0"/>
                </a:lnTo>
                <a:lnTo>
                  <a:pt x="25" y="2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1" name="Freeform 1325">
            <a:extLst>
              <a:ext uri="{FF2B5EF4-FFF2-40B4-BE49-F238E27FC236}">
                <a16:creationId xmlns:a16="http://schemas.microsoft.com/office/drawing/2014/main" id="{44D0B933-F5B6-4A3E-8DFF-F5E822A5599E}"/>
              </a:ext>
            </a:extLst>
          </p:cNvPr>
          <p:cNvSpPr>
            <a:spLocks/>
          </p:cNvSpPr>
          <p:nvPr/>
        </p:nvSpPr>
        <p:spPr bwMode="auto">
          <a:xfrm>
            <a:off x="10669284" y="6386770"/>
            <a:ext cx="37567" cy="28802"/>
          </a:xfrm>
          <a:custGeom>
            <a:avLst/>
            <a:gdLst>
              <a:gd name="T0" fmla="*/ 27 w 30"/>
              <a:gd name="T1" fmla="*/ 0 h 23"/>
              <a:gd name="T2" fmla="*/ 30 w 30"/>
              <a:gd name="T3" fmla="*/ 3 h 23"/>
              <a:gd name="T4" fmla="*/ 2 w 30"/>
              <a:gd name="T5" fmla="*/ 23 h 23"/>
              <a:gd name="T6" fmla="*/ 0 w 30"/>
              <a:gd name="T7" fmla="*/ 19 h 23"/>
              <a:gd name="T8" fmla="*/ 27 w 30"/>
              <a:gd name="T9" fmla="*/ 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23">
                <a:moveTo>
                  <a:pt x="27" y="0"/>
                </a:moveTo>
                <a:lnTo>
                  <a:pt x="30" y="3"/>
                </a:lnTo>
                <a:lnTo>
                  <a:pt x="2" y="23"/>
                </a:lnTo>
                <a:lnTo>
                  <a:pt x="0" y="19"/>
                </a:lnTo>
                <a:lnTo>
                  <a:pt x="27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2" name="Freeform 1326">
            <a:extLst>
              <a:ext uri="{FF2B5EF4-FFF2-40B4-BE49-F238E27FC236}">
                <a16:creationId xmlns:a16="http://schemas.microsoft.com/office/drawing/2014/main" id="{AF0E3FC3-2123-4FBC-B624-333D68B157F1}"/>
              </a:ext>
            </a:extLst>
          </p:cNvPr>
          <p:cNvSpPr>
            <a:spLocks/>
          </p:cNvSpPr>
          <p:nvPr/>
        </p:nvSpPr>
        <p:spPr bwMode="auto">
          <a:xfrm>
            <a:off x="10696833" y="6381761"/>
            <a:ext cx="12522" cy="17531"/>
          </a:xfrm>
          <a:custGeom>
            <a:avLst/>
            <a:gdLst>
              <a:gd name="T0" fmla="*/ 10 w 10"/>
              <a:gd name="T1" fmla="*/ 11 h 14"/>
              <a:gd name="T2" fmla="*/ 7 w 10"/>
              <a:gd name="T3" fmla="*/ 14 h 14"/>
              <a:gd name="T4" fmla="*/ 0 w 10"/>
              <a:gd name="T5" fmla="*/ 3 h 14"/>
              <a:gd name="T6" fmla="*/ 3 w 10"/>
              <a:gd name="T7" fmla="*/ 0 h 14"/>
              <a:gd name="T8" fmla="*/ 10 w 10"/>
              <a:gd name="T9" fmla="*/ 11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" h="14">
                <a:moveTo>
                  <a:pt x="10" y="11"/>
                </a:moveTo>
                <a:lnTo>
                  <a:pt x="7" y="14"/>
                </a:lnTo>
                <a:lnTo>
                  <a:pt x="0" y="3"/>
                </a:lnTo>
                <a:lnTo>
                  <a:pt x="3" y="0"/>
                </a:lnTo>
                <a:lnTo>
                  <a:pt x="10" y="11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3" name="Oval 1327">
            <a:extLst>
              <a:ext uri="{FF2B5EF4-FFF2-40B4-BE49-F238E27FC236}">
                <a16:creationId xmlns:a16="http://schemas.microsoft.com/office/drawing/2014/main" id="{9B91B0E6-E382-487C-BD40-52E8EA0034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96833" y="6415571"/>
            <a:ext cx="25045" cy="25045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4" name="Oval 1328">
            <a:extLst>
              <a:ext uri="{FF2B5EF4-FFF2-40B4-BE49-F238E27FC236}">
                <a16:creationId xmlns:a16="http://schemas.microsoft.com/office/drawing/2014/main" id="{3D7014B3-FEC0-4566-8FAA-D5CAC9D746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3094" y="6421832"/>
            <a:ext cx="12522" cy="12522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5" name="Freeform 1329">
            <a:extLst>
              <a:ext uri="{FF2B5EF4-FFF2-40B4-BE49-F238E27FC236}">
                <a16:creationId xmlns:a16="http://schemas.microsoft.com/office/drawing/2014/main" id="{DFB5D03A-05C3-4FEF-AF4E-AFFF90B7185D}"/>
              </a:ext>
            </a:extLst>
          </p:cNvPr>
          <p:cNvSpPr>
            <a:spLocks/>
          </p:cNvSpPr>
          <p:nvPr/>
        </p:nvSpPr>
        <p:spPr bwMode="auto">
          <a:xfrm>
            <a:off x="10658013" y="6535785"/>
            <a:ext cx="215384" cy="155277"/>
          </a:xfrm>
          <a:custGeom>
            <a:avLst/>
            <a:gdLst>
              <a:gd name="T0" fmla="*/ 415 w 415"/>
              <a:gd name="T1" fmla="*/ 62 h 297"/>
              <a:gd name="T2" fmla="*/ 309 w 415"/>
              <a:gd name="T3" fmla="*/ 0 h 297"/>
              <a:gd name="T4" fmla="*/ 121 w 415"/>
              <a:gd name="T5" fmla="*/ 297 h 297"/>
              <a:gd name="T6" fmla="*/ 147 w 415"/>
              <a:gd name="T7" fmla="*/ 296 h 297"/>
              <a:gd name="T8" fmla="*/ 360 w 415"/>
              <a:gd name="T9" fmla="*/ 97 h 297"/>
              <a:gd name="T10" fmla="*/ 415 w 415"/>
              <a:gd name="T11" fmla="*/ 62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5" h="297">
                <a:moveTo>
                  <a:pt x="415" y="62"/>
                </a:moveTo>
                <a:cubicBezTo>
                  <a:pt x="415" y="43"/>
                  <a:pt x="395" y="0"/>
                  <a:pt x="309" y="0"/>
                </a:cubicBezTo>
                <a:cubicBezTo>
                  <a:pt x="99" y="0"/>
                  <a:pt x="0" y="44"/>
                  <a:pt x="121" y="297"/>
                </a:cubicBezTo>
                <a:cubicBezTo>
                  <a:pt x="126" y="296"/>
                  <a:pt x="141" y="296"/>
                  <a:pt x="147" y="296"/>
                </a:cubicBezTo>
                <a:cubicBezTo>
                  <a:pt x="61" y="8"/>
                  <a:pt x="268" y="102"/>
                  <a:pt x="360" y="97"/>
                </a:cubicBezTo>
                <a:cubicBezTo>
                  <a:pt x="397" y="94"/>
                  <a:pt x="415" y="81"/>
                  <a:pt x="415" y="62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6" name="Freeform 1330">
            <a:extLst>
              <a:ext uri="{FF2B5EF4-FFF2-40B4-BE49-F238E27FC236}">
                <a16:creationId xmlns:a16="http://schemas.microsoft.com/office/drawing/2014/main" id="{2996D6A0-B51C-41A9-8B33-B65903C5FFC6}"/>
              </a:ext>
            </a:extLst>
          </p:cNvPr>
          <p:cNvSpPr>
            <a:spLocks/>
          </p:cNvSpPr>
          <p:nvPr/>
        </p:nvSpPr>
        <p:spPr bwMode="auto">
          <a:xfrm>
            <a:off x="10701842" y="6694819"/>
            <a:ext cx="35063" cy="12522"/>
          </a:xfrm>
          <a:custGeom>
            <a:avLst/>
            <a:gdLst>
              <a:gd name="T0" fmla="*/ 39 w 67"/>
              <a:gd name="T1" fmla="*/ 0 h 24"/>
              <a:gd name="T2" fmla="*/ 16 w 67"/>
              <a:gd name="T3" fmla="*/ 6 h 24"/>
              <a:gd name="T4" fmla="*/ 11 w 67"/>
              <a:gd name="T5" fmla="*/ 17 h 24"/>
              <a:gd name="T6" fmla="*/ 48 w 67"/>
              <a:gd name="T7" fmla="*/ 15 h 24"/>
              <a:gd name="T8" fmla="*/ 48 w 67"/>
              <a:gd name="T9" fmla="*/ 20 h 24"/>
              <a:gd name="T10" fmla="*/ 67 w 67"/>
              <a:gd name="T11" fmla="*/ 20 h 24"/>
              <a:gd name="T12" fmla="*/ 65 w 67"/>
              <a:gd name="T13" fmla="*/ 1 h 24"/>
              <a:gd name="T14" fmla="*/ 39 w 67"/>
              <a:gd name="T15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7" h="24">
                <a:moveTo>
                  <a:pt x="39" y="0"/>
                </a:moveTo>
                <a:cubicBezTo>
                  <a:pt x="37" y="5"/>
                  <a:pt x="22" y="10"/>
                  <a:pt x="16" y="6"/>
                </a:cubicBezTo>
                <a:cubicBezTo>
                  <a:pt x="9" y="3"/>
                  <a:pt x="0" y="10"/>
                  <a:pt x="11" y="17"/>
                </a:cubicBezTo>
                <a:cubicBezTo>
                  <a:pt x="23" y="24"/>
                  <a:pt x="43" y="21"/>
                  <a:pt x="48" y="15"/>
                </a:cubicBezTo>
                <a:cubicBezTo>
                  <a:pt x="48" y="17"/>
                  <a:pt x="48" y="20"/>
                  <a:pt x="48" y="20"/>
                </a:cubicBezTo>
                <a:cubicBezTo>
                  <a:pt x="67" y="20"/>
                  <a:pt x="67" y="20"/>
                  <a:pt x="67" y="20"/>
                </a:cubicBezTo>
                <a:cubicBezTo>
                  <a:pt x="65" y="1"/>
                  <a:pt x="65" y="1"/>
                  <a:pt x="65" y="1"/>
                </a:cubicBezTo>
                <a:lnTo>
                  <a:pt x="39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7" name="Freeform 1331">
            <a:extLst>
              <a:ext uri="{FF2B5EF4-FFF2-40B4-BE49-F238E27FC236}">
                <a16:creationId xmlns:a16="http://schemas.microsoft.com/office/drawing/2014/main" id="{0E0BF1B8-9331-444B-B573-718922477332}"/>
              </a:ext>
            </a:extLst>
          </p:cNvPr>
          <p:cNvSpPr>
            <a:spLocks/>
          </p:cNvSpPr>
          <p:nvPr/>
        </p:nvSpPr>
        <p:spPr bwMode="auto">
          <a:xfrm>
            <a:off x="10647995" y="6535785"/>
            <a:ext cx="225402" cy="155277"/>
          </a:xfrm>
          <a:custGeom>
            <a:avLst/>
            <a:gdLst>
              <a:gd name="T0" fmla="*/ 433 w 433"/>
              <a:gd name="T1" fmla="*/ 62 h 297"/>
              <a:gd name="T2" fmla="*/ 327 w 433"/>
              <a:gd name="T3" fmla="*/ 0 h 297"/>
              <a:gd name="T4" fmla="*/ 51 w 433"/>
              <a:gd name="T5" fmla="*/ 297 h 297"/>
              <a:gd name="T6" fmla="*/ 77 w 433"/>
              <a:gd name="T7" fmla="*/ 296 h 297"/>
              <a:gd name="T8" fmla="*/ 378 w 433"/>
              <a:gd name="T9" fmla="*/ 97 h 297"/>
              <a:gd name="T10" fmla="*/ 433 w 433"/>
              <a:gd name="T11" fmla="*/ 62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33" h="297">
                <a:moveTo>
                  <a:pt x="433" y="62"/>
                </a:moveTo>
                <a:cubicBezTo>
                  <a:pt x="433" y="43"/>
                  <a:pt x="396" y="0"/>
                  <a:pt x="327" y="0"/>
                </a:cubicBezTo>
                <a:cubicBezTo>
                  <a:pt x="113" y="0"/>
                  <a:pt x="0" y="39"/>
                  <a:pt x="51" y="297"/>
                </a:cubicBezTo>
                <a:cubicBezTo>
                  <a:pt x="56" y="296"/>
                  <a:pt x="71" y="296"/>
                  <a:pt x="77" y="296"/>
                </a:cubicBezTo>
                <a:cubicBezTo>
                  <a:pt x="44" y="8"/>
                  <a:pt x="315" y="101"/>
                  <a:pt x="378" y="97"/>
                </a:cubicBezTo>
                <a:cubicBezTo>
                  <a:pt x="415" y="94"/>
                  <a:pt x="433" y="81"/>
                  <a:pt x="433" y="62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8" name="Freeform 1332">
            <a:extLst>
              <a:ext uri="{FF2B5EF4-FFF2-40B4-BE49-F238E27FC236}">
                <a16:creationId xmlns:a16="http://schemas.microsoft.com/office/drawing/2014/main" id="{5D9F5847-6F5F-4F2F-8B96-399BA851A1F6}"/>
              </a:ext>
            </a:extLst>
          </p:cNvPr>
          <p:cNvSpPr>
            <a:spLocks/>
          </p:cNvSpPr>
          <p:nvPr/>
        </p:nvSpPr>
        <p:spPr bwMode="auto">
          <a:xfrm>
            <a:off x="10654257" y="6694819"/>
            <a:ext cx="35063" cy="12522"/>
          </a:xfrm>
          <a:custGeom>
            <a:avLst/>
            <a:gdLst>
              <a:gd name="T0" fmla="*/ 39 w 67"/>
              <a:gd name="T1" fmla="*/ 0 h 24"/>
              <a:gd name="T2" fmla="*/ 16 w 67"/>
              <a:gd name="T3" fmla="*/ 6 h 24"/>
              <a:gd name="T4" fmla="*/ 11 w 67"/>
              <a:gd name="T5" fmla="*/ 17 h 24"/>
              <a:gd name="T6" fmla="*/ 48 w 67"/>
              <a:gd name="T7" fmla="*/ 15 h 24"/>
              <a:gd name="T8" fmla="*/ 47 w 67"/>
              <a:gd name="T9" fmla="*/ 20 h 24"/>
              <a:gd name="T10" fmla="*/ 67 w 67"/>
              <a:gd name="T11" fmla="*/ 20 h 24"/>
              <a:gd name="T12" fmla="*/ 65 w 67"/>
              <a:gd name="T13" fmla="*/ 1 h 24"/>
              <a:gd name="T14" fmla="*/ 39 w 67"/>
              <a:gd name="T15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7" h="24">
                <a:moveTo>
                  <a:pt x="39" y="0"/>
                </a:moveTo>
                <a:cubicBezTo>
                  <a:pt x="37" y="5"/>
                  <a:pt x="22" y="10"/>
                  <a:pt x="16" y="6"/>
                </a:cubicBezTo>
                <a:cubicBezTo>
                  <a:pt x="9" y="3"/>
                  <a:pt x="0" y="10"/>
                  <a:pt x="11" y="17"/>
                </a:cubicBezTo>
                <a:cubicBezTo>
                  <a:pt x="22" y="24"/>
                  <a:pt x="43" y="21"/>
                  <a:pt x="48" y="15"/>
                </a:cubicBezTo>
                <a:cubicBezTo>
                  <a:pt x="48" y="17"/>
                  <a:pt x="47" y="20"/>
                  <a:pt x="47" y="20"/>
                </a:cubicBezTo>
                <a:cubicBezTo>
                  <a:pt x="67" y="20"/>
                  <a:pt x="67" y="20"/>
                  <a:pt x="67" y="20"/>
                </a:cubicBezTo>
                <a:cubicBezTo>
                  <a:pt x="65" y="1"/>
                  <a:pt x="65" y="1"/>
                  <a:pt x="65" y="1"/>
                </a:cubicBezTo>
                <a:lnTo>
                  <a:pt x="39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" name="Freeform 1333">
            <a:extLst>
              <a:ext uri="{FF2B5EF4-FFF2-40B4-BE49-F238E27FC236}">
                <a16:creationId xmlns:a16="http://schemas.microsoft.com/office/drawing/2014/main" id="{964C8726-E2C4-408F-AB01-84F4E6A8002A}"/>
              </a:ext>
            </a:extLst>
          </p:cNvPr>
          <p:cNvSpPr>
            <a:spLocks/>
          </p:cNvSpPr>
          <p:nvPr/>
        </p:nvSpPr>
        <p:spPr bwMode="auto">
          <a:xfrm>
            <a:off x="10696833" y="6352959"/>
            <a:ext cx="66369" cy="51342"/>
          </a:xfrm>
          <a:custGeom>
            <a:avLst/>
            <a:gdLst>
              <a:gd name="T0" fmla="*/ 61 w 128"/>
              <a:gd name="T1" fmla="*/ 6 h 100"/>
              <a:gd name="T2" fmla="*/ 10 w 128"/>
              <a:gd name="T3" fmla="*/ 19 h 100"/>
              <a:gd name="T4" fmla="*/ 9 w 128"/>
              <a:gd name="T5" fmla="*/ 61 h 100"/>
              <a:gd name="T6" fmla="*/ 27 w 128"/>
              <a:gd name="T7" fmla="*/ 83 h 100"/>
              <a:gd name="T8" fmla="*/ 32 w 128"/>
              <a:gd name="T9" fmla="*/ 74 h 100"/>
              <a:gd name="T10" fmla="*/ 38 w 128"/>
              <a:gd name="T11" fmla="*/ 78 h 100"/>
              <a:gd name="T12" fmla="*/ 44 w 128"/>
              <a:gd name="T13" fmla="*/ 77 h 100"/>
              <a:gd name="T14" fmla="*/ 45 w 128"/>
              <a:gd name="T15" fmla="*/ 82 h 100"/>
              <a:gd name="T16" fmla="*/ 52 w 128"/>
              <a:gd name="T17" fmla="*/ 84 h 100"/>
              <a:gd name="T18" fmla="*/ 78 w 128"/>
              <a:gd name="T19" fmla="*/ 100 h 100"/>
              <a:gd name="T20" fmla="*/ 128 w 128"/>
              <a:gd name="T21" fmla="*/ 30 h 100"/>
              <a:gd name="T22" fmla="*/ 61 w 128"/>
              <a:gd name="T23" fmla="*/ 6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28" h="100">
                <a:moveTo>
                  <a:pt x="61" y="6"/>
                </a:moveTo>
                <a:cubicBezTo>
                  <a:pt x="47" y="2"/>
                  <a:pt x="21" y="0"/>
                  <a:pt x="10" y="19"/>
                </a:cubicBezTo>
                <a:cubicBezTo>
                  <a:pt x="1" y="35"/>
                  <a:pt x="0" y="48"/>
                  <a:pt x="9" y="61"/>
                </a:cubicBezTo>
                <a:cubicBezTo>
                  <a:pt x="18" y="73"/>
                  <a:pt x="27" y="83"/>
                  <a:pt x="27" y="83"/>
                </a:cubicBezTo>
                <a:cubicBezTo>
                  <a:pt x="32" y="74"/>
                  <a:pt x="32" y="74"/>
                  <a:pt x="32" y="74"/>
                </a:cubicBezTo>
                <a:cubicBezTo>
                  <a:pt x="32" y="74"/>
                  <a:pt x="36" y="77"/>
                  <a:pt x="38" y="78"/>
                </a:cubicBezTo>
                <a:cubicBezTo>
                  <a:pt x="40" y="80"/>
                  <a:pt x="42" y="79"/>
                  <a:pt x="44" y="77"/>
                </a:cubicBezTo>
                <a:cubicBezTo>
                  <a:pt x="43" y="79"/>
                  <a:pt x="43" y="81"/>
                  <a:pt x="45" y="82"/>
                </a:cubicBezTo>
                <a:cubicBezTo>
                  <a:pt x="48" y="84"/>
                  <a:pt x="50" y="83"/>
                  <a:pt x="52" y="84"/>
                </a:cubicBezTo>
                <a:cubicBezTo>
                  <a:pt x="61" y="86"/>
                  <a:pt x="72" y="96"/>
                  <a:pt x="78" y="100"/>
                </a:cubicBezTo>
                <a:cubicBezTo>
                  <a:pt x="128" y="30"/>
                  <a:pt x="128" y="30"/>
                  <a:pt x="128" y="30"/>
                </a:cubicBezTo>
                <a:cubicBezTo>
                  <a:pt x="116" y="24"/>
                  <a:pt x="76" y="10"/>
                  <a:pt x="61" y="6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" name="Freeform 1334">
            <a:extLst>
              <a:ext uri="{FF2B5EF4-FFF2-40B4-BE49-F238E27FC236}">
                <a16:creationId xmlns:a16="http://schemas.microsoft.com/office/drawing/2014/main" id="{D95235F4-47D9-453D-9968-A427E5E4C495}"/>
              </a:ext>
            </a:extLst>
          </p:cNvPr>
          <p:cNvSpPr>
            <a:spLocks/>
          </p:cNvSpPr>
          <p:nvPr/>
        </p:nvSpPr>
        <p:spPr bwMode="auto">
          <a:xfrm>
            <a:off x="10704346" y="6379256"/>
            <a:ext cx="5009" cy="5009"/>
          </a:xfrm>
          <a:custGeom>
            <a:avLst/>
            <a:gdLst>
              <a:gd name="T0" fmla="*/ 2 w 9"/>
              <a:gd name="T1" fmla="*/ 8 h 10"/>
              <a:gd name="T2" fmla="*/ 8 w 9"/>
              <a:gd name="T3" fmla="*/ 8 h 10"/>
              <a:gd name="T4" fmla="*/ 8 w 9"/>
              <a:gd name="T5" fmla="*/ 2 h 10"/>
              <a:gd name="T6" fmla="*/ 2 w 9"/>
              <a:gd name="T7" fmla="*/ 2 h 10"/>
              <a:gd name="T8" fmla="*/ 2 w 9"/>
              <a:gd name="T9" fmla="*/ 8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10">
                <a:moveTo>
                  <a:pt x="2" y="8"/>
                </a:moveTo>
                <a:cubicBezTo>
                  <a:pt x="3" y="10"/>
                  <a:pt x="6" y="10"/>
                  <a:pt x="8" y="8"/>
                </a:cubicBezTo>
                <a:cubicBezTo>
                  <a:pt x="9" y="7"/>
                  <a:pt x="9" y="4"/>
                  <a:pt x="8" y="2"/>
                </a:cubicBezTo>
                <a:cubicBezTo>
                  <a:pt x="6" y="0"/>
                  <a:pt x="3" y="0"/>
                  <a:pt x="2" y="2"/>
                </a:cubicBezTo>
                <a:cubicBezTo>
                  <a:pt x="0" y="4"/>
                  <a:pt x="0" y="6"/>
                  <a:pt x="2" y="8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" name="Freeform 1335">
            <a:extLst>
              <a:ext uri="{FF2B5EF4-FFF2-40B4-BE49-F238E27FC236}">
                <a16:creationId xmlns:a16="http://schemas.microsoft.com/office/drawing/2014/main" id="{B989D8D5-D68D-4425-A4E6-CC6706BAA1D1}"/>
              </a:ext>
            </a:extLst>
          </p:cNvPr>
          <p:cNvSpPr>
            <a:spLocks/>
          </p:cNvSpPr>
          <p:nvPr/>
        </p:nvSpPr>
        <p:spPr bwMode="auto">
          <a:xfrm>
            <a:off x="10706851" y="6374247"/>
            <a:ext cx="5009" cy="5009"/>
          </a:xfrm>
          <a:custGeom>
            <a:avLst/>
            <a:gdLst>
              <a:gd name="T0" fmla="*/ 1 w 9"/>
              <a:gd name="T1" fmla="*/ 7 h 9"/>
              <a:gd name="T2" fmla="*/ 7 w 9"/>
              <a:gd name="T3" fmla="*/ 8 h 9"/>
              <a:gd name="T4" fmla="*/ 8 w 9"/>
              <a:gd name="T5" fmla="*/ 2 h 9"/>
              <a:gd name="T6" fmla="*/ 2 w 9"/>
              <a:gd name="T7" fmla="*/ 1 h 9"/>
              <a:gd name="T8" fmla="*/ 1 w 9"/>
              <a:gd name="T9" fmla="*/ 7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9">
                <a:moveTo>
                  <a:pt x="1" y="7"/>
                </a:moveTo>
                <a:cubicBezTo>
                  <a:pt x="3" y="9"/>
                  <a:pt x="6" y="9"/>
                  <a:pt x="7" y="8"/>
                </a:cubicBezTo>
                <a:cubicBezTo>
                  <a:pt x="9" y="6"/>
                  <a:pt x="9" y="3"/>
                  <a:pt x="8" y="2"/>
                </a:cubicBezTo>
                <a:cubicBezTo>
                  <a:pt x="6" y="0"/>
                  <a:pt x="3" y="0"/>
                  <a:pt x="2" y="1"/>
                </a:cubicBezTo>
                <a:cubicBezTo>
                  <a:pt x="0" y="3"/>
                  <a:pt x="0" y="6"/>
                  <a:pt x="1" y="7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" name="Freeform 1336">
            <a:extLst>
              <a:ext uri="{FF2B5EF4-FFF2-40B4-BE49-F238E27FC236}">
                <a16:creationId xmlns:a16="http://schemas.microsoft.com/office/drawing/2014/main" id="{6D840FDA-D154-4D62-840D-BA6D1C5AC621}"/>
              </a:ext>
            </a:extLst>
          </p:cNvPr>
          <p:cNvSpPr>
            <a:spLocks/>
          </p:cNvSpPr>
          <p:nvPr/>
        </p:nvSpPr>
        <p:spPr bwMode="auto">
          <a:xfrm>
            <a:off x="10693076" y="6345445"/>
            <a:ext cx="35063" cy="25045"/>
          </a:xfrm>
          <a:custGeom>
            <a:avLst/>
            <a:gdLst>
              <a:gd name="T0" fmla="*/ 33 w 67"/>
              <a:gd name="T1" fmla="*/ 12 h 49"/>
              <a:gd name="T2" fmla="*/ 12 w 67"/>
              <a:gd name="T3" fmla="*/ 23 h 49"/>
              <a:gd name="T4" fmla="*/ 0 w 67"/>
              <a:gd name="T5" fmla="*/ 35 h 49"/>
              <a:gd name="T6" fmla="*/ 22 w 67"/>
              <a:gd name="T7" fmla="*/ 44 h 49"/>
              <a:gd name="T8" fmla="*/ 41 w 67"/>
              <a:gd name="T9" fmla="*/ 19 h 49"/>
              <a:gd name="T10" fmla="*/ 67 w 67"/>
              <a:gd name="T11" fmla="*/ 21 h 49"/>
              <a:gd name="T12" fmla="*/ 33 w 67"/>
              <a:gd name="T13" fmla="*/ 12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7" h="49">
                <a:moveTo>
                  <a:pt x="33" y="12"/>
                </a:moveTo>
                <a:cubicBezTo>
                  <a:pt x="25" y="8"/>
                  <a:pt x="14" y="14"/>
                  <a:pt x="12" y="23"/>
                </a:cubicBezTo>
                <a:cubicBezTo>
                  <a:pt x="10" y="32"/>
                  <a:pt x="4" y="38"/>
                  <a:pt x="0" y="35"/>
                </a:cubicBezTo>
                <a:cubicBezTo>
                  <a:pt x="2" y="45"/>
                  <a:pt x="14" y="49"/>
                  <a:pt x="22" y="44"/>
                </a:cubicBezTo>
                <a:cubicBezTo>
                  <a:pt x="30" y="40"/>
                  <a:pt x="40" y="22"/>
                  <a:pt x="41" y="19"/>
                </a:cubicBezTo>
                <a:cubicBezTo>
                  <a:pt x="45" y="23"/>
                  <a:pt x="64" y="25"/>
                  <a:pt x="67" y="21"/>
                </a:cubicBezTo>
                <a:cubicBezTo>
                  <a:pt x="63" y="9"/>
                  <a:pt x="41" y="0"/>
                  <a:pt x="33" y="12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" name="Freeform 1337">
            <a:extLst>
              <a:ext uri="{FF2B5EF4-FFF2-40B4-BE49-F238E27FC236}">
                <a16:creationId xmlns:a16="http://schemas.microsoft.com/office/drawing/2014/main" id="{1E6A8794-E29C-4095-A1BB-A6D3CDC830F3}"/>
              </a:ext>
            </a:extLst>
          </p:cNvPr>
          <p:cNvSpPr>
            <a:spLocks/>
          </p:cNvSpPr>
          <p:nvPr/>
        </p:nvSpPr>
        <p:spPr bwMode="auto">
          <a:xfrm>
            <a:off x="10661770" y="6365481"/>
            <a:ext cx="229159" cy="274240"/>
          </a:xfrm>
          <a:custGeom>
            <a:avLst/>
            <a:gdLst>
              <a:gd name="T0" fmla="*/ 198 w 441"/>
              <a:gd name="T1" fmla="*/ 0 h 527"/>
              <a:gd name="T2" fmla="*/ 135 w 441"/>
              <a:gd name="T3" fmla="*/ 87 h 527"/>
              <a:gd name="T4" fmla="*/ 208 w 441"/>
              <a:gd name="T5" fmla="*/ 324 h 527"/>
              <a:gd name="T6" fmla="*/ 0 w 441"/>
              <a:gd name="T7" fmla="*/ 506 h 527"/>
              <a:gd name="T8" fmla="*/ 149 w 441"/>
              <a:gd name="T9" fmla="*/ 512 h 527"/>
              <a:gd name="T10" fmla="*/ 255 w 441"/>
              <a:gd name="T11" fmla="*/ 417 h 527"/>
              <a:gd name="T12" fmla="*/ 406 w 441"/>
              <a:gd name="T13" fmla="*/ 417 h 527"/>
              <a:gd name="T14" fmla="*/ 198 w 441"/>
              <a:gd name="T15" fmla="*/ 0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1" h="527">
                <a:moveTo>
                  <a:pt x="198" y="0"/>
                </a:moveTo>
                <a:cubicBezTo>
                  <a:pt x="182" y="22"/>
                  <a:pt x="162" y="49"/>
                  <a:pt x="135" y="87"/>
                </a:cubicBezTo>
                <a:cubicBezTo>
                  <a:pt x="201" y="156"/>
                  <a:pt x="251" y="317"/>
                  <a:pt x="208" y="324"/>
                </a:cubicBezTo>
                <a:cubicBezTo>
                  <a:pt x="128" y="338"/>
                  <a:pt x="0" y="369"/>
                  <a:pt x="0" y="506"/>
                </a:cubicBezTo>
                <a:cubicBezTo>
                  <a:pt x="31" y="527"/>
                  <a:pt x="117" y="523"/>
                  <a:pt x="149" y="512"/>
                </a:cubicBezTo>
                <a:cubicBezTo>
                  <a:pt x="164" y="473"/>
                  <a:pt x="202" y="435"/>
                  <a:pt x="255" y="417"/>
                </a:cubicBezTo>
                <a:cubicBezTo>
                  <a:pt x="328" y="417"/>
                  <a:pt x="395" y="417"/>
                  <a:pt x="406" y="417"/>
                </a:cubicBezTo>
                <a:cubicBezTo>
                  <a:pt x="441" y="229"/>
                  <a:pt x="376" y="77"/>
                  <a:pt x="19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" name="Freeform 1338">
            <a:extLst>
              <a:ext uri="{FF2B5EF4-FFF2-40B4-BE49-F238E27FC236}">
                <a16:creationId xmlns:a16="http://schemas.microsoft.com/office/drawing/2014/main" id="{034700B3-0771-47CB-B66C-8690DB30C22D}"/>
              </a:ext>
            </a:extLst>
          </p:cNvPr>
          <p:cNvSpPr>
            <a:spLocks/>
          </p:cNvSpPr>
          <p:nvPr/>
        </p:nvSpPr>
        <p:spPr bwMode="auto">
          <a:xfrm>
            <a:off x="10681806" y="6367986"/>
            <a:ext cx="144007" cy="195348"/>
          </a:xfrm>
          <a:custGeom>
            <a:avLst/>
            <a:gdLst>
              <a:gd name="T0" fmla="*/ 222 w 278"/>
              <a:gd name="T1" fmla="*/ 54 h 377"/>
              <a:gd name="T2" fmla="*/ 138 w 278"/>
              <a:gd name="T3" fmla="*/ 88 h 377"/>
              <a:gd name="T4" fmla="*/ 15 w 278"/>
              <a:gd name="T5" fmla="*/ 220 h 377"/>
              <a:gd name="T6" fmla="*/ 0 w 278"/>
              <a:gd name="T7" fmla="*/ 250 h 377"/>
              <a:gd name="T8" fmla="*/ 222 w 278"/>
              <a:gd name="T9" fmla="*/ 54 h 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8" h="377">
                <a:moveTo>
                  <a:pt x="222" y="54"/>
                </a:moveTo>
                <a:cubicBezTo>
                  <a:pt x="199" y="0"/>
                  <a:pt x="118" y="41"/>
                  <a:pt x="138" y="88"/>
                </a:cubicBezTo>
                <a:cubicBezTo>
                  <a:pt x="194" y="218"/>
                  <a:pt x="166" y="291"/>
                  <a:pt x="15" y="220"/>
                </a:cubicBezTo>
                <a:cubicBezTo>
                  <a:pt x="0" y="250"/>
                  <a:pt x="0" y="250"/>
                  <a:pt x="0" y="250"/>
                </a:cubicBezTo>
                <a:cubicBezTo>
                  <a:pt x="198" y="377"/>
                  <a:pt x="278" y="184"/>
                  <a:pt x="222" y="5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" name="Freeform 1339">
            <a:extLst>
              <a:ext uri="{FF2B5EF4-FFF2-40B4-BE49-F238E27FC236}">
                <a16:creationId xmlns:a16="http://schemas.microsoft.com/office/drawing/2014/main" id="{24B70C3A-4E81-4773-B01F-D7028586521F}"/>
              </a:ext>
            </a:extLst>
          </p:cNvPr>
          <p:cNvSpPr>
            <a:spLocks/>
          </p:cNvSpPr>
          <p:nvPr/>
        </p:nvSpPr>
        <p:spPr bwMode="auto">
          <a:xfrm>
            <a:off x="10669284" y="6475678"/>
            <a:ext cx="17531" cy="20036"/>
          </a:xfrm>
          <a:custGeom>
            <a:avLst/>
            <a:gdLst>
              <a:gd name="T0" fmla="*/ 15 w 34"/>
              <a:gd name="T1" fmla="*/ 39 h 40"/>
              <a:gd name="T2" fmla="*/ 21 w 34"/>
              <a:gd name="T3" fmla="*/ 37 h 40"/>
              <a:gd name="T4" fmla="*/ 33 w 34"/>
              <a:gd name="T5" fmla="*/ 13 h 40"/>
              <a:gd name="T6" fmla="*/ 31 w 34"/>
              <a:gd name="T7" fmla="*/ 7 h 40"/>
              <a:gd name="T8" fmla="*/ 19 w 34"/>
              <a:gd name="T9" fmla="*/ 1 h 40"/>
              <a:gd name="T10" fmla="*/ 13 w 34"/>
              <a:gd name="T11" fmla="*/ 3 h 40"/>
              <a:gd name="T12" fmla="*/ 1 w 34"/>
              <a:gd name="T13" fmla="*/ 26 h 40"/>
              <a:gd name="T14" fmla="*/ 3 w 34"/>
              <a:gd name="T15" fmla="*/ 32 h 40"/>
              <a:gd name="T16" fmla="*/ 15 w 34"/>
              <a:gd name="T17" fmla="*/ 39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4" h="40">
                <a:moveTo>
                  <a:pt x="15" y="39"/>
                </a:moveTo>
                <a:cubicBezTo>
                  <a:pt x="17" y="40"/>
                  <a:pt x="20" y="39"/>
                  <a:pt x="21" y="37"/>
                </a:cubicBezTo>
                <a:cubicBezTo>
                  <a:pt x="33" y="13"/>
                  <a:pt x="33" y="13"/>
                  <a:pt x="33" y="13"/>
                </a:cubicBezTo>
                <a:cubicBezTo>
                  <a:pt x="34" y="11"/>
                  <a:pt x="33" y="8"/>
                  <a:pt x="31" y="7"/>
                </a:cubicBezTo>
                <a:cubicBezTo>
                  <a:pt x="19" y="1"/>
                  <a:pt x="19" y="1"/>
                  <a:pt x="19" y="1"/>
                </a:cubicBezTo>
                <a:cubicBezTo>
                  <a:pt x="17" y="0"/>
                  <a:pt x="14" y="1"/>
                  <a:pt x="13" y="3"/>
                </a:cubicBezTo>
                <a:cubicBezTo>
                  <a:pt x="1" y="26"/>
                  <a:pt x="1" y="26"/>
                  <a:pt x="1" y="26"/>
                </a:cubicBezTo>
                <a:cubicBezTo>
                  <a:pt x="0" y="29"/>
                  <a:pt x="0" y="31"/>
                  <a:pt x="3" y="32"/>
                </a:cubicBezTo>
                <a:lnTo>
                  <a:pt x="15" y="39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" name="Freeform 1340">
            <a:extLst>
              <a:ext uri="{FF2B5EF4-FFF2-40B4-BE49-F238E27FC236}">
                <a16:creationId xmlns:a16="http://schemas.microsoft.com/office/drawing/2014/main" id="{2E79FC50-458B-4450-9DC0-6928DE9327DF}"/>
              </a:ext>
            </a:extLst>
          </p:cNvPr>
          <p:cNvSpPr>
            <a:spLocks/>
          </p:cNvSpPr>
          <p:nvPr/>
        </p:nvSpPr>
        <p:spPr bwMode="auto">
          <a:xfrm>
            <a:off x="10669284" y="6476930"/>
            <a:ext cx="8766" cy="7513"/>
          </a:xfrm>
          <a:custGeom>
            <a:avLst/>
            <a:gdLst>
              <a:gd name="T0" fmla="*/ 15 w 18"/>
              <a:gd name="T1" fmla="*/ 5 h 14"/>
              <a:gd name="T2" fmla="*/ 17 w 18"/>
              <a:gd name="T3" fmla="*/ 11 h 14"/>
              <a:gd name="T4" fmla="*/ 11 w 18"/>
              <a:gd name="T5" fmla="*/ 13 h 14"/>
              <a:gd name="T6" fmla="*/ 3 w 18"/>
              <a:gd name="T7" fmla="*/ 9 h 14"/>
              <a:gd name="T8" fmla="*/ 1 w 18"/>
              <a:gd name="T9" fmla="*/ 3 h 14"/>
              <a:gd name="T10" fmla="*/ 1 w 18"/>
              <a:gd name="T11" fmla="*/ 3 h 14"/>
              <a:gd name="T12" fmla="*/ 7 w 18"/>
              <a:gd name="T13" fmla="*/ 1 h 14"/>
              <a:gd name="T14" fmla="*/ 15 w 18"/>
              <a:gd name="T15" fmla="*/ 5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14">
                <a:moveTo>
                  <a:pt x="15" y="5"/>
                </a:moveTo>
                <a:cubicBezTo>
                  <a:pt x="17" y="6"/>
                  <a:pt x="18" y="9"/>
                  <a:pt x="17" y="11"/>
                </a:cubicBezTo>
                <a:cubicBezTo>
                  <a:pt x="16" y="13"/>
                  <a:pt x="13" y="14"/>
                  <a:pt x="11" y="13"/>
                </a:cubicBezTo>
                <a:cubicBezTo>
                  <a:pt x="3" y="9"/>
                  <a:pt x="3" y="9"/>
                  <a:pt x="3" y="9"/>
                </a:cubicBezTo>
                <a:cubicBezTo>
                  <a:pt x="1" y="7"/>
                  <a:pt x="0" y="5"/>
                  <a:pt x="1" y="3"/>
                </a:cubicBezTo>
                <a:cubicBezTo>
                  <a:pt x="1" y="3"/>
                  <a:pt x="1" y="3"/>
                  <a:pt x="1" y="3"/>
                </a:cubicBezTo>
                <a:cubicBezTo>
                  <a:pt x="2" y="0"/>
                  <a:pt x="5" y="0"/>
                  <a:pt x="7" y="1"/>
                </a:cubicBezTo>
                <a:lnTo>
                  <a:pt x="15" y="5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" name="Freeform 1341">
            <a:extLst>
              <a:ext uri="{FF2B5EF4-FFF2-40B4-BE49-F238E27FC236}">
                <a16:creationId xmlns:a16="http://schemas.microsoft.com/office/drawing/2014/main" id="{8E419F31-E55D-4F5C-B769-AB09088EF78D}"/>
              </a:ext>
            </a:extLst>
          </p:cNvPr>
          <p:cNvSpPr>
            <a:spLocks/>
          </p:cNvSpPr>
          <p:nvPr/>
        </p:nvSpPr>
        <p:spPr bwMode="auto">
          <a:xfrm>
            <a:off x="10671788" y="6473173"/>
            <a:ext cx="8766" cy="7513"/>
          </a:xfrm>
          <a:custGeom>
            <a:avLst/>
            <a:gdLst>
              <a:gd name="T0" fmla="*/ 15 w 18"/>
              <a:gd name="T1" fmla="*/ 5 h 14"/>
              <a:gd name="T2" fmla="*/ 17 w 18"/>
              <a:gd name="T3" fmla="*/ 11 h 14"/>
              <a:gd name="T4" fmla="*/ 11 w 18"/>
              <a:gd name="T5" fmla="*/ 13 h 14"/>
              <a:gd name="T6" fmla="*/ 3 w 18"/>
              <a:gd name="T7" fmla="*/ 9 h 14"/>
              <a:gd name="T8" fmla="*/ 1 w 18"/>
              <a:gd name="T9" fmla="*/ 3 h 14"/>
              <a:gd name="T10" fmla="*/ 1 w 18"/>
              <a:gd name="T11" fmla="*/ 3 h 14"/>
              <a:gd name="T12" fmla="*/ 7 w 18"/>
              <a:gd name="T13" fmla="*/ 1 h 14"/>
              <a:gd name="T14" fmla="*/ 15 w 18"/>
              <a:gd name="T15" fmla="*/ 5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14">
                <a:moveTo>
                  <a:pt x="15" y="5"/>
                </a:moveTo>
                <a:cubicBezTo>
                  <a:pt x="17" y="6"/>
                  <a:pt x="18" y="9"/>
                  <a:pt x="17" y="11"/>
                </a:cubicBezTo>
                <a:cubicBezTo>
                  <a:pt x="16" y="13"/>
                  <a:pt x="13" y="14"/>
                  <a:pt x="11" y="13"/>
                </a:cubicBezTo>
                <a:cubicBezTo>
                  <a:pt x="3" y="9"/>
                  <a:pt x="3" y="9"/>
                  <a:pt x="3" y="9"/>
                </a:cubicBezTo>
                <a:cubicBezTo>
                  <a:pt x="1" y="8"/>
                  <a:pt x="0" y="5"/>
                  <a:pt x="1" y="3"/>
                </a:cubicBezTo>
                <a:cubicBezTo>
                  <a:pt x="1" y="3"/>
                  <a:pt x="1" y="3"/>
                  <a:pt x="1" y="3"/>
                </a:cubicBezTo>
                <a:cubicBezTo>
                  <a:pt x="2" y="1"/>
                  <a:pt x="5" y="0"/>
                  <a:pt x="7" y="1"/>
                </a:cubicBezTo>
                <a:lnTo>
                  <a:pt x="15" y="5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" name="Freeform 1342">
            <a:extLst>
              <a:ext uri="{FF2B5EF4-FFF2-40B4-BE49-F238E27FC236}">
                <a16:creationId xmlns:a16="http://schemas.microsoft.com/office/drawing/2014/main" id="{68613D0A-08C6-4F0A-B3DA-54D77661DE49}"/>
              </a:ext>
            </a:extLst>
          </p:cNvPr>
          <p:cNvSpPr>
            <a:spLocks/>
          </p:cNvSpPr>
          <p:nvPr/>
        </p:nvSpPr>
        <p:spPr bwMode="auto">
          <a:xfrm>
            <a:off x="10666779" y="6480687"/>
            <a:ext cx="10018" cy="8766"/>
          </a:xfrm>
          <a:custGeom>
            <a:avLst/>
            <a:gdLst>
              <a:gd name="T0" fmla="*/ 17 w 18"/>
              <a:gd name="T1" fmla="*/ 12 h 15"/>
              <a:gd name="T2" fmla="*/ 11 w 18"/>
              <a:gd name="T3" fmla="*/ 14 h 15"/>
              <a:gd name="T4" fmla="*/ 3 w 18"/>
              <a:gd name="T5" fmla="*/ 9 h 15"/>
              <a:gd name="T6" fmla="*/ 1 w 18"/>
              <a:gd name="T7" fmla="*/ 3 h 15"/>
              <a:gd name="T8" fmla="*/ 1 w 18"/>
              <a:gd name="T9" fmla="*/ 3 h 15"/>
              <a:gd name="T10" fmla="*/ 7 w 18"/>
              <a:gd name="T11" fmla="*/ 2 h 15"/>
              <a:gd name="T12" fmla="*/ 15 w 18"/>
              <a:gd name="T13" fmla="*/ 6 h 15"/>
              <a:gd name="T14" fmla="*/ 17 w 18"/>
              <a:gd name="T15" fmla="*/ 12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15">
                <a:moveTo>
                  <a:pt x="17" y="12"/>
                </a:moveTo>
                <a:cubicBezTo>
                  <a:pt x="15" y="14"/>
                  <a:pt x="13" y="15"/>
                  <a:pt x="11" y="14"/>
                </a:cubicBezTo>
                <a:cubicBezTo>
                  <a:pt x="3" y="9"/>
                  <a:pt x="3" y="9"/>
                  <a:pt x="3" y="9"/>
                </a:cubicBezTo>
                <a:cubicBezTo>
                  <a:pt x="1" y="8"/>
                  <a:pt x="0" y="6"/>
                  <a:pt x="1" y="3"/>
                </a:cubicBezTo>
                <a:cubicBezTo>
                  <a:pt x="1" y="3"/>
                  <a:pt x="1" y="3"/>
                  <a:pt x="1" y="3"/>
                </a:cubicBezTo>
                <a:cubicBezTo>
                  <a:pt x="2" y="1"/>
                  <a:pt x="5" y="0"/>
                  <a:pt x="7" y="2"/>
                </a:cubicBezTo>
                <a:cubicBezTo>
                  <a:pt x="15" y="6"/>
                  <a:pt x="15" y="6"/>
                  <a:pt x="15" y="6"/>
                </a:cubicBezTo>
                <a:cubicBezTo>
                  <a:pt x="17" y="7"/>
                  <a:pt x="18" y="10"/>
                  <a:pt x="17" y="12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" name="Freeform 1343">
            <a:extLst>
              <a:ext uri="{FF2B5EF4-FFF2-40B4-BE49-F238E27FC236}">
                <a16:creationId xmlns:a16="http://schemas.microsoft.com/office/drawing/2014/main" id="{B92D47B1-AFCD-4635-A2B6-49D167EF073C}"/>
              </a:ext>
            </a:extLst>
          </p:cNvPr>
          <p:cNvSpPr>
            <a:spLocks/>
          </p:cNvSpPr>
          <p:nvPr/>
        </p:nvSpPr>
        <p:spPr bwMode="auto">
          <a:xfrm>
            <a:off x="10665527" y="6485696"/>
            <a:ext cx="8766" cy="7513"/>
          </a:xfrm>
          <a:custGeom>
            <a:avLst/>
            <a:gdLst>
              <a:gd name="T0" fmla="*/ 15 w 18"/>
              <a:gd name="T1" fmla="*/ 6 h 15"/>
              <a:gd name="T2" fmla="*/ 17 w 18"/>
              <a:gd name="T3" fmla="*/ 12 h 15"/>
              <a:gd name="T4" fmla="*/ 11 w 18"/>
              <a:gd name="T5" fmla="*/ 13 h 15"/>
              <a:gd name="T6" fmla="*/ 3 w 18"/>
              <a:gd name="T7" fmla="*/ 9 h 15"/>
              <a:gd name="T8" fmla="*/ 1 w 18"/>
              <a:gd name="T9" fmla="*/ 3 h 15"/>
              <a:gd name="T10" fmla="*/ 7 w 18"/>
              <a:gd name="T11" fmla="*/ 1 h 15"/>
              <a:gd name="T12" fmla="*/ 15 w 18"/>
              <a:gd name="T13" fmla="*/ 6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" h="15">
                <a:moveTo>
                  <a:pt x="15" y="6"/>
                </a:moveTo>
                <a:cubicBezTo>
                  <a:pt x="17" y="7"/>
                  <a:pt x="18" y="9"/>
                  <a:pt x="17" y="12"/>
                </a:cubicBezTo>
                <a:cubicBezTo>
                  <a:pt x="15" y="14"/>
                  <a:pt x="13" y="15"/>
                  <a:pt x="11" y="13"/>
                </a:cubicBezTo>
                <a:cubicBezTo>
                  <a:pt x="3" y="9"/>
                  <a:pt x="3" y="9"/>
                  <a:pt x="3" y="9"/>
                </a:cubicBezTo>
                <a:cubicBezTo>
                  <a:pt x="0" y="8"/>
                  <a:pt x="0" y="5"/>
                  <a:pt x="1" y="3"/>
                </a:cubicBezTo>
                <a:cubicBezTo>
                  <a:pt x="2" y="1"/>
                  <a:pt x="5" y="0"/>
                  <a:pt x="7" y="1"/>
                </a:cubicBezTo>
                <a:lnTo>
                  <a:pt x="15" y="6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" name="Freeform 1344">
            <a:extLst>
              <a:ext uri="{FF2B5EF4-FFF2-40B4-BE49-F238E27FC236}">
                <a16:creationId xmlns:a16="http://schemas.microsoft.com/office/drawing/2014/main" id="{AC093E2F-CE8A-4964-978C-3B72F8B7193C}"/>
              </a:ext>
            </a:extLst>
          </p:cNvPr>
          <p:cNvSpPr>
            <a:spLocks/>
          </p:cNvSpPr>
          <p:nvPr/>
        </p:nvSpPr>
        <p:spPr bwMode="auto">
          <a:xfrm>
            <a:off x="10679302" y="6471921"/>
            <a:ext cx="7513" cy="11270"/>
          </a:xfrm>
          <a:custGeom>
            <a:avLst/>
            <a:gdLst>
              <a:gd name="T0" fmla="*/ 10 w 14"/>
              <a:gd name="T1" fmla="*/ 22 h 23"/>
              <a:gd name="T2" fmla="*/ 5 w 14"/>
              <a:gd name="T3" fmla="*/ 20 h 23"/>
              <a:gd name="T4" fmla="*/ 0 w 14"/>
              <a:gd name="T5" fmla="*/ 6 h 23"/>
              <a:gd name="T6" fmla="*/ 3 w 14"/>
              <a:gd name="T7" fmla="*/ 0 h 23"/>
              <a:gd name="T8" fmla="*/ 3 w 14"/>
              <a:gd name="T9" fmla="*/ 0 h 23"/>
              <a:gd name="T10" fmla="*/ 9 w 14"/>
              <a:gd name="T11" fmla="*/ 3 h 23"/>
              <a:gd name="T12" fmla="*/ 13 w 14"/>
              <a:gd name="T13" fmla="*/ 17 h 23"/>
              <a:gd name="T14" fmla="*/ 10 w 14"/>
              <a:gd name="T15" fmla="*/ 22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" h="23">
                <a:moveTo>
                  <a:pt x="10" y="22"/>
                </a:moveTo>
                <a:cubicBezTo>
                  <a:pt x="8" y="23"/>
                  <a:pt x="6" y="22"/>
                  <a:pt x="5" y="20"/>
                </a:cubicBezTo>
                <a:cubicBezTo>
                  <a:pt x="0" y="6"/>
                  <a:pt x="0" y="6"/>
                  <a:pt x="0" y="6"/>
                </a:cubicBezTo>
                <a:cubicBezTo>
                  <a:pt x="0" y="4"/>
                  <a:pt x="1" y="1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6" y="0"/>
                  <a:pt x="8" y="1"/>
                  <a:pt x="9" y="3"/>
                </a:cubicBezTo>
                <a:cubicBezTo>
                  <a:pt x="13" y="17"/>
                  <a:pt x="13" y="17"/>
                  <a:pt x="13" y="17"/>
                </a:cubicBezTo>
                <a:cubicBezTo>
                  <a:pt x="14" y="19"/>
                  <a:pt x="13" y="22"/>
                  <a:pt x="10" y="22"/>
                </a:cubicBez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" name="Freeform 1345">
            <a:extLst>
              <a:ext uri="{FF2B5EF4-FFF2-40B4-BE49-F238E27FC236}">
                <a16:creationId xmlns:a16="http://schemas.microsoft.com/office/drawing/2014/main" id="{02464B2D-BD50-4CB8-AE49-B262D9EF35EE}"/>
              </a:ext>
            </a:extLst>
          </p:cNvPr>
          <p:cNvSpPr>
            <a:spLocks/>
          </p:cNvSpPr>
          <p:nvPr/>
        </p:nvSpPr>
        <p:spPr bwMode="auto">
          <a:xfrm>
            <a:off x="10750679" y="6582118"/>
            <a:ext cx="147764" cy="28802"/>
          </a:xfrm>
          <a:custGeom>
            <a:avLst/>
            <a:gdLst>
              <a:gd name="T0" fmla="*/ 286 w 286"/>
              <a:gd name="T1" fmla="*/ 28 h 56"/>
              <a:gd name="T2" fmla="*/ 258 w 286"/>
              <a:gd name="T3" fmla="*/ 56 h 56"/>
              <a:gd name="T4" fmla="*/ 28 w 286"/>
              <a:gd name="T5" fmla="*/ 56 h 56"/>
              <a:gd name="T6" fmla="*/ 0 w 286"/>
              <a:gd name="T7" fmla="*/ 28 h 56"/>
              <a:gd name="T8" fmla="*/ 0 w 286"/>
              <a:gd name="T9" fmla="*/ 28 h 56"/>
              <a:gd name="T10" fmla="*/ 28 w 286"/>
              <a:gd name="T11" fmla="*/ 0 h 56"/>
              <a:gd name="T12" fmla="*/ 258 w 286"/>
              <a:gd name="T13" fmla="*/ 0 h 56"/>
              <a:gd name="T14" fmla="*/ 286 w 286"/>
              <a:gd name="T15" fmla="*/ 28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6" h="56">
                <a:moveTo>
                  <a:pt x="286" y="28"/>
                </a:moveTo>
                <a:cubicBezTo>
                  <a:pt x="286" y="43"/>
                  <a:pt x="273" y="56"/>
                  <a:pt x="258" y="56"/>
                </a:cubicBezTo>
                <a:cubicBezTo>
                  <a:pt x="28" y="56"/>
                  <a:pt x="28" y="56"/>
                  <a:pt x="28" y="56"/>
                </a:cubicBezTo>
                <a:cubicBezTo>
                  <a:pt x="13" y="56"/>
                  <a:pt x="0" y="43"/>
                  <a:pt x="0" y="2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12"/>
                  <a:pt x="13" y="0"/>
                  <a:pt x="28" y="0"/>
                </a:cubicBezTo>
                <a:cubicBezTo>
                  <a:pt x="258" y="0"/>
                  <a:pt x="258" y="0"/>
                  <a:pt x="258" y="0"/>
                </a:cubicBezTo>
                <a:cubicBezTo>
                  <a:pt x="273" y="0"/>
                  <a:pt x="286" y="12"/>
                  <a:pt x="286" y="28"/>
                </a:cubicBezTo>
                <a:close/>
              </a:path>
            </a:pathLst>
          </a:cu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" name="Freeform 1346">
            <a:extLst>
              <a:ext uri="{FF2B5EF4-FFF2-40B4-BE49-F238E27FC236}">
                <a16:creationId xmlns:a16="http://schemas.microsoft.com/office/drawing/2014/main" id="{B9F69948-38ED-4AB7-9FE9-F3C0F0C52291}"/>
              </a:ext>
            </a:extLst>
          </p:cNvPr>
          <p:cNvSpPr>
            <a:spLocks noEditPoints="1"/>
          </p:cNvSpPr>
          <p:nvPr/>
        </p:nvSpPr>
        <p:spPr bwMode="auto">
          <a:xfrm>
            <a:off x="10749427" y="6580865"/>
            <a:ext cx="150268" cy="31306"/>
          </a:xfrm>
          <a:custGeom>
            <a:avLst/>
            <a:gdLst>
              <a:gd name="T0" fmla="*/ 260 w 290"/>
              <a:gd name="T1" fmla="*/ 61 h 61"/>
              <a:gd name="T2" fmla="*/ 30 w 290"/>
              <a:gd name="T3" fmla="*/ 61 h 61"/>
              <a:gd name="T4" fmla="*/ 0 w 290"/>
              <a:gd name="T5" fmla="*/ 31 h 61"/>
              <a:gd name="T6" fmla="*/ 30 w 290"/>
              <a:gd name="T7" fmla="*/ 0 h 61"/>
              <a:gd name="T8" fmla="*/ 260 w 290"/>
              <a:gd name="T9" fmla="*/ 0 h 61"/>
              <a:gd name="T10" fmla="*/ 290 w 290"/>
              <a:gd name="T11" fmla="*/ 31 h 61"/>
              <a:gd name="T12" fmla="*/ 260 w 290"/>
              <a:gd name="T13" fmla="*/ 61 h 61"/>
              <a:gd name="T14" fmla="*/ 30 w 290"/>
              <a:gd name="T15" fmla="*/ 5 h 61"/>
              <a:gd name="T16" fmla="*/ 5 w 290"/>
              <a:gd name="T17" fmla="*/ 31 h 61"/>
              <a:gd name="T18" fmla="*/ 30 w 290"/>
              <a:gd name="T19" fmla="*/ 56 h 61"/>
              <a:gd name="T20" fmla="*/ 260 w 290"/>
              <a:gd name="T21" fmla="*/ 56 h 61"/>
              <a:gd name="T22" fmla="*/ 285 w 290"/>
              <a:gd name="T23" fmla="*/ 31 h 61"/>
              <a:gd name="T24" fmla="*/ 260 w 290"/>
              <a:gd name="T25" fmla="*/ 5 h 61"/>
              <a:gd name="T26" fmla="*/ 30 w 290"/>
              <a:gd name="T27" fmla="*/ 5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90" h="61">
                <a:moveTo>
                  <a:pt x="260" y="61"/>
                </a:moveTo>
                <a:cubicBezTo>
                  <a:pt x="30" y="61"/>
                  <a:pt x="30" y="61"/>
                  <a:pt x="30" y="61"/>
                </a:cubicBezTo>
                <a:cubicBezTo>
                  <a:pt x="13" y="61"/>
                  <a:pt x="0" y="48"/>
                  <a:pt x="0" y="31"/>
                </a:cubicBezTo>
                <a:cubicBezTo>
                  <a:pt x="0" y="14"/>
                  <a:pt x="13" y="0"/>
                  <a:pt x="30" y="0"/>
                </a:cubicBezTo>
                <a:cubicBezTo>
                  <a:pt x="260" y="0"/>
                  <a:pt x="260" y="0"/>
                  <a:pt x="260" y="0"/>
                </a:cubicBezTo>
                <a:cubicBezTo>
                  <a:pt x="277" y="0"/>
                  <a:pt x="290" y="14"/>
                  <a:pt x="290" y="31"/>
                </a:cubicBezTo>
                <a:cubicBezTo>
                  <a:pt x="290" y="48"/>
                  <a:pt x="277" y="61"/>
                  <a:pt x="260" y="61"/>
                </a:cubicBezTo>
                <a:close/>
                <a:moveTo>
                  <a:pt x="30" y="5"/>
                </a:moveTo>
                <a:cubicBezTo>
                  <a:pt x="16" y="5"/>
                  <a:pt x="5" y="17"/>
                  <a:pt x="5" y="31"/>
                </a:cubicBezTo>
                <a:cubicBezTo>
                  <a:pt x="5" y="45"/>
                  <a:pt x="16" y="56"/>
                  <a:pt x="30" y="56"/>
                </a:cubicBezTo>
                <a:cubicBezTo>
                  <a:pt x="260" y="56"/>
                  <a:pt x="260" y="56"/>
                  <a:pt x="260" y="56"/>
                </a:cubicBezTo>
                <a:cubicBezTo>
                  <a:pt x="274" y="56"/>
                  <a:pt x="285" y="45"/>
                  <a:pt x="285" y="31"/>
                </a:cubicBezTo>
                <a:cubicBezTo>
                  <a:pt x="285" y="17"/>
                  <a:pt x="274" y="5"/>
                  <a:pt x="260" y="5"/>
                </a:cubicBezTo>
                <a:cubicBezTo>
                  <a:pt x="30" y="5"/>
                  <a:pt x="30" y="5"/>
                  <a:pt x="30" y="5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" name="Rectangle 1347">
            <a:extLst>
              <a:ext uri="{FF2B5EF4-FFF2-40B4-BE49-F238E27FC236}">
                <a16:creationId xmlns:a16="http://schemas.microsoft.com/office/drawing/2014/main" id="{0A949EE7-B09C-45A9-B36F-732A4D04AA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08281" y="6610919"/>
            <a:ext cx="25045" cy="17531"/>
          </a:xfrm>
          <a:prstGeom prst="rect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" name="Rectangle 1348">
            <a:extLst>
              <a:ext uri="{FF2B5EF4-FFF2-40B4-BE49-F238E27FC236}">
                <a16:creationId xmlns:a16="http://schemas.microsoft.com/office/drawing/2014/main" id="{D69C5EC1-8AEB-42D6-8F38-3D5702B025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15795" y="6628450"/>
            <a:ext cx="11270" cy="5509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5" name="Rectangle 1349">
            <a:extLst>
              <a:ext uri="{FF2B5EF4-FFF2-40B4-BE49-F238E27FC236}">
                <a16:creationId xmlns:a16="http://schemas.microsoft.com/office/drawing/2014/main" id="{E5C1CDD4-88D9-4226-90B0-9A2148BE92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59445" y="6678540"/>
            <a:ext cx="7513" cy="137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6" name="Rectangle 1350">
            <a:extLst>
              <a:ext uri="{FF2B5EF4-FFF2-40B4-BE49-F238E27FC236}">
                <a16:creationId xmlns:a16="http://schemas.microsoft.com/office/drawing/2014/main" id="{8C038F95-D0AE-41D6-8E9A-48BD9100FA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18299" y="6678540"/>
            <a:ext cx="6262" cy="137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7" name="Freeform 1351">
            <a:extLst>
              <a:ext uri="{FF2B5EF4-FFF2-40B4-BE49-F238E27FC236}">
                <a16:creationId xmlns:a16="http://schemas.microsoft.com/office/drawing/2014/main" id="{49A39F27-6BA2-4DBF-B423-B643A68FC587}"/>
              </a:ext>
            </a:extLst>
          </p:cNvPr>
          <p:cNvSpPr>
            <a:spLocks/>
          </p:cNvSpPr>
          <p:nvPr/>
        </p:nvSpPr>
        <p:spPr bwMode="auto">
          <a:xfrm>
            <a:off x="10766958" y="6669774"/>
            <a:ext cx="48838" cy="15027"/>
          </a:xfrm>
          <a:custGeom>
            <a:avLst/>
            <a:gdLst>
              <a:gd name="T0" fmla="*/ 39 w 39"/>
              <a:gd name="T1" fmla="*/ 8 h 12"/>
              <a:gd name="T2" fmla="*/ 0 w 39"/>
              <a:gd name="T3" fmla="*/ 12 h 12"/>
              <a:gd name="T4" fmla="*/ 0 w 39"/>
              <a:gd name="T5" fmla="*/ 7 h 12"/>
              <a:gd name="T6" fmla="*/ 39 w 39"/>
              <a:gd name="T7" fmla="*/ 0 h 12"/>
              <a:gd name="T8" fmla="*/ 39 w 39"/>
              <a:gd name="T9" fmla="*/ 8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" h="12">
                <a:moveTo>
                  <a:pt x="39" y="8"/>
                </a:moveTo>
                <a:lnTo>
                  <a:pt x="0" y="12"/>
                </a:lnTo>
                <a:lnTo>
                  <a:pt x="0" y="7"/>
                </a:lnTo>
                <a:lnTo>
                  <a:pt x="39" y="0"/>
                </a:lnTo>
                <a:lnTo>
                  <a:pt x="39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8" name="Oval 1352">
            <a:extLst>
              <a:ext uri="{FF2B5EF4-FFF2-40B4-BE49-F238E27FC236}">
                <a16:creationId xmlns:a16="http://schemas.microsoft.com/office/drawing/2014/main" id="{8D1EEB22-B8B7-469F-9D85-ACA4372862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55688" y="6692315"/>
            <a:ext cx="13775" cy="13775"/>
          </a:xfrm>
          <a:prstGeom prst="ellipse">
            <a:avLst/>
          </a:pr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9" name="Oval 1353">
            <a:extLst>
              <a:ext uri="{FF2B5EF4-FFF2-40B4-BE49-F238E27FC236}">
                <a16:creationId xmlns:a16="http://schemas.microsoft.com/office/drawing/2014/main" id="{4512EA1D-7D39-4F9C-862C-682284717E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14543" y="6692315"/>
            <a:ext cx="13775" cy="13775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0" name="Rectangle 1354">
            <a:extLst>
              <a:ext uri="{FF2B5EF4-FFF2-40B4-BE49-F238E27FC236}">
                <a16:creationId xmlns:a16="http://schemas.microsoft.com/office/drawing/2014/main" id="{59569A32-8FDF-4EEE-B475-BDA982C86B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75902" y="6678540"/>
            <a:ext cx="7513" cy="137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1" name="Freeform 1355">
            <a:extLst>
              <a:ext uri="{FF2B5EF4-FFF2-40B4-BE49-F238E27FC236}">
                <a16:creationId xmlns:a16="http://schemas.microsoft.com/office/drawing/2014/main" id="{5C16B259-6296-4B0C-A9C8-1BC77BC6869F}"/>
              </a:ext>
            </a:extLst>
          </p:cNvPr>
          <p:cNvSpPr>
            <a:spLocks/>
          </p:cNvSpPr>
          <p:nvPr/>
        </p:nvSpPr>
        <p:spPr bwMode="auto">
          <a:xfrm>
            <a:off x="10825813" y="6669774"/>
            <a:ext cx="50089" cy="15027"/>
          </a:xfrm>
          <a:custGeom>
            <a:avLst/>
            <a:gdLst>
              <a:gd name="T0" fmla="*/ 0 w 40"/>
              <a:gd name="T1" fmla="*/ 8 h 12"/>
              <a:gd name="T2" fmla="*/ 40 w 40"/>
              <a:gd name="T3" fmla="*/ 12 h 12"/>
              <a:gd name="T4" fmla="*/ 40 w 40"/>
              <a:gd name="T5" fmla="*/ 7 h 12"/>
              <a:gd name="T6" fmla="*/ 0 w 40"/>
              <a:gd name="T7" fmla="*/ 0 h 12"/>
              <a:gd name="T8" fmla="*/ 0 w 40"/>
              <a:gd name="T9" fmla="*/ 8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" h="12">
                <a:moveTo>
                  <a:pt x="0" y="8"/>
                </a:moveTo>
                <a:lnTo>
                  <a:pt x="40" y="12"/>
                </a:lnTo>
                <a:lnTo>
                  <a:pt x="40" y="7"/>
                </a:lnTo>
                <a:lnTo>
                  <a:pt x="0" y="0"/>
                </a:lnTo>
                <a:lnTo>
                  <a:pt x="0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2" name="Oval 1356">
            <a:extLst>
              <a:ext uri="{FF2B5EF4-FFF2-40B4-BE49-F238E27FC236}">
                <a16:creationId xmlns:a16="http://schemas.microsoft.com/office/drawing/2014/main" id="{5E5DB4A3-84A7-49AF-8F88-8FCED71E14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72146" y="6692315"/>
            <a:ext cx="13775" cy="13775"/>
          </a:xfrm>
          <a:prstGeom prst="ellipse">
            <a:avLst/>
          </a:prstGeom>
          <a:solidFill>
            <a:srgbClr val="8456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3" name="Freeform 1357">
            <a:extLst>
              <a:ext uri="{FF2B5EF4-FFF2-40B4-BE49-F238E27FC236}">
                <a16:creationId xmlns:a16="http://schemas.microsoft.com/office/drawing/2014/main" id="{F866CDC5-01BF-4FC3-B2DB-F41AFB618F1B}"/>
              </a:ext>
            </a:extLst>
          </p:cNvPr>
          <p:cNvSpPr>
            <a:spLocks/>
          </p:cNvSpPr>
          <p:nvPr/>
        </p:nvSpPr>
        <p:spPr bwMode="auto">
          <a:xfrm>
            <a:off x="10436368" y="6428093"/>
            <a:ext cx="18784" cy="6262"/>
          </a:xfrm>
          <a:custGeom>
            <a:avLst/>
            <a:gdLst>
              <a:gd name="T0" fmla="*/ 0 w 35"/>
              <a:gd name="T1" fmla="*/ 5 h 10"/>
              <a:gd name="T2" fmla="*/ 5 w 35"/>
              <a:gd name="T3" fmla="*/ 10 h 10"/>
              <a:gd name="T4" fmla="*/ 30 w 35"/>
              <a:gd name="T5" fmla="*/ 10 h 10"/>
              <a:gd name="T6" fmla="*/ 35 w 35"/>
              <a:gd name="T7" fmla="*/ 5 h 10"/>
              <a:gd name="T8" fmla="*/ 30 w 35"/>
              <a:gd name="T9" fmla="*/ 0 h 10"/>
              <a:gd name="T10" fmla="*/ 5 w 35"/>
              <a:gd name="T11" fmla="*/ 0 h 10"/>
              <a:gd name="T12" fmla="*/ 0 w 35"/>
              <a:gd name="T13" fmla="*/ 5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5" h="10">
                <a:moveTo>
                  <a:pt x="0" y="5"/>
                </a:moveTo>
                <a:cubicBezTo>
                  <a:pt x="0" y="8"/>
                  <a:pt x="2" y="10"/>
                  <a:pt x="5" y="10"/>
                </a:cubicBezTo>
                <a:cubicBezTo>
                  <a:pt x="30" y="10"/>
                  <a:pt x="30" y="10"/>
                  <a:pt x="30" y="10"/>
                </a:cubicBezTo>
                <a:cubicBezTo>
                  <a:pt x="33" y="10"/>
                  <a:pt x="35" y="8"/>
                  <a:pt x="35" y="5"/>
                </a:cubicBezTo>
                <a:cubicBezTo>
                  <a:pt x="35" y="2"/>
                  <a:pt x="33" y="0"/>
                  <a:pt x="30" y="0"/>
                </a:cubicBezTo>
                <a:cubicBezTo>
                  <a:pt x="5" y="0"/>
                  <a:pt x="5" y="0"/>
                  <a:pt x="5" y="0"/>
                </a:cubicBezTo>
                <a:cubicBezTo>
                  <a:pt x="2" y="0"/>
                  <a:pt x="0" y="2"/>
                  <a:pt x="0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" name="Freeform 1358">
            <a:extLst>
              <a:ext uri="{FF2B5EF4-FFF2-40B4-BE49-F238E27FC236}">
                <a16:creationId xmlns:a16="http://schemas.microsoft.com/office/drawing/2014/main" id="{47024B81-E5A2-4E5B-A4B0-AB6FA5C7A9E7}"/>
              </a:ext>
            </a:extLst>
          </p:cNvPr>
          <p:cNvSpPr>
            <a:spLocks/>
          </p:cNvSpPr>
          <p:nvPr/>
        </p:nvSpPr>
        <p:spPr bwMode="auto">
          <a:xfrm>
            <a:off x="10440125" y="6431850"/>
            <a:ext cx="11270" cy="47585"/>
          </a:xfrm>
          <a:custGeom>
            <a:avLst/>
            <a:gdLst>
              <a:gd name="T0" fmla="*/ 0 w 23"/>
              <a:gd name="T1" fmla="*/ 0 h 92"/>
              <a:gd name="T2" fmla="*/ 11 w 23"/>
              <a:gd name="T3" fmla="*/ 0 h 92"/>
              <a:gd name="T4" fmla="*/ 23 w 23"/>
              <a:gd name="T5" fmla="*/ 0 h 92"/>
              <a:gd name="T6" fmla="*/ 23 w 23"/>
              <a:gd name="T7" fmla="*/ 81 h 92"/>
              <a:gd name="T8" fmla="*/ 11 w 23"/>
              <a:gd name="T9" fmla="*/ 92 h 92"/>
              <a:gd name="T10" fmla="*/ 0 w 23"/>
              <a:gd name="T11" fmla="*/ 81 h 92"/>
              <a:gd name="T12" fmla="*/ 0 w 23"/>
              <a:gd name="T13" fmla="*/ 0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" h="92">
                <a:moveTo>
                  <a:pt x="0" y="0"/>
                </a:moveTo>
                <a:cubicBezTo>
                  <a:pt x="11" y="0"/>
                  <a:pt x="11" y="0"/>
                  <a:pt x="11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23" y="81"/>
                  <a:pt x="23" y="81"/>
                  <a:pt x="23" y="81"/>
                </a:cubicBezTo>
                <a:cubicBezTo>
                  <a:pt x="23" y="87"/>
                  <a:pt x="18" y="92"/>
                  <a:pt x="11" y="92"/>
                </a:cubicBezTo>
                <a:cubicBezTo>
                  <a:pt x="5" y="92"/>
                  <a:pt x="0" y="87"/>
                  <a:pt x="0" y="81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5" name="Freeform 1359">
            <a:extLst>
              <a:ext uri="{FF2B5EF4-FFF2-40B4-BE49-F238E27FC236}">
                <a16:creationId xmlns:a16="http://schemas.microsoft.com/office/drawing/2014/main" id="{45C43FCC-3460-4C86-B5A6-D5D6EAE9B179}"/>
              </a:ext>
            </a:extLst>
          </p:cNvPr>
          <p:cNvSpPr>
            <a:spLocks/>
          </p:cNvSpPr>
          <p:nvPr/>
        </p:nvSpPr>
        <p:spPr bwMode="auto">
          <a:xfrm>
            <a:off x="10440125" y="6423084"/>
            <a:ext cx="10018" cy="12522"/>
          </a:xfrm>
          <a:custGeom>
            <a:avLst/>
            <a:gdLst>
              <a:gd name="T0" fmla="*/ 4 w 8"/>
              <a:gd name="T1" fmla="*/ 0 h 10"/>
              <a:gd name="T2" fmla="*/ 8 w 8"/>
              <a:gd name="T3" fmla="*/ 0 h 10"/>
              <a:gd name="T4" fmla="*/ 7 w 8"/>
              <a:gd name="T5" fmla="*/ 10 h 10"/>
              <a:gd name="T6" fmla="*/ 4 w 8"/>
              <a:gd name="T7" fmla="*/ 10 h 10"/>
              <a:gd name="T8" fmla="*/ 2 w 8"/>
              <a:gd name="T9" fmla="*/ 10 h 10"/>
              <a:gd name="T10" fmla="*/ 0 w 8"/>
              <a:gd name="T11" fmla="*/ 0 h 10"/>
              <a:gd name="T12" fmla="*/ 4 w 8"/>
              <a:gd name="T13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" h="10">
                <a:moveTo>
                  <a:pt x="4" y="0"/>
                </a:moveTo>
                <a:lnTo>
                  <a:pt x="8" y="0"/>
                </a:lnTo>
                <a:lnTo>
                  <a:pt x="7" y="10"/>
                </a:lnTo>
                <a:lnTo>
                  <a:pt x="4" y="10"/>
                </a:lnTo>
                <a:lnTo>
                  <a:pt x="2" y="10"/>
                </a:lnTo>
                <a:lnTo>
                  <a:pt x="0" y="0"/>
                </a:lnTo>
                <a:lnTo>
                  <a:pt x="4" y="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6" name="Freeform 1360">
            <a:extLst>
              <a:ext uri="{FF2B5EF4-FFF2-40B4-BE49-F238E27FC236}">
                <a16:creationId xmlns:a16="http://schemas.microsoft.com/office/drawing/2014/main" id="{FC98E6CE-AC15-4D80-8DB3-3782E6A47692}"/>
              </a:ext>
            </a:extLst>
          </p:cNvPr>
          <p:cNvSpPr>
            <a:spLocks/>
          </p:cNvSpPr>
          <p:nvPr/>
        </p:nvSpPr>
        <p:spPr bwMode="auto">
          <a:xfrm>
            <a:off x="10440125" y="6423084"/>
            <a:ext cx="10018" cy="5009"/>
          </a:xfrm>
          <a:custGeom>
            <a:avLst/>
            <a:gdLst>
              <a:gd name="T0" fmla="*/ 0 w 8"/>
              <a:gd name="T1" fmla="*/ 0 h 4"/>
              <a:gd name="T2" fmla="*/ 4 w 8"/>
              <a:gd name="T3" fmla="*/ 0 h 4"/>
              <a:gd name="T4" fmla="*/ 8 w 8"/>
              <a:gd name="T5" fmla="*/ 0 h 4"/>
              <a:gd name="T6" fmla="*/ 8 w 8"/>
              <a:gd name="T7" fmla="*/ 4 h 4"/>
              <a:gd name="T8" fmla="*/ 1 w 8"/>
              <a:gd name="T9" fmla="*/ 4 h 4"/>
              <a:gd name="T10" fmla="*/ 0 w 8"/>
              <a:gd name="T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4">
                <a:moveTo>
                  <a:pt x="0" y="0"/>
                </a:moveTo>
                <a:lnTo>
                  <a:pt x="4" y="0"/>
                </a:lnTo>
                <a:lnTo>
                  <a:pt x="8" y="0"/>
                </a:lnTo>
                <a:lnTo>
                  <a:pt x="8" y="4"/>
                </a:lnTo>
                <a:lnTo>
                  <a:pt x="1" y="4"/>
                </a:lnTo>
                <a:lnTo>
                  <a:pt x="0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7" name="Freeform 1361">
            <a:extLst>
              <a:ext uri="{FF2B5EF4-FFF2-40B4-BE49-F238E27FC236}">
                <a16:creationId xmlns:a16="http://schemas.microsoft.com/office/drawing/2014/main" id="{4BCFA543-EED4-414D-81AC-2EE12A45C0B0}"/>
              </a:ext>
            </a:extLst>
          </p:cNvPr>
          <p:cNvSpPr>
            <a:spLocks/>
          </p:cNvSpPr>
          <p:nvPr/>
        </p:nvSpPr>
        <p:spPr bwMode="auto">
          <a:xfrm>
            <a:off x="10440125" y="6458147"/>
            <a:ext cx="11270" cy="21288"/>
          </a:xfrm>
          <a:custGeom>
            <a:avLst/>
            <a:gdLst>
              <a:gd name="T0" fmla="*/ 23 w 23"/>
              <a:gd name="T1" fmla="*/ 0 h 40"/>
              <a:gd name="T2" fmla="*/ 23 w 23"/>
              <a:gd name="T3" fmla="*/ 29 h 40"/>
              <a:gd name="T4" fmla="*/ 11 w 23"/>
              <a:gd name="T5" fmla="*/ 40 h 40"/>
              <a:gd name="T6" fmla="*/ 0 w 23"/>
              <a:gd name="T7" fmla="*/ 29 h 40"/>
              <a:gd name="T8" fmla="*/ 0 w 23"/>
              <a:gd name="T9" fmla="*/ 0 h 40"/>
              <a:gd name="T10" fmla="*/ 23 w 23"/>
              <a:gd name="T11" fmla="*/ 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3" h="40">
                <a:moveTo>
                  <a:pt x="23" y="0"/>
                </a:moveTo>
                <a:cubicBezTo>
                  <a:pt x="23" y="29"/>
                  <a:pt x="23" y="29"/>
                  <a:pt x="23" y="29"/>
                </a:cubicBezTo>
                <a:cubicBezTo>
                  <a:pt x="23" y="35"/>
                  <a:pt x="18" y="40"/>
                  <a:pt x="11" y="40"/>
                </a:cubicBezTo>
                <a:cubicBezTo>
                  <a:pt x="5" y="40"/>
                  <a:pt x="0" y="35"/>
                  <a:pt x="0" y="29"/>
                </a:cubicBezTo>
                <a:cubicBezTo>
                  <a:pt x="0" y="0"/>
                  <a:pt x="0" y="0"/>
                  <a:pt x="0" y="0"/>
                </a:cubicBezTo>
                <a:lnTo>
                  <a:pt x="23" y="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8" name="Freeform 1362">
            <a:extLst>
              <a:ext uri="{FF2B5EF4-FFF2-40B4-BE49-F238E27FC236}">
                <a16:creationId xmlns:a16="http://schemas.microsoft.com/office/drawing/2014/main" id="{98E471C1-9A23-43E4-9415-1640013DEE96}"/>
              </a:ext>
            </a:extLst>
          </p:cNvPr>
          <p:cNvSpPr>
            <a:spLocks/>
          </p:cNvSpPr>
          <p:nvPr/>
        </p:nvSpPr>
        <p:spPr bwMode="auto">
          <a:xfrm>
            <a:off x="10460160" y="6428093"/>
            <a:ext cx="18784" cy="6262"/>
          </a:xfrm>
          <a:custGeom>
            <a:avLst/>
            <a:gdLst>
              <a:gd name="T0" fmla="*/ 0 w 35"/>
              <a:gd name="T1" fmla="*/ 5 h 10"/>
              <a:gd name="T2" fmla="*/ 5 w 35"/>
              <a:gd name="T3" fmla="*/ 10 h 10"/>
              <a:gd name="T4" fmla="*/ 30 w 35"/>
              <a:gd name="T5" fmla="*/ 10 h 10"/>
              <a:gd name="T6" fmla="*/ 35 w 35"/>
              <a:gd name="T7" fmla="*/ 5 h 10"/>
              <a:gd name="T8" fmla="*/ 30 w 35"/>
              <a:gd name="T9" fmla="*/ 0 h 10"/>
              <a:gd name="T10" fmla="*/ 5 w 35"/>
              <a:gd name="T11" fmla="*/ 0 h 10"/>
              <a:gd name="T12" fmla="*/ 0 w 35"/>
              <a:gd name="T13" fmla="*/ 5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5" h="10">
                <a:moveTo>
                  <a:pt x="0" y="5"/>
                </a:moveTo>
                <a:cubicBezTo>
                  <a:pt x="0" y="8"/>
                  <a:pt x="2" y="10"/>
                  <a:pt x="5" y="10"/>
                </a:cubicBezTo>
                <a:cubicBezTo>
                  <a:pt x="30" y="10"/>
                  <a:pt x="30" y="10"/>
                  <a:pt x="30" y="10"/>
                </a:cubicBezTo>
                <a:cubicBezTo>
                  <a:pt x="33" y="10"/>
                  <a:pt x="35" y="8"/>
                  <a:pt x="35" y="5"/>
                </a:cubicBezTo>
                <a:cubicBezTo>
                  <a:pt x="35" y="2"/>
                  <a:pt x="33" y="0"/>
                  <a:pt x="30" y="0"/>
                </a:cubicBezTo>
                <a:cubicBezTo>
                  <a:pt x="5" y="0"/>
                  <a:pt x="5" y="0"/>
                  <a:pt x="5" y="0"/>
                </a:cubicBezTo>
                <a:cubicBezTo>
                  <a:pt x="2" y="0"/>
                  <a:pt x="0" y="2"/>
                  <a:pt x="0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9" name="Freeform 1363">
            <a:extLst>
              <a:ext uri="{FF2B5EF4-FFF2-40B4-BE49-F238E27FC236}">
                <a16:creationId xmlns:a16="http://schemas.microsoft.com/office/drawing/2014/main" id="{1D7F27CD-2EBC-41D2-BD7E-9410404846C3}"/>
              </a:ext>
            </a:extLst>
          </p:cNvPr>
          <p:cNvSpPr>
            <a:spLocks/>
          </p:cNvSpPr>
          <p:nvPr/>
        </p:nvSpPr>
        <p:spPr bwMode="auto">
          <a:xfrm>
            <a:off x="10463918" y="6431850"/>
            <a:ext cx="11270" cy="47585"/>
          </a:xfrm>
          <a:custGeom>
            <a:avLst/>
            <a:gdLst>
              <a:gd name="T0" fmla="*/ 0 w 23"/>
              <a:gd name="T1" fmla="*/ 0 h 92"/>
              <a:gd name="T2" fmla="*/ 11 w 23"/>
              <a:gd name="T3" fmla="*/ 0 h 92"/>
              <a:gd name="T4" fmla="*/ 23 w 23"/>
              <a:gd name="T5" fmla="*/ 0 h 92"/>
              <a:gd name="T6" fmla="*/ 23 w 23"/>
              <a:gd name="T7" fmla="*/ 81 h 92"/>
              <a:gd name="T8" fmla="*/ 11 w 23"/>
              <a:gd name="T9" fmla="*/ 92 h 92"/>
              <a:gd name="T10" fmla="*/ 0 w 23"/>
              <a:gd name="T11" fmla="*/ 81 h 92"/>
              <a:gd name="T12" fmla="*/ 0 w 23"/>
              <a:gd name="T13" fmla="*/ 0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" h="92">
                <a:moveTo>
                  <a:pt x="0" y="0"/>
                </a:moveTo>
                <a:cubicBezTo>
                  <a:pt x="11" y="0"/>
                  <a:pt x="11" y="0"/>
                  <a:pt x="11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23" y="81"/>
                  <a:pt x="23" y="81"/>
                  <a:pt x="23" y="81"/>
                </a:cubicBezTo>
                <a:cubicBezTo>
                  <a:pt x="23" y="87"/>
                  <a:pt x="18" y="92"/>
                  <a:pt x="11" y="92"/>
                </a:cubicBezTo>
                <a:cubicBezTo>
                  <a:pt x="5" y="92"/>
                  <a:pt x="0" y="87"/>
                  <a:pt x="0" y="81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0" name="Freeform 1364">
            <a:extLst>
              <a:ext uri="{FF2B5EF4-FFF2-40B4-BE49-F238E27FC236}">
                <a16:creationId xmlns:a16="http://schemas.microsoft.com/office/drawing/2014/main" id="{BBC4E157-DA42-478E-BD41-60D6E318E71C}"/>
              </a:ext>
            </a:extLst>
          </p:cNvPr>
          <p:cNvSpPr>
            <a:spLocks/>
          </p:cNvSpPr>
          <p:nvPr/>
        </p:nvSpPr>
        <p:spPr bwMode="auto">
          <a:xfrm>
            <a:off x="10463918" y="6423084"/>
            <a:ext cx="10018" cy="12522"/>
          </a:xfrm>
          <a:custGeom>
            <a:avLst/>
            <a:gdLst>
              <a:gd name="T0" fmla="*/ 4 w 8"/>
              <a:gd name="T1" fmla="*/ 0 h 10"/>
              <a:gd name="T2" fmla="*/ 8 w 8"/>
              <a:gd name="T3" fmla="*/ 0 h 10"/>
              <a:gd name="T4" fmla="*/ 7 w 8"/>
              <a:gd name="T5" fmla="*/ 10 h 10"/>
              <a:gd name="T6" fmla="*/ 4 w 8"/>
              <a:gd name="T7" fmla="*/ 10 h 10"/>
              <a:gd name="T8" fmla="*/ 2 w 8"/>
              <a:gd name="T9" fmla="*/ 10 h 10"/>
              <a:gd name="T10" fmla="*/ 0 w 8"/>
              <a:gd name="T11" fmla="*/ 0 h 10"/>
              <a:gd name="T12" fmla="*/ 4 w 8"/>
              <a:gd name="T13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" h="10">
                <a:moveTo>
                  <a:pt x="4" y="0"/>
                </a:moveTo>
                <a:lnTo>
                  <a:pt x="8" y="0"/>
                </a:lnTo>
                <a:lnTo>
                  <a:pt x="7" y="10"/>
                </a:lnTo>
                <a:lnTo>
                  <a:pt x="4" y="10"/>
                </a:lnTo>
                <a:lnTo>
                  <a:pt x="2" y="10"/>
                </a:lnTo>
                <a:lnTo>
                  <a:pt x="0" y="0"/>
                </a:lnTo>
                <a:lnTo>
                  <a:pt x="4" y="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1" name="Freeform 1365">
            <a:extLst>
              <a:ext uri="{FF2B5EF4-FFF2-40B4-BE49-F238E27FC236}">
                <a16:creationId xmlns:a16="http://schemas.microsoft.com/office/drawing/2014/main" id="{3A7EAC4F-3DC7-4329-A82D-CD4DD534CC5B}"/>
              </a:ext>
            </a:extLst>
          </p:cNvPr>
          <p:cNvSpPr>
            <a:spLocks/>
          </p:cNvSpPr>
          <p:nvPr/>
        </p:nvSpPr>
        <p:spPr bwMode="auto">
          <a:xfrm>
            <a:off x="10463918" y="6423084"/>
            <a:ext cx="10018" cy="5009"/>
          </a:xfrm>
          <a:custGeom>
            <a:avLst/>
            <a:gdLst>
              <a:gd name="T0" fmla="*/ 0 w 8"/>
              <a:gd name="T1" fmla="*/ 0 h 4"/>
              <a:gd name="T2" fmla="*/ 4 w 8"/>
              <a:gd name="T3" fmla="*/ 0 h 4"/>
              <a:gd name="T4" fmla="*/ 8 w 8"/>
              <a:gd name="T5" fmla="*/ 0 h 4"/>
              <a:gd name="T6" fmla="*/ 8 w 8"/>
              <a:gd name="T7" fmla="*/ 4 h 4"/>
              <a:gd name="T8" fmla="*/ 1 w 8"/>
              <a:gd name="T9" fmla="*/ 4 h 4"/>
              <a:gd name="T10" fmla="*/ 0 w 8"/>
              <a:gd name="T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4">
                <a:moveTo>
                  <a:pt x="0" y="0"/>
                </a:moveTo>
                <a:lnTo>
                  <a:pt x="4" y="0"/>
                </a:lnTo>
                <a:lnTo>
                  <a:pt x="8" y="0"/>
                </a:lnTo>
                <a:lnTo>
                  <a:pt x="8" y="4"/>
                </a:lnTo>
                <a:lnTo>
                  <a:pt x="1" y="4"/>
                </a:lnTo>
                <a:lnTo>
                  <a:pt x="0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2" name="Freeform 1366">
            <a:extLst>
              <a:ext uri="{FF2B5EF4-FFF2-40B4-BE49-F238E27FC236}">
                <a16:creationId xmlns:a16="http://schemas.microsoft.com/office/drawing/2014/main" id="{E4631911-1B70-49A0-A8E9-AFE47E00910D}"/>
              </a:ext>
            </a:extLst>
          </p:cNvPr>
          <p:cNvSpPr>
            <a:spLocks/>
          </p:cNvSpPr>
          <p:nvPr/>
        </p:nvSpPr>
        <p:spPr bwMode="auto">
          <a:xfrm>
            <a:off x="10463918" y="6451886"/>
            <a:ext cx="11270" cy="27549"/>
          </a:xfrm>
          <a:custGeom>
            <a:avLst/>
            <a:gdLst>
              <a:gd name="T0" fmla="*/ 23 w 23"/>
              <a:gd name="T1" fmla="*/ 0 h 53"/>
              <a:gd name="T2" fmla="*/ 23 w 23"/>
              <a:gd name="T3" fmla="*/ 42 h 53"/>
              <a:gd name="T4" fmla="*/ 11 w 23"/>
              <a:gd name="T5" fmla="*/ 53 h 53"/>
              <a:gd name="T6" fmla="*/ 0 w 23"/>
              <a:gd name="T7" fmla="*/ 42 h 53"/>
              <a:gd name="T8" fmla="*/ 0 w 23"/>
              <a:gd name="T9" fmla="*/ 0 h 53"/>
              <a:gd name="T10" fmla="*/ 23 w 23"/>
              <a:gd name="T11" fmla="*/ 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3" h="53">
                <a:moveTo>
                  <a:pt x="23" y="0"/>
                </a:moveTo>
                <a:cubicBezTo>
                  <a:pt x="23" y="42"/>
                  <a:pt x="23" y="42"/>
                  <a:pt x="23" y="42"/>
                </a:cubicBezTo>
                <a:cubicBezTo>
                  <a:pt x="23" y="48"/>
                  <a:pt x="18" y="53"/>
                  <a:pt x="11" y="53"/>
                </a:cubicBezTo>
                <a:cubicBezTo>
                  <a:pt x="5" y="53"/>
                  <a:pt x="0" y="48"/>
                  <a:pt x="0" y="42"/>
                </a:cubicBezTo>
                <a:cubicBezTo>
                  <a:pt x="0" y="0"/>
                  <a:pt x="0" y="0"/>
                  <a:pt x="0" y="0"/>
                </a:cubicBezTo>
                <a:lnTo>
                  <a:pt x="23" y="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3" name="Freeform 1367">
            <a:extLst>
              <a:ext uri="{FF2B5EF4-FFF2-40B4-BE49-F238E27FC236}">
                <a16:creationId xmlns:a16="http://schemas.microsoft.com/office/drawing/2014/main" id="{9ED586C1-2748-4783-B6D6-ADF193A953C6}"/>
              </a:ext>
            </a:extLst>
          </p:cNvPr>
          <p:cNvSpPr>
            <a:spLocks/>
          </p:cNvSpPr>
          <p:nvPr/>
        </p:nvSpPr>
        <p:spPr bwMode="auto">
          <a:xfrm>
            <a:off x="10483953" y="6428093"/>
            <a:ext cx="18784" cy="6262"/>
          </a:xfrm>
          <a:custGeom>
            <a:avLst/>
            <a:gdLst>
              <a:gd name="T0" fmla="*/ 0 w 35"/>
              <a:gd name="T1" fmla="*/ 5 h 10"/>
              <a:gd name="T2" fmla="*/ 5 w 35"/>
              <a:gd name="T3" fmla="*/ 10 h 10"/>
              <a:gd name="T4" fmla="*/ 30 w 35"/>
              <a:gd name="T5" fmla="*/ 10 h 10"/>
              <a:gd name="T6" fmla="*/ 35 w 35"/>
              <a:gd name="T7" fmla="*/ 5 h 10"/>
              <a:gd name="T8" fmla="*/ 30 w 35"/>
              <a:gd name="T9" fmla="*/ 0 h 10"/>
              <a:gd name="T10" fmla="*/ 5 w 35"/>
              <a:gd name="T11" fmla="*/ 0 h 10"/>
              <a:gd name="T12" fmla="*/ 0 w 35"/>
              <a:gd name="T13" fmla="*/ 5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5" h="10">
                <a:moveTo>
                  <a:pt x="0" y="5"/>
                </a:moveTo>
                <a:cubicBezTo>
                  <a:pt x="0" y="8"/>
                  <a:pt x="2" y="10"/>
                  <a:pt x="5" y="10"/>
                </a:cubicBezTo>
                <a:cubicBezTo>
                  <a:pt x="30" y="10"/>
                  <a:pt x="30" y="10"/>
                  <a:pt x="30" y="10"/>
                </a:cubicBezTo>
                <a:cubicBezTo>
                  <a:pt x="33" y="10"/>
                  <a:pt x="35" y="8"/>
                  <a:pt x="35" y="5"/>
                </a:cubicBezTo>
                <a:cubicBezTo>
                  <a:pt x="35" y="2"/>
                  <a:pt x="33" y="0"/>
                  <a:pt x="30" y="0"/>
                </a:cubicBezTo>
                <a:cubicBezTo>
                  <a:pt x="5" y="0"/>
                  <a:pt x="5" y="0"/>
                  <a:pt x="5" y="0"/>
                </a:cubicBezTo>
                <a:cubicBezTo>
                  <a:pt x="2" y="0"/>
                  <a:pt x="0" y="2"/>
                  <a:pt x="0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4" name="Freeform 1368">
            <a:extLst>
              <a:ext uri="{FF2B5EF4-FFF2-40B4-BE49-F238E27FC236}">
                <a16:creationId xmlns:a16="http://schemas.microsoft.com/office/drawing/2014/main" id="{C099CC45-2031-4C9C-9070-8DB9EFAB70D9}"/>
              </a:ext>
            </a:extLst>
          </p:cNvPr>
          <p:cNvSpPr>
            <a:spLocks/>
          </p:cNvSpPr>
          <p:nvPr/>
        </p:nvSpPr>
        <p:spPr bwMode="auto">
          <a:xfrm>
            <a:off x="10487710" y="6431850"/>
            <a:ext cx="11270" cy="47585"/>
          </a:xfrm>
          <a:custGeom>
            <a:avLst/>
            <a:gdLst>
              <a:gd name="T0" fmla="*/ 0 w 23"/>
              <a:gd name="T1" fmla="*/ 0 h 92"/>
              <a:gd name="T2" fmla="*/ 11 w 23"/>
              <a:gd name="T3" fmla="*/ 0 h 92"/>
              <a:gd name="T4" fmla="*/ 23 w 23"/>
              <a:gd name="T5" fmla="*/ 0 h 92"/>
              <a:gd name="T6" fmla="*/ 23 w 23"/>
              <a:gd name="T7" fmla="*/ 81 h 92"/>
              <a:gd name="T8" fmla="*/ 11 w 23"/>
              <a:gd name="T9" fmla="*/ 92 h 92"/>
              <a:gd name="T10" fmla="*/ 0 w 23"/>
              <a:gd name="T11" fmla="*/ 81 h 92"/>
              <a:gd name="T12" fmla="*/ 0 w 23"/>
              <a:gd name="T13" fmla="*/ 0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" h="92">
                <a:moveTo>
                  <a:pt x="0" y="0"/>
                </a:moveTo>
                <a:cubicBezTo>
                  <a:pt x="11" y="0"/>
                  <a:pt x="11" y="0"/>
                  <a:pt x="11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23" y="81"/>
                  <a:pt x="23" y="81"/>
                  <a:pt x="23" y="81"/>
                </a:cubicBezTo>
                <a:cubicBezTo>
                  <a:pt x="23" y="87"/>
                  <a:pt x="18" y="92"/>
                  <a:pt x="11" y="92"/>
                </a:cubicBezTo>
                <a:cubicBezTo>
                  <a:pt x="5" y="92"/>
                  <a:pt x="0" y="87"/>
                  <a:pt x="0" y="81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" name="Freeform 1369">
            <a:extLst>
              <a:ext uri="{FF2B5EF4-FFF2-40B4-BE49-F238E27FC236}">
                <a16:creationId xmlns:a16="http://schemas.microsoft.com/office/drawing/2014/main" id="{30A4BFB8-7E3F-4D03-B554-D6D2C4BACDE2}"/>
              </a:ext>
            </a:extLst>
          </p:cNvPr>
          <p:cNvSpPr>
            <a:spLocks/>
          </p:cNvSpPr>
          <p:nvPr/>
        </p:nvSpPr>
        <p:spPr bwMode="auto">
          <a:xfrm>
            <a:off x="10488962" y="6423084"/>
            <a:ext cx="8766" cy="12522"/>
          </a:xfrm>
          <a:custGeom>
            <a:avLst/>
            <a:gdLst>
              <a:gd name="T0" fmla="*/ 3 w 7"/>
              <a:gd name="T1" fmla="*/ 0 h 10"/>
              <a:gd name="T2" fmla="*/ 7 w 7"/>
              <a:gd name="T3" fmla="*/ 0 h 10"/>
              <a:gd name="T4" fmla="*/ 6 w 7"/>
              <a:gd name="T5" fmla="*/ 10 h 10"/>
              <a:gd name="T6" fmla="*/ 3 w 7"/>
              <a:gd name="T7" fmla="*/ 10 h 10"/>
              <a:gd name="T8" fmla="*/ 1 w 7"/>
              <a:gd name="T9" fmla="*/ 10 h 10"/>
              <a:gd name="T10" fmla="*/ 0 w 7"/>
              <a:gd name="T11" fmla="*/ 0 h 10"/>
              <a:gd name="T12" fmla="*/ 3 w 7"/>
              <a:gd name="T13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" h="10">
                <a:moveTo>
                  <a:pt x="3" y="0"/>
                </a:moveTo>
                <a:lnTo>
                  <a:pt x="7" y="0"/>
                </a:lnTo>
                <a:lnTo>
                  <a:pt x="6" y="10"/>
                </a:lnTo>
                <a:lnTo>
                  <a:pt x="3" y="10"/>
                </a:lnTo>
                <a:lnTo>
                  <a:pt x="1" y="10"/>
                </a:ln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6" name="Freeform 1370">
            <a:extLst>
              <a:ext uri="{FF2B5EF4-FFF2-40B4-BE49-F238E27FC236}">
                <a16:creationId xmlns:a16="http://schemas.microsoft.com/office/drawing/2014/main" id="{382C130A-66C4-41F1-8845-865CCE4BC7B5}"/>
              </a:ext>
            </a:extLst>
          </p:cNvPr>
          <p:cNvSpPr>
            <a:spLocks/>
          </p:cNvSpPr>
          <p:nvPr/>
        </p:nvSpPr>
        <p:spPr bwMode="auto">
          <a:xfrm>
            <a:off x="10488962" y="6423084"/>
            <a:ext cx="8766" cy="5009"/>
          </a:xfrm>
          <a:custGeom>
            <a:avLst/>
            <a:gdLst>
              <a:gd name="T0" fmla="*/ 0 w 7"/>
              <a:gd name="T1" fmla="*/ 0 h 4"/>
              <a:gd name="T2" fmla="*/ 3 w 7"/>
              <a:gd name="T3" fmla="*/ 0 h 4"/>
              <a:gd name="T4" fmla="*/ 7 w 7"/>
              <a:gd name="T5" fmla="*/ 0 h 4"/>
              <a:gd name="T6" fmla="*/ 7 w 7"/>
              <a:gd name="T7" fmla="*/ 4 h 4"/>
              <a:gd name="T8" fmla="*/ 0 w 7"/>
              <a:gd name="T9" fmla="*/ 4 h 4"/>
              <a:gd name="T10" fmla="*/ 0 w 7"/>
              <a:gd name="T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4">
                <a:moveTo>
                  <a:pt x="0" y="0"/>
                </a:moveTo>
                <a:lnTo>
                  <a:pt x="3" y="0"/>
                </a:lnTo>
                <a:lnTo>
                  <a:pt x="7" y="0"/>
                </a:lnTo>
                <a:lnTo>
                  <a:pt x="7" y="4"/>
                </a:lnTo>
                <a:lnTo>
                  <a:pt x="0" y="4"/>
                </a:lnTo>
                <a:lnTo>
                  <a:pt x="0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7" name="Freeform 1371">
            <a:extLst>
              <a:ext uri="{FF2B5EF4-FFF2-40B4-BE49-F238E27FC236}">
                <a16:creationId xmlns:a16="http://schemas.microsoft.com/office/drawing/2014/main" id="{A1FD2FAC-966F-4FEF-911E-C6DA093C57D1}"/>
              </a:ext>
            </a:extLst>
          </p:cNvPr>
          <p:cNvSpPr>
            <a:spLocks/>
          </p:cNvSpPr>
          <p:nvPr/>
        </p:nvSpPr>
        <p:spPr bwMode="auto">
          <a:xfrm>
            <a:off x="10487710" y="6468164"/>
            <a:ext cx="11270" cy="11270"/>
          </a:xfrm>
          <a:custGeom>
            <a:avLst/>
            <a:gdLst>
              <a:gd name="T0" fmla="*/ 23 w 23"/>
              <a:gd name="T1" fmla="*/ 0 h 22"/>
              <a:gd name="T2" fmla="*/ 23 w 23"/>
              <a:gd name="T3" fmla="*/ 11 h 22"/>
              <a:gd name="T4" fmla="*/ 11 w 23"/>
              <a:gd name="T5" fmla="*/ 22 h 22"/>
              <a:gd name="T6" fmla="*/ 0 w 23"/>
              <a:gd name="T7" fmla="*/ 11 h 22"/>
              <a:gd name="T8" fmla="*/ 0 w 23"/>
              <a:gd name="T9" fmla="*/ 0 h 22"/>
              <a:gd name="T10" fmla="*/ 23 w 23"/>
              <a:gd name="T11" fmla="*/ 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3" h="22">
                <a:moveTo>
                  <a:pt x="23" y="0"/>
                </a:moveTo>
                <a:cubicBezTo>
                  <a:pt x="23" y="11"/>
                  <a:pt x="23" y="11"/>
                  <a:pt x="23" y="11"/>
                </a:cubicBezTo>
                <a:cubicBezTo>
                  <a:pt x="23" y="17"/>
                  <a:pt x="18" y="22"/>
                  <a:pt x="11" y="22"/>
                </a:cubicBezTo>
                <a:cubicBezTo>
                  <a:pt x="5" y="22"/>
                  <a:pt x="0" y="17"/>
                  <a:pt x="0" y="11"/>
                </a:cubicBezTo>
                <a:cubicBezTo>
                  <a:pt x="0" y="0"/>
                  <a:pt x="0" y="0"/>
                  <a:pt x="0" y="0"/>
                </a:cubicBezTo>
                <a:lnTo>
                  <a:pt x="23" y="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8" name="Freeform 1372">
            <a:extLst>
              <a:ext uri="{FF2B5EF4-FFF2-40B4-BE49-F238E27FC236}">
                <a16:creationId xmlns:a16="http://schemas.microsoft.com/office/drawing/2014/main" id="{A3FDCD7B-BE2C-4A2D-B700-B8B1C79AE0BE}"/>
              </a:ext>
            </a:extLst>
          </p:cNvPr>
          <p:cNvSpPr>
            <a:spLocks/>
          </p:cNvSpPr>
          <p:nvPr/>
        </p:nvSpPr>
        <p:spPr bwMode="auto">
          <a:xfrm>
            <a:off x="10522772" y="6428093"/>
            <a:ext cx="17531" cy="6262"/>
          </a:xfrm>
          <a:custGeom>
            <a:avLst/>
            <a:gdLst>
              <a:gd name="T0" fmla="*/ 0 w 34"/>
              <a:gd name="T1" fmla="*/ 5 h 10"/>
              <a:gd name="T2" fmla="*/ 4 w 34"/>
              <a:gd name="T3" fmla="*/ 10 h 10"/>
              <a:gd name="T4" fmla="*/ 29 w 34"/>
              <a:gd name="T5" fmla="*/ 10 h 10"/>
              <a:gd name="T6" fmla="*/ 34 w 34"/>
              <a:gd name="T7" fmla="*/ 5 h 10"/>
              <a:gd name="T8" fmla="*/ 29 w 34"/>
              <a:gd name="T9" fmla="*/ 0 h 10"/>
              <a:gd name="T10" fmla="*/ 4 w 34"/>
              <a:gd name="T11" fmla="*/ 0 h 10"/>
              <a:gd name="T12" fmla="*/ 0 w 34"/>
              <a:gd name="T13" fmla="*/ 5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4" h="10">
                <a:moveTo>
                  <a:pt x="0" y="5"/>
                </a:moveTo>
                <a:cubicBezTo>
                  <a:pt x="0" y="8"/>
                  <a:pt x="2" y="10"/>
                  <a:pt x="4" y="10"/>
                </a:cubicBezTo>
                <a:cubicBezTo>
                  <a:pt x="29" y="10"/>
                  <a:pt x="29" y="10"/>
                  <a:pt x="29" y="10"/>
                </a:cubicBezTo>
                <a:cubicBezTo>
                  <a:pt x="32" y="10"/>
                  <a:pt x="34" y="8"/>
                  <a:pt x="34" y="5"/>
                </a:cubicBezTo>
                <a:cubicBezTo>
                  <a:pt x="34" y="2"/>
                  <a:pt x="32" y="0"/>
                  <a:pt x="29" y="0"/>
                </a:cubicBez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9" name="Freeform 1373">
            <a:extLst>
              <a:ext uri="{FF2B5EF4-FFF2-40B4-BE49-F238E27FC236}">
                <a16:creationId xmlns:a16="http://schemas.microsoft.com/office/drawing/2014/main" id="{649AFA92-B5E7-49CE-856B-839E304445A3}"/>
              </a:ext>
            </a:extLst>
          </p:cNvPr>
          <p:cNvSpPr>
            <a:spLocks/>
          </p:cNvSpPr>
          <p:nvPr/>
        </p:nvSpPr>
        <p:spPr bwMode="auto">
          <a:xfrm>
            <a:off x="10525277" y="6431850"/>
            <a:ext cx="11270" cy="21288"/>
          </a:xfrm>
          <a:custGeom>
            <a:avLst/>
            <a:gdLst>
              <a:gd name="T0" fmla="*/ 0 w 9"/>
              <a:gd name="T1" fmla="*/ 0 h 17"/>
              <a:gd name="T2" fmla="*/ 5 w 9"/>
              <a:gd name="T3" fmla="*/ 0 h 17"/>
              <a:gd name="T4" fmla="*/ 9 w 9"/>
              <a:gd name="T5" fmla="*/ 0 h 17"/>
              <a:gd name="T6" fmla="*/ 9 w 9"/>
              <a:gd name="T7" fmla="*/ 17 h 17"/>
              <a:gd name="T8" fmla="*/ 0 w 9"/>
              <a:gd name="T9" fmla="*/ 17 h 17"/>
              <a:gd name="T10" fmla="*/ 0 w 9"/>
              <a:gd name="T11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" h="17">
                <a:moveTo>
                  <a:pt x="0" y="0"/>
                </a:moveTo>
                <a:lnTo>
                  <a:pt x="5" y="0"/>
                </a:lnTo>
                <a:lnTo>
                  <a:pt x="9" y="0"/>
                </a:lnTo>
                <a:lnTo>
                  <a:pt x="9" y="17"/>
                </a:lnTo>
                <a:lnTo>
                  <a:pt x="0" y="17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0" name="Freeform 1374">
            <a:extLst>
              <a:ext uri="{FF2B5EF4-FFF2-40B4-BE49-F238E27FC236}">
                <a16:creationId xmlns:a16="http://schemas.microsoft.com/office/drawing/2014/main" id="{31DA2938-0A22-4EE7-A019-B41A845F22CF}"/>
              </a:ext>
            </a:extLst>
          </p:cNvPr>
          <p:cNvSpPr>
            <a:spLocks/>
          </p:cNvSpPr>
          <p:nvPr/>
        </p:nvSpPr>
        <p:spPr bwMode="auto">
          <a:xfrm>
            <a:off x="10525277" y="6423084"/>
            <a:ext cx="11270" cy="12522"/>
          </a:xfrm>
          <a:custGeom>
            <a:avLst/>
            <a:gdLst>
              <a:gd name="T0" fmla="*/ 5 w 9"/>
              <a:gd name="T1" fmla="*/ 0 h 10"/>
              <a:gd name="T2" fmla="*/ 9 w 9"/>
              <a:gd name="T3" fmla="*/ 0 h 10"/>
              <a:gd name="T4" fmla="*/ 7 w 9"/>
              <a:gd name="T5" fmla="*/ 10 h 10"/>
              <a:gd name="T6" fmla="*/ 5 w 9"/>
              <a:gd name="T7" fmla="*/ 10 h 10"/>
              <a:gd name="T8" fmla="*/ 2 w 9"/>
              <a:gd name="T9" fmla="*/ 10 h 10"/>
              <a:gd name="T10" fmla="*/ 0 w 9"/>
              <a:gd name="T11" fmla="*/ 0 h 10"/>
              <a:gd name="T12" fmla="*/ 5 w 9"/>
              <a:gd name="T13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" h="10">
                <a:moveTo>
                  <a:pt x="5" y="0"/>
                </a:moveTo>
                <a:lnTo>
                  <a:pt x="9" y="0"/>
                </a:lnTo>
                <a:lnTo>
                  <a:pt x="7" y="10"/>
                </a:lnTo>
                <a:lnTo>
                  <a:pt x="5" y="10"/>
                </a:lnTo>
                <a:lnTo>
                  <a:pt x="2" y="10"/>
                </a:lnTo>
                <a:lnTo>
                  <a:pt x="0" y="0"/>
                </a:lnTo>
                <a:lnTo>
                  <a:pt x="5" y="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1" name="Freeform 1375">
            <a:extLst>
              <a:ext uri="{FF2B5EF4-FFF2-40B4-BE49-F238E27FC236}">
                <a16:creationId xmlns:a16="http://schemas.microsoft.com/office/drawing/2014/main" id="{E663154D-85BD-4F81-9415-DF8A1701DB87}"/>
              </a:ext>
            </a:extLst>
          </p:cNvPr>
          <p:cNvSpPr>
            <a:spLocks/>
          </p:cNvSpPr>
          <p:nvPr/>
        </p:nvSpPr>
        <p:spPr bwMode="auto">
          <a:xfrm>
            <a:off x="10525277" y="6423084"/>
            <a:ext cx="11270" cy="5009"/>
          </a:xfrm>
          <a:custGeom>
            <a:avLst/>
            <a:gdLst>
              <a:gd name="T0" fmla="*/ 0 w 9"/>
              <a:gd name="T1" fmla="*/ 0 h 4"/>
              <a:gd name="T2" fmla="*/ 5 w 9"/>
              <a:gd name="T3" fmla="*/ 0 h 4"/>
              <a:gd name="T4" fmla="*/ 9 w 9"/>
              <a:gd name="T5" fmla="*/ 0 h 4"/>
              <a:gd name="T6" fmla="*/ 8 w 9"/>
              <a:gd name="T7" fmla="*/ 4 h 4"/>
              <a:gd name="T8" fmla="*/ 1 w 9"/>
              <a:gd name="T9" fmla="*/ 4 h 4"/>
              <a:gd name="T10" fmla="*/ 0 w 9"/>
              <a:gd name="T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" h="4">
                <a:moveTo>
                  <a:pt x="0" y="0"/>
                </a:moveTo>
                <a:lnTo>
                  <a:pt x="5" y="0"/>
                </a:lnTo>
                <a:lnTo>
                  <a:pt x="9" y="0"/>
                </a:lnTo>
                <a:lnTo>
                  <a:pt x="8" y="4"/>
                </a:lnTo>
                <a:lnTo>
                  <a:pt x="1" y="4"/>
                </a:lnTo>
                <a:lnTo>
                  <a:pt x="0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2" name="Oval 1376">
            <a:extLst>
              <a:ext uri="{FF2B5EF4-FFF2-40B4-BE49-F238E27FC236}">
                <a16:creationId xmlns:a16="http://schemas.microsoft.com/office/drawing/2014/main" id="{CC1EC0E2-CAE1-46EF-A185-C5157C67C9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12754" y="6450633"/>
            <a:ext cx="36315" cy="288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3" name="Freeform 1377">
            <a:extLst>
              <a:ext uri="{FF2B5EF4-FFF2-40B4-BE49-F238E27FC236}">
                <a16:creationId xmlns:a16="http://schemas.microsoft.com/office/drawing/2014/main" id="{5C4CE6D8-6DBA-419D-ABAD-23B6402A9768}"/>
              </a:ext>
            </a:extLst>
          </p:cNvPr>
          <p:cNvSpPr>
            <a:spLocks/>
          </p:cNvSpPr>
          <p:nvPr/>
        </p:nvSpPr>
        <p:spPr bwMode="auto">
          <a:xfrm>
            <a:off x="10512754" y="6468164"/>
            <a:ext cx="36315" cy="11270"/>
          </a:xfrm>
          <a:custGeom>
            <a:avLst/>
            <a:gdLst>
              <a:gd name="T0" fmla="*/ 68 w 68"/>
              <a:gd name="T1" fmla="*/ 0 h 22"/>
              <a:gd name="T2" fmla="*/ 34 w 68"/>
              <a:gd name="T3" fmla="*/ 22 h 22"/>
              <a:gd name="T4" fmla="*/ 0 w 68"/>
              <a:gd name="T5" fmla="*/ 0 h 22"/>
              <a:gd name="T6" fmla="*/ 68 w 68"/>
              <a:gd name="T7" fmla="*/ 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8" h="22">
                <a:moveTo>
                  <a:pt x="68" y="0"/>
                </a:moveTo>
                <a:cubicBezTo>
                  <a:pt x="65" y="13"/>
                  <a:pt x="51" y="22"/>
                  <a:pt x="34" y="22"/>
                </a:cubicBezTo>
                <a:cubicBezTo>
                  <a:pt x="17" y="22"/>
                  <a:pt x="3" y="13"/>
                  <a:pt x="0" y="0"/>
                </a:cubicBezTo>
                <a:lnTo>
                  <a:pt x="68" y="0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4" name="Freeform 1378">
            <a:extLst>
              <a:ext uri="{FF2B5EF4-FFF2-40B4-BE49-F238E27FC236}">
                <a16:creationId xmlns:a16="http://schemas.microsoft.com/office/drawing/2014/main" id="{EC43F6EA-98A1-4B33-8484-7C8186D93313}"/>
              </a:ext>
            </a:extLst>
          </p:cNvPr>
          <p:cNvSpPr>
            <a:spLocks/>
          </p:cNvSpPr>
          <p:nvPr/>
        </p:nvSpPr>
        <p:spPr bwMode="auto">
          <a:xfrm>
            <a:off x="10564096" y="6428093"/>
            <a:ext cx="18784" cy="6262"/>
          </a:xfrm>
          <a:custGeom>
            <a:avLst/>
            <a:gdLst>
              <a:gd name="T0" fmla="*/ 0 w 35"/>
              <a:gd name="T1" fmla="*/ 5 h 10"/>
              <a:gd name="T2" fmla="*/ 5 w 35"/>
              <a:gd name="T3" fmla="*/ 10 h 10"/>
              <a:gd name="T4" fmla="*/ 30 w 35"/>
              <a:gd name="T5" fmla="*/ 10 h 10"/>
              <a:gd name="T6" fmla="*/ 35 w 35"/>
              <a:gd name="T7" fmla="*/ 5 h 10"/>
              <a:gd name="T8" fmla="*/ 30 w 35"/>
              <a:gd name="T9" fmla="*/ 0 h 10"/>
              <a:gd name="T10" fmla="*/ 5 w 35"/>
              <a:gd name="T11" fmla="*/ 0 h 10"/>
              <a:gd name="T12" fmla="*/ 0 w 35"/>
              <a:gd name="T13" fmla="*/ 5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5" h="10">
                <a:moveTo>
                  <a:pt x="0" y="5"/>
                </a:moveTo>
                <a:cubicBezTo>
                  <a:pt x="0" y="8"/>
                  <a:pt x="2" y="10"/>
                  <a:pt x="5" y="10"/>
                </a:cubicBezTo>
                <a:cubicBezTo>
                  <a:pt x="30" y="10"/>
                  <a:pt x="30" y="10"/>
                  <a:pt x="30" y="10"/>
                </a:cubicBezTo>
                <a:cubicBezTo>
                  <a:pt x="32" y="10"/>
                  <a:pt x="35" y="8"/>
                  <a:pt x="35" y="5"/>
                </a:cubicBezTo>
                <a:cubicBezTo>
                  <a:pt x="35" y="2"/>
                  <a:pt x="32" y="0"/>
                  <a:pt x="30" y="0"/>
                </a:cubicBezTo>
                <a:cubicBezTo>
                  <a:pt x="5" y="0"/>
                  <a:pt x="5" y="0"/>
                  <a:pt x="5" y="0"/>
                </a:cubicBezTo>
                <a:cubicBezTo>
                  <a:pt x="2" y="0"/>
                  <a:pt x="0" y="2"/>
                  <a:pt x="0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5" name="Freeform 1379">
            <a:extLst>
              <a:ext uri="{FF2B5EF4-FFF2-40B4-BE49-F238E27FC236}">
                <a16:creationId xmlns:a16="http://schemas.microsoft.com/office/drawing/2014/main" id="{D8E86C49-8076-4A9F-A054-64EB0E48D7C1}"/>
              </a:ext>
            </a:extLst>
          </p:cNvPr>
          <p:cNvSpPr>
            <a:spLocks/>
          </p:cNvSpPr>
          <p:nvPr/>
        </p:nvSpPr>
        <p:spPr bwMode="auto">
          <a:xfrm>
            <a:off x="10552826" y="6431850"/>
            <a:ext cx="40071" cy="47585"/>
          </a:xfrm>
          <a:custGeom>
            <a:avLst/>
            <a:gdLst>
              <a:gd name="T0" fmla="*/ 27 w 76"/>
              <a:gd name="T1" fmla="*/ 41 h 92"/>
              <a:gd name="T2" fmla="*/ 27 w 76"/>
              <a:gd name="T3" fmla="*/ 0 h 92"/>
              <a:gd name="T4" fmla="*/ 38 w 76"/>
              <a:gd name="T5" fmla="*/ 0 h 92"/>
              <a:gd name="T6" fmla="*/ 50 w 76"/>
              <a:gd name="T7" fmla="*/ 0 h 92"/>
              <a:gd name="T8" fmla="*/ 50 w 76"/>
              <a:gd name="T9" fmla="*/ 41 h 92"/>
              <a:gd name="T10" fmla="*/ 71 w 76"/>
              <a:gd name="T11" fmla="*/ 68 h 92"/>
              <a:gd name="T12" fmla="*/ 70 w 76"/>
              <a:gd name="T13" fmla="*/ 88 h 92"/>
              <a:gd name="T14" fmla="*/ 60 w 76"/>
              <a:gd name="T15" fmla="*/ 92 h 92"/>
              <a:gd name="T16" fmla="*/ 38 w 76"/>
              <a:gd name="T17" fmla="*/ 92 h 92"/>
              <a:gd name="T18" fmla="*/ 17 w 76"/>
              <a:gd name="T19" fmla="*/ 92 h 92"/>
              <a:gd name="T20" fmla="*/ 6 w 76"/>
              <a:gd name="T21" fmla="*/ 88 h 92"/>
              <a:gd name="T22" fmla="*/ 5 w 76"/>
              <a:gd name="T23" fmla="*/ 68 h 92"/>
              <a:gd name="T24" fmla="*/ 27 w 76"/>
              <a:gd name="T25" fmla="*/ 41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6" h="92">
                <a:moveTo>
                  <a:pt x="27" y="41"/>
                </a:moveTo>
                <a:cubicBezTo>
                  <a:pt x="27" y="0"/>
                  <a:pt x="27" y="0"/>
                  <a:pt x="27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50" y="41"/>
                  <a:pt x="50" y="41"/>
                  <a:pt x="50" y="41"/>
                </a:cubicBezTo>
                <a:cubicBezTo>
                  <a:pt x="71" y="68"/>
                  <a:pt x="71" y="68"/>
                  <a:pt x="71" y="68"/>
                </a:cubicBezTo>
                <a:cubicBezTo>
                  <a:pt x="76" y="74"/>
                  <a:pt x="76" y="82"/>
                  <a:pt x="70" y="88"/>
                </a:cubicBezTo>
                <a:cubicBezTo>
                  <a:pt x="68" y="90"/>
                  <a:pt x="64" y="92"/>
                  <a:pt x="60" y="92"/>
                </a:cubicBezTo>
                <a:cubicBezTo>
                  <a:pt x="38" y="92"/>
                  <a:pt x="38" y="92"/>
                  <a:pt x="38" y="92"/>
                </a:cubicBezTo>
                <a:cubicBezTo>
                  <a:pt x="17" y="92"/>
                  <a:pt x="17" y="92"/>
                  <a:pt x="17" y="92"/>
                </a:cubicBezTo>
                <a:cubicBezTo>
                  <a:pt x="13" y="92"/>
                  <a:pt x="9" y="90"/>
                  <a:pt x="6" y="88"/>
                </a:cubicBezTo>
                <a:cubicBezTo>
                  <a:pt x="1" y="82"/>
                  <a:pt x="0" y="74"/>
                  <a:pt x="5" y="68"/>
                </a:cubicBezTo>
                <a:lnTo>
                  <a:pt x="27" y="41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6" name="Freeform 1380">
            <a:extLst>
              <a:ext uri="{FF2B5EF4-FFF2-40B4-BE49-F238E27FC236}">
                <a16:creationId xmlns:a16="http://schemas.microsoft.com/office/drawing/2014/main" id="{B2903757-0720-4C73-ACB2-0D8265BAC8C1}"/>
              </a:ext>
            </a:extLst>
          </p:cNvPr>
          <p:cNvSpPr>
            <a:spLocks/>
          </p:cNvSpPr>
          <p:nvPr/>
        </p:nvSpPr>
        <p:spPr bwMode="auto">
          <a:xfrm>
            <a:off x="10567853" y="6431850"/>
            <a:ext cx="11270" cy="21288"/>
          </a:xfrm>
          <a:custGeom>
            <a:avLst/>
            <a:gdLst>
              <a:gd name="T0" fmla="*/ 0 w 9"/>
              <a:gd name="T1" fmla="*/ 0 h 17"/>
              <a:gd name="T2" fmla="*/ 4 w 9"/>
              <a:gd name="T3" fmla="*/ 0 h 17"/>
              <a:gd name="T4" fmla="*/ 9 w 9"/>
              <a:gd name="T5" fmla="*/ 0 h 17"/>
              <a:gd name="T6" fmla="*/ 9 w 9"/>
              <a:gd name="T7" fmla="*/ 17 h 17"/>
              <a:gd name="T8" fmla="*/ 0 w 9"/>
              <a:gd name="T9" fmla="*/ 17 h 17"/>
              <a:gd name="T10" fmla="*/ 0 w 9"/>
              <a:gd name="T11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" h="17">
                <a:moveTo>
                  <a:pt x="0" y="0"/>
                </a:moveTo>
                <a:lnTo>
                  <a:pt x="4" y="0"/>
                </a:lnTo>
                <a:lnTo>
                  <a:pt x="9" y="0"/>
                </a:lnTo>
                <a:lnTo>
                  <a:pt x="9" y="17"/>
                </a:lnTo>
                <a:lnTo>
                  <a:pt x="0" y="17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7" name="Freeform 1381">
            <a:extLst>
              <a:ext uri="{FF2B5EF4-FFF2-40B4-BE49-F238E27FC236}">
                <a16:creationId xmlns:a16="http://schemas.microsoft.com/office/drawing/2014/main" id="{0CE63384-4AB1-4B6B-90C8-5C753A561C96}"/>
              </a:ext>
            </a:extLst>
          </p:cNvPr>
          <p:cNvSpPr>
            <a:spLocks/>
          </p:cNvSpPr>
          <p:nvPr/>
        </p:nvSpPr>
        <p:spPr bwMode="auto">
          <a:xfrm>
            <a:off x="10554078" y="6453138"/>
            <a:ext cx="38820" cy="18784"/>
          </a:xfrm>
          <a:custGeom>
            <a:avLst/>
            <a:gdLst>
              <a:gd name="T0" fmla="*/ 3 w 73"/>
              <a:gd name="T1" fmla="*/ 27 h 37"/>
              <a:gd name="T2" fmla="*/ 25 w 73"/>
              <a:gd name="T3" fmla="*/ 0 h 37"/>
              <a:gd name="T4" fmla="*/ 48 w 73"/>
              <a:gd name="T5" fmla="*/ 0 h 37"/>
              <a:gd name="T6" fmla="*/ 69 w 73"/>
              <a:gd name="T7" fmla="*/ 27 h 37"/>
              <a:gd name="T8" fmla="*/ 73 w 73"/>
              <a:gd name="T9" fmla="*/ 37 h 37"/>
              <a:gd name="T10" fmla="*/ 0 w 73"/>
              <a:gd name="T11" fmla="*/ 37 h 37"/>
              <a:gd name="T12" fmla="*/ 3 w 73"/>
              <a:gd name="T13" fmla="*/ 2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3" h="37">
                <a:moveTo>
                  <a:pt x="3" y="27"/>
                </a:moveTo>
                <a:cubicBezTo>
                  <a:pt x="25" y="0"/>
                  <a:pt x="25" y="0"/>
                  <a:pt x="25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69" y="27"/>
                  <a:pt x="69" y="27"/>
                  <a:pt x="69" y="27"/>
                </a:cubicBezTo>
                <a:cubicBezTo>
                  <a:pt x="72" y="30"/>
                  <a:pt x="73" y="34"/>
                  <a:pt x="73" y="37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34"/>
                  <a:pt x="1" y="30"/>
                  <a:pt x="3" y="2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8" name="Freeform 1382">
            <a:extLst>
              <a:ext uri="{FF2B5EF4-FFF2-40B4-BE49-F238E27FC236}">
                <a16:creationId xmlns:a16="http://schemas.microsoft.com/office/drawing/2014/main" id="{1DAE33E0-4BA1-4371-A4D1-BDB9AE5DE49D}"/>
              </a:ext>
            </a:extLst>
          </p:cNvPr>
          <p:cNvSpPr>
            <a:spLocks/>
          </p:cNvSpPr>
          <p:nvPr/>
        </p:nvSpPr>
        <p:spPr bwMode="auto">
          <a:xfrm>
            <a:off x="10554078" y="6471921"/>
            <a:ext cx="38820" cy="7513"/>
          </a:xfrm>
          <a:custGeom>
            <a:avLst/>
            <a:gdLst>
              <a:gd name="T0" fmla="*/ 73 w 73"/>
              <a:gd name="T1" fmla="*/ 0 h 14"/>
              <a:gd name="T2" fmla="*/ 68 w 73"/>
              <a:gd name="T3" fmla="*/ 10 h 14"/>
              <a:gd name="T4" fmla="*/ 58 w 73"/>
              <a:gd name="T5" fmla="*/ 14 h 14"/>
              <a:gd name="T6" fmla="*/ 36 w 73"/>
              <a:gd name="T7" fmla="*/ 14 h 14"/>
              <a:gd name="T8" fmla="*/ 15 w 73"/>
              <a:gd name="T9" fmla="*/ 14 h 14"/>
              <a:gd name="T10" fmla="*/ 4 w 73"/>
              <a:gd name="T11" fmla="*/ 10 h 14"/>
              <a:gd name="T12" fmla="*/ 0 w 73"/>
              <a:gd name="T13" fmla="*/ 0 h 14"/>
              <a:gd name="T14" fmla="*/ 73 w 73"/>
              <a:gd name="T15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3" h="14">
                <a:moveTo>
                  <a:pt x="73" y="0"/>
                </a:moveTo>
                <a:cubicBezTo>
                  <a:pt x="72" y="4"/>
                  <a:pt x="71" y="7"/>
                  <a:pt x="68" y="10"/>
                </a:cubicBezTo>
                <a:cubicBezTo>
                  <a:pt x="66" y="12"/>
                  <a:pt x="62" y="14"/>
                  <a:pt x="58" y="14"/>
                </a:cubicBezTo>
                <a:cubicBezTo>
                  <a:pt x="36" y="14"/>
                  <a:pt x="36" y="14"/>
                  <a:pt x="36" y="14"/>
                </a:cubicBezTo>
                <a:cubicBezTo>
                  <a:pt x="15" y="14"/>
                  <a:pt x="15" y="14"/>
                  <a:pt x="15" y="14"/>
                </a:cubicBezTo>
                <a:cubicBezTo>
                  <a:pt x="11" y="14"/>
                  <a:pt x="7" y="12"/>
                  <a:pt x="4" y="10"/>
                </a:cubicBezTo>
                <a:cubicBezTo>
                  <a:pt x="2" y="7"/>
                  <a:pt x="0" y="4"/>
                  <a:pt x="0" y="0"/>
                </a:cubicBezTo>
                <a:lnTo>
                  <a:pt x="73" y="0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9" name="Freeform 1383">
            <a:extLst>
              <a:ext uri="{FF2B5EF4-FFF2-40B4-BE49-F238E27FC236}">
                <a16:creationId xmlns:a16="http://schemas.microsoft.com/office/drawing/2014/main" id="{BAAC6156-F1CF-43EC-BBEB-ED5F93CC0E68}"/>
              </a:ext>
            </a:extLst>
          </p:cNvPr>
          <p:cNvSpPr>
            <a:spLocks/>
          </p:cNvSpPr>
          <p:nvPr/>
        </p:nvSpPr>
        <p:spPr bwMode="auto">
          <a:xfrm>
            <a:off x="10567853" y="6423084"/>
            <a:ext cx="10018" cy="12522"/>
          </a:xfrm>
          <a:custGeom>
            <a:avLst/>
            <a:gdLst>
              <a:gd name="T0" fmla="*/ 4 w 8"/>
              <a:gd name="T1" fmla="*/ 0 h 10"/>
              <a:gd name="T2" fmla="*/ 8 w 8"/>
              <a:gd name="T3" fmla="*/ 0 h 10"/>
              <a:gd name="T4" fmla="*/ 7 w 8"/>
              <a:gd name="T5" fmla="*/ 10 h 10"/>
              <a:gd name="T6" fmla="*/ 4 w 8"/>
              <a:gd name="T7" fmla="*/ 10 h 10"/>
              <a:gd name="T8" fmla="*/ 2 w 8"/>
              <a:gd name="T9" fmla="*/ 10 h 10"/>
              <a:gd name="T10" fmla="*/ 0 w 8"/>
              <a:gd name="T11" fmla="*/ 0 h 10"/>
              <a:gd name="T12" fmla="*/ 4 w 8"/>
              <a:gd name="T13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" h="10">
                <a:moveTo>
                  <a:pt x="4" y="0"/>
                </a:moveTo>
                <a:lnTo>
                  <a:pt x="8" y="0"/>
                </a:lnTo>
                <a:lnTo>
                  <a:pt x="7" y="10"/>
                </a:lnTo>
                <a:lnTo>
                  <a:pt x="4" y="10"/>
                </a:lnTo>
                <a:lnTo>
                  <a:pt x="2" y="10"/>
                </a:lnTo>
                <a:lnTo>
                  <a:pt x="0" y="0"/>
                </a:lnTo>
                <a:lnTo>
                  <a:pt x="4" y="0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0" name="Freeform 1384">
            <a:extLst>
              <a:ext uri="{FF2B5EF4-FFF2-40B4-BE49-F238E27FC236}">
                <a16:creationId xmlns:a16="http://schemas.microsoft.com/office/drawing/2014/main" id="{D47FC37E-AD59-40AD-9669-2A7482F9D3FB}"/>
              </a:ext>
            </a:extLst>
          </p:cNvPr>
          <p:cNvSpPr>
            <a:spLocks/>
          </p:cNvSpPr>
          <p:nvPr/>
        </p:nvSpPr>
        <p:spPr bwMode="auto">
          <a:xfrm>
            <a:off x="10567853" y="6423084"/>
            <a:ext cx="10018" cy="5009"/>
          </a:xfrm>
          <a:custGeom>
            <a:avLst/>
            <a:gdLst>
              <a:gd name="T0" fmla="*/ 0 w 8"/>
              <a:gd name="T1" fmla="*/ 0 h 4"/>
              <a:gd name="T2" fmla="*/ 4 w 8"/>
              <a:gd name="T3" fmla="*/ 0 h 4"/>
              <a:gd name="T4" fmla="*/ 8 w 8"/>
              <a:gd name="T5" fmla="*/ 0 h 4"/>
              <a:gd name="T6" fmla="*/ 8 w 8"/>
              <a:gd name="T7" fmla="*/ 4 h 4"/>
              <a:gd name="T8" fmla="*/ 1 w 8"/>
              <a:gd name="T9" fmla="*/ 4 h 4"/>
              <a:gd name="T10" fmla="*/ 0 w 8"/>
              <a:gd name="T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4">
                <a:moveTo>
                  <a:pt x="0" y="0"/>
                </a:moveTo>
                <a:lnTo>
                  <a:pt x="4" y="0"/>
                </a:lnTo>
                <a:lnTo>
                  <a:pt x="8" y="0"/>
                </a:lnTo>
                <a:lnTo>
                  <a:pt x="8" y="4"/>
                </a:lnTo>
                <a:lnTo>
                  <a:pt x="1" y="4"/>
                </a:lnTo>
                <a:lnTo>
                  <a:pt x="0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1" name="Freeform 1385">
            <a:extLst>
              <a:ext uri="{FF2B5EF4-FFF2-40B4-BE49-F238E27FC236}">
                <a16:creationId xmlns:a16="http://schemas.microsoft.com/office/drawing/2014/main" id="{A025AAF1-E082-440C-907E-08290E3A28DE}"/>
              </a:ext>
            </a:extLst>
          </p:cNvPr>
          <p:cNvSpPr>
            <a:spLocks noEditPoints="1"/>
          </p:cNvSpPr>
          <p:nvPr/>
        </p:nvSpPr>
        <p:spPr bwMode="auto">
          <a:xfrm>
            <a:off x="10425098" y="6445624"/>
            <a:ext cx="176565" cy="56351"/>
          </a:xfrm>
          <a:custGeom>
            <a:avLst/>
            <a:gdLst>
              <a:gd name="T0" fmla="*/ 0 w 141"/>
              <a:gd name="T1" fmla="*/ 0 h 45"/>
              <a:gd name="T2" fmla="*/ 0 w 141"/>
              <a:gd name="T3" fmla="*/ 45 h 45"/>
              <a:gd name="T4" fmla="*/ 141 w 141"/>
              <a:gd name="T5" fmla="*/ 45 h 45"/>
              <a:gd name="T6" fmla="*/ 141 w 141"/>
              <a:gd name="T7" fmla="*/ 0 h 45"/>
              <a:gd name="T8" fmla="*/ 0 w 141"/>
              <a:gd name="T9" fmla="*/ 0 h 45"/>
              <a:gd name="T10" fmla="*/ 4 w 141"/>
              <a:gd name="T11" fmla="*/ 3 h 45"/>
              <a:gd name="T12" fmla="*/ 138 w 141"/>
              <a:gd name="T13" fmla="*/ 3 h 45"/>
              <a:gd name="T14" fmla="*/ 138 w 141"/>
              <a:gd name="T15" fmla="*/ 41 h 45"/>
              <a:gd name="T16" fmla="*/ 4 w 141"/>
              <a:gd name="T17" fmla="*/ 41 h 45"/>
              <a:gd name="T18" fmla="*/ 4 w 141"/>
              <a:gd name="T19" fmla="*/ 3 h 45"/>
              <a:gd name="T20" fmla="*/ 4 w 141"/>
              <a:gd name="T21" fmla="*/ 29 h 45"/>
              <a:gd name="T22" fmla="*/ 4 w 141"/>
              <a:gd name="T23" fmla="*/ 27 h 45"/>
              <a:gd name="T24" fmla="*/ 138 w 141"/>
              <a:gd name="T25" fmla="*/ 27 h 45"/>
              <a:gd name="T26" fmla="*/ 138 w 141"/>
              <a:gd name="T27" fmla="*/ 29 h 45"/>
              <a:gd name="T28" fmla="*/ 4 w 141"/>
              <a:gd name="T29" fmla="*/ 29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1" h="45">
                <a:moveTo>
                  <a:pt x="0" y="0"/>
                </a:moveTo>
                <a:lnTo>
                  <a:pt x="0" y="45"/>
                </a:lnTo>
                <a:lnTo>
                  <a:pt x="141" y="45"/>
                </a:lnTo>
                <a:lnTo>
                  <a:pt x="141" y="0"/>
                </a:lnTo>
                <a:lnTo>
                  <a:pt x="0" y="0"/>
                </a:lnTo>
                <a:close/>
                <a:moveTo>
                  <a:pt x="4" y="3"/>
                </a:moveTo>
                <a:lnTo>
                  <a:pt x="138" y="3"/>
                </a:lnTo>
                <a:lnTo>
                  <a:pt x="138" y="41"/>
                </a:lnTo>
                <a:lnTo>
                  <a:pt x="4" y="41"/>
                </a:lnTo>
                <a:lnTo>
                  <a:pt x="4" y="3"/>
                </a:lnTo>
                <a:close/>
                <a:moveTo>
                  <a:pt x="4" y="29"/>
                </a:moveTo>
                <a:lnTo>
                  <a:pt x="4" y="27"/>
                </a:lnTo>
                <a:lnTo>
                  <a:pt x="138" y="27"/>
                </a:lnTo>
                <a:lnTo>
                  <a:pt x="138" y="29"/>
                </a:lnTo>
                <a:lnTo>
                  <a:pt x="4" y="29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2" name="Rectangle 1386">
            <a:extLst>
              <a:ext uri="{FF2B5EF4-FFF2-40B4-BE49-F238E27FC236}">
                <a16:creationId xmlns:a16="http://schemas.microsoft.com/office/drawing/2014/main" id="{D8915DE7-12F3-4162-AC68-EE7416E1D2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36545" y="6519506"/>
            <a:ext cx="465831" cy="181574"/>
          </a:xfrm>
          <a:prstGeom prst="rect">
            <a:avLst/>
          </a:pr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3" name="Freeform 1387">
            <a:extLst>
              <a:ext uri="{FF2B5EF4-FFF2-40B4-BE49-F238E27FC236}">
                <a16:creationId xmlns:a16="http://schemas.microsoft.com/office/drawing/2014/main" id="{3BB4744E-7564-47FE-897E-8C1D8B5EE993}"/>
              </a:ext>
            </a:extLst>
          </p:cNvPr>
          <p:cNvSpPr>
            <a:spLocks/>
          </p:cNvSpPr>
          <p:nvPr/>
        </p:nvSpPr>
        <p:spPr bwMode="auto">
          <a:xfrm>
            <a:off x="11138871" y="6375499"/>
            <a:ext cx="563505" cy="144007"/>
          </a:xfrm>
          <a:custGeom>
            <a:avLst/>
            <a:gdLst>
              <a:gd name="T0" fmla="*/ 450 w 450"/>
              <a:gd name="T1" fmla="*/ 115 h 115"/>
              <a:gd name="T2" fmla="*/ 78 w 450"/>
              <a:gd name="T3" fmla="*/ 115 h 115"/>
              <a:gd name="T4" fmla="*/ 0 w 450"/>
              <a:gd name="T5" fmla="*/ 0 h 115"/>
              <a:gd name="T6" fmla="*/ 372 w 450"/>
              <a:gd name="T7" fmla="*/ 0 h 115"/>
              <a:gd name="T8" fmla="*/ 450 w 450"/>
              <a:gd name="T9" fmla="*/ 115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50" h="115">
                <a:moveTo>
                  <a:pt x="450" y="115"/>
                </a:moveTo>
                <a:lnTo>
                  <a:pt x="78" y="115"/>
                </a:lnTo>
                <a:lnTo>
                  <a:pt x="0" y="0"/>
                </a:lnTo>
                <a:lnTo>
                  <a:pt x="372" y="0"/>
                </a:lnTo>
                <a:lnTo>
                  <a:pt x="450" y="11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4" name="Freeform 1388">
            <a:extLst>
              <a:ext uri="{FF2B5EF4-FFF2-40B4-BE49-F238E27FC236}">
                <a16:creationId xmlns:a16="http://schemas.microsoft.com/office/drawing/2014/main" id="{E26E84EB-6F85-4070-A6A3-4452F2F82A40}"/>
              </a:ext>
            </a:extLst>
          </p:cNvPr>
          <p:cNvSpPr>
            <a:spLocks/>
          </p:cNvSpPr>
          <p:nvPr/>
        </p:nvSpPr>
        <p:spPr bwMode="auto">
          <a:xfrm>
            <a:off x="11182700" y="6391779"/>
            <a:ext cx="37567" cy="46333"/>
          </a:xfrm>
          <a:custGeom>
            <a:avLst/>
            <a:gdLst>
              <a:gd name="T0" fmla="*/ 69 w 72"/>
              <a:gd name="T1" fmla="*/ 80 h 89"/>
              <a:gd name="T2" fmla="*/ 66 w 72"/>
              <a:gd name="T3" fmla="*/ 89 h 89"/>
              <a:gd name="T4" fmla="*/ 51 w 72"/>
              <a:gd name="T5" fmla="*/ 80 h 89"/>
              <a:gd name="T6" fmla="*/ 3 w 72"/>
              <a:gd name="T7" fmla="*/ 9 h 89"/>
              <a:gd name="T8" fmla="*/ 6 w 72"/>
              <a:gd name="T9" fmla="*/ 0 h 89"/>
              <a:gd name="T10" fmla="*/ 21 w 72"/>
              <a:gd name="T11" fmla="*/ 9 h 89"/>
              <a:gd name="T12" fmla="*/ 69 w 72"/>
              <a:gd name="T13" fmla="*/ 80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2" h="89">
                <a:moveTo>
                  <a:pt x="69" y="80"/>
                </a:moveTo>
                <a:cubicBezTo>
                  <a:pt x="72" y="85"/>
                  <a:pt x="71" y="89"/>
                  <a:pt x="66" y="89"/>
                </a:cubicBezTo>
                <a:cubicBezTo>
                  <a:pt x="61" y="89"/>
                  <a:pt x="55" y="85"/>
                  <a:pt x="51" y="80"/>
                </a:cubicBezTo>
                <a:cubicBezTo>
                  <a:pt x="3" y="9"/>
                  <a:pt x="3" y="9"/>
                  <a:pt x="3" y="9"/>
                </a:cubicBezTo>
                <a:cubicBezTo>
                  <a:pt x="0" y="4"/>
                  <a:pt x="1" y="0"/>
                  <a:pt x="6" y="0"/>
                </a:cubicBezTo>
                <a:cubicBezTo>
                  <a:pt x="11" y="0"/>
                  <a:pt x="17" y="4"/>
                  <a:pt x="21" y="9"/>
                </a:cubicBezTo>
                <a:lnTo>
                  <a:pt x="69" y="80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5" name="Freeform 1389">
            <a:extLst>
              <a:ext uri="{FF2B5EF4-FFF2-40B4-BE49-F238E27FC236}">
                <a16:creationId xmlns:a16="http://schemas.microsoft.com/office/drawing/2014/main" id="{B7B907FB-7F8B-4E40-BBFD-A287E725615D}"/>
              </a:ext>
            </a:extLst>
          </p:cNvPr>
          <p:cNvSpPr>
            <a:spLocks/>
          </p:cNvSpPr>
          <p:nvPr/>
        </p:nvSpPr>
        <p:spPr bwMode="auto">
          <a:xfrm>
            <a:off x="11187709" y="6396787"/>
            <a:ext cx="26297" cy="36315"/>
          </a:xfrm>
          <a:custGeom>
            <a:avLst/>
            <a:gdLst>
              <a:gd name="T0" fmla="*/ 49 w 50"/>
              <a:gd name="T1" fmla="*/ 66 h 69"/>
              <a:gd name="T2" fmla="*/ 49 w 50"/>
              <a:gd name="T3" fmla="*/ 69 h 69"/>
              <a:gd name="T4" fmla="*/ 44 w 50"/>
              <a:gd name="T5" fmla="*/ 66 h 69"/>
              <a:gd name="T6" fmla="*/ 1 w 50"/>
              <a:gd name="T7" fmla="*/ 3 h 69"/>
              <a:gd name="T8" fmla="*/ 2 w 50"/>
              <a:gd name="T9" fmla="*/ 0 h 69"/>
              <a:gd name="T10" fmla="*/ 7 w 50"/>
              <a:gd name="T11" fmla="*/ 3 h 69"/>
              <a:gd name="T12" fmla="*/ 49 w 50"/>
              <a:gd name="T13" fmla="*/ 66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0" h="69">
                <a:moveTo>
                  <a:pt x="49" y="66"/>
                </a:moveTo>
                <a:cubicBezTo>
                  <a:pt x="50" y="68"/>
                  <a:pt x="50" y="69"/>
                  <a:pt x="49" y="69"/>
                </a:cubicBezTo>
                <a:cubicBezTo>
                  <a:pt x="47" y="69"/>
                  <a:pt x="45" y="68"/>
                  <a:pt x="44" y="66"/>
                </a:cubicBezTo>
                <a:cubicBezTo>
                  <a:pt x="1" y="3"/>
                  <a:pt x="1" y="3"/>
                  <a:pt x="1" y="3"/>
                </a:cubicBezTo>
                <a:cubicBezTo>
                  <a:pt x="0" y="1"/>
                  <a:pt x="1" y="0"/>
                  <a:pt x="2" y="0"/>
                </a:cubicBezTo>
                <a:cubicBezTo>
                  <a:pt x="4" y="0"/>
                  <a:pt x="6" y="1"/>
                  <a:pt x="7" y="3"/>
                </a:cubicBezTo>
                <a:lnTo>
                  <a:pt x="49" y="66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6" name="Freeform 1390">
            <a:extLst>
              <a:ext uri="{FF2B5EF4-FFF2-40B4-BE49-F238E27FC236}">
                <a16:creationId xmlns:a16="http://schemas.microsoft.com/office/drawing/2014/main" id="{29077B66-B794-486C-A7FD-9BC67BB2FD8F}"/>
              </a:ext>
            </a:extLst>
          </p:cNvPr>
          <p:cNvSpPr>
            <a:spLocks/>
          </p:cNvSpPr>
          <p:nvPr/>
        </p:nvSpPr>
        <p:spPr bwMode="auto">
          <a:xfrm>
            <a:off x="11196474" y="6410562"/>
            <a:ext cx="17531" cy="22540"/>
          </a:xfrm>
          <a:custGeom>
            <a:avLst/>
            <a:gdLst>
              <a:gd name="T0" fmla="*/ 31 w 32"/>
              <a:gd name="T1" fmla="*/ 40 h 43"/>
              <a:gd name="T2" fmla="*/ 31 w 32"/>
              <a:gd name="T3" fmla="*/ 43 h 43"/>
              <a:gd name="T4" fmla="*/ 26 w 32"/>
              <a:gd name="T5" fmla="*/ 40 h 43"/>
              <a:gd name="T6" fmla="*/ 1 w 32"/>
              <a:gd name="T7" fmla="*/ 3 h 43"/>
              <a:gd name="T8" fmla="*/ 2 w 32"/>
              <a:gd name="T9" fmla="*/ 0 h 43"/>
              <a:gd name="T10" fmla="*/ 7 w 32"/>
              <a:gd name="T11" fmla="*/ 3 h 43"/>
              <a:gd name="T12" fmla="*/ 31 w 32"/>
              <a:gd name="T13" fmla="*/ 4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2" h="43">
                <a:moveTo>
                  <a:pt x="31" y="40"/>
                </a:moveTo>
                <a:cubicBezTo>
                  <a:pt x="32" y="42"/>
                  <a:pt x="32" y="43"/>
                  <a:pt x="31" y="43"/>
                </a:cubicBezTo>
                <a:cubicBezTo>
                  <a:pt x="29" y="43"/>
                  <a:pt x="27" y="42"/>
                  <a:pt x="26" y="40"/>
                </a:cubicBezTo>
                <a:cubicBezTo>
                  <a:pt x="1" y="3"/>
                  <a:pt x="1" y="3"/>
                  <a:pt x="1" y="3"/>
                </a:cubicBezTo>
                <a:cubicBezTo>
                  <a:pt x="0" y="2"/>
                  <a:pt x="1" y="0"/>
                  <a:pt x="2" y="0"/>
                </a:cubicBezTo>
                <a:cubicBezTo>
                  <a:pt x="4" y="0"/>
                  <a:pt x="6" y="2"/>
                  <a:pt x="7" y="3"/>
                </a:cubicBezTo>
                <a:lnTo>
                  <a:pt x="31" y="4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7" name="Freeform 1391">
            <a:extLst>
              <a:ext uri="{FF2B5EF4-FFF2-40B4-BE49-F238E27FC236}">
                <a16:creationId xmlns:a16="http://schemas.microsoft.com/office/drawing/2014/main" id="{1242F176-7569-4B0B-B817-002D2EE1FF27}"/>
              </a:ext>
            </a:extLst>
          </p:cNvPr>
          <p:cNvSpPr>
            <a:spLocks/>
          </p:cNvSpPr>
          <p:nvPr/>
        </p:nvSpPr>
        <p:spPr bwMode="auto">
          <a:xfrm>
            <a:off x="11208996" y="6429346"/>
            <a:ext cx="7513" cy="6262"/>
          </a:xfrm>
          <a:custGeom>
            <a:avLst/>
            <a:gdLst>
              <a:gd name="T0" fmla="*/ 13 w 15"/>
              <a:gd name="T1" fmla="*/ 6 h 11"/>
              <a:gd name="T2" fmla="*/ 11 w 15"/>
              <a:gd name="T3" fmla="*/ 11 h 11"/>
              <a:gd name="T4" fmla="*/ 2 w 15"/>
              <a:gd name="T5" fmla="*/ 6 h 11"/>
              <a:gd name="T6" fmla="*/ 4 w 15"/>
              <a:gd name="T7" fmla="*/ 0 h 11"/>
              <a:gd name="T8" fmla="*/ 13 w 15"/>
              <a:gd name="T9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11">
                <a:moveTo>
                  <a:pt x="13" y="6"/>
                </a:moveTo>
                <a:cubicBezTo>
                  <a:pt x="15" y="9"/>
                  <a:pt x="14" y="11"/>
                  <a:pt x="11" y="11"/>
                </a:cubicBezTo>
                <a:cubicBezTo>
                  <a:pt x="8" y="11"/>
                  <a:pt x="4" y="9"/>
                  <a:pt x="2" y="6"/>
                </a:cubicBezTo>
                <a:cubicBezTo>
                  <a:pt x="0" y="3"/>
                  <a:pt x="1" y="0"/>
                  <a:pt x="4" y="0"/>
                </a:cubicBezTo>
                <a:cubicBezTo>
                  <a:pt x="7" y="0"/>
                  <a:pt x="11" y="3"/>
                  <a:pt x="13" y="6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8" name="Freeform 1392">
            <a:extLst>
              <a:ext uri="{FF2B5EF4-FFF2-40B4-BE49-F238E27FC236}">
                <a16:creationId xmlns:a16="http://schemas.microsoft.com/office/drawing/2014/main" id="{3034FF89-C4F5-4ADA-A2F2-CFF134C56487}"/>
              </a:ext>
            </a:extLst>
          </p:cNvPr>
          <p:cNvSpPr>
            <a:spLocks/>
          </p:cNvSpPr>
          <p:nvPr/>
        </p:nvSpPr>
        <p:spPr bwMode="auto">
          <a:xfrm>
            <a:off x="11197726" y="6391779"/>
            <a:ext cx="37567" cy="46333"/>
          </a:xfrm>
          <a:custGeom>
            <a:avLst/>
            <a:gdLst>
              <a:gd name="T0" fmla="*/ 69 w 72"/>
              <a:gd name="T1" fmla="*/ 80 h 89"/>
              <a:gd name="T2" fmla="*/ 66 w 72"/>
              <a:gd name="T3" fmla="*/ 89 h 89"/>
              <a:gd name="T4" fmla="*/ 51 w 72"/>
              <a:gd name="T5" fmla="*/ 80 h 89"/>
              <a:gd name="T6" fmla="*/ 3 w 72"/>
              <a:gd name="T7" fmla="*/ 9 h 89"/>
              <a:gd name="T8" fmla="*/ 6 w 72"/>
              <a:gd name="T9" fmla="*/ 0 h 89"/>
              <a:gd name="T10" fmla="*/ 20 w 72"/>
              <a:gd name="T11" fmla="*/ 9 h 89"/>
              <a:gd name="T12" fmla="*/ 69 w 72"/>
              <a:gd name="T13" fmla="*/ 80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2" h="89">
                <a:moveTo>
                  <a:pt x="69" y="80"/>
                </a:moveTo>
                <a:cubicBezTo>
                  <a:pt x="72" y="85"/>
                  <a:pt x="71" y="89"/>
                  <a:pt x="66" y="89"/>
                </a:cubicBezTo>
                <a:cubicBezTo>
                  <a:pt x="61" y="89"/>
                  <a:pt x="54" y="85"/>
                  <a:pt x="51" y="80"/>
                </a:cubicBezTo>
                <a:cubicBezTo>
                  <a:pt x="3" y="9"/>
                  <a:pt x="3" y="9"/>
                  <a:pt x="3" y="9"/>
                </a:cubicBezTo>
                <a:cubicBezTo>
                  <a:pt x="0" y="4"/>
                  <a:pt x="1" y="0"/>
                  <a:pt x="6" y="0"/>
                </a:cubicBezTo>
                <a:cubicBezTo>
                  <a:pt x="11" y="0"/>
                  <a:pt x="17" y="4"/>
                  <a:pt x="20" y="9"/>
                </a:cubicBezTo>
                <a:lnTo>
                  <a:pt x="69" y="80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" name="Freeform 1393">
            <a:extLst>
              <a:ext uri="{FF2B5EF4-FFF2-40B4-BE49-F238E27FC236}">
                <a16:creationId xmlns:a16="http://schemas.microsoft.com/office/drawing/2014/main" id="{1D9117EB-9D5C-478D-B8AF-A18CD32D3597}"/>
              </a:ext>
            </a:extLst>
          </p:cNvPr>
          <p:cNvSpPr>
            <a:spLocks/>
          </p:cNvSpPr>
          <p:nvPr/>
        </p:nvSpPr>
        <p:spPr bwMode="auto">
          <a:xfrm>
            <a:off x="11202735" y="6396787"/>
            <a:ext cx="26297" cy="36315"/>
          </a:xfrm>
          <a:custGeom>
            <a:avLst/>
            <a:gdLst>
              <a:gd name="T0" fmla="*/ 49 w 50"/>
              <a:gd name="T1" fmla="*/ 66 h 69"/>
              <a:gd name="T2" fmla="*/ 48 w 50"/>
              <a:gd name="T3" fmla="*/ 69 h 69"/>
              <a:gd name="T4" fmla="*/ 44 w 50"/>
              <a:gd name="T5" fmla="*/ 66 h 69"/>
              <a:gd name="T6" fmla="*/ 1 w 50"/>
              <a:gd name="T7" fmla="*/ 3 h 69"/>
              <a:gd name="T8" fmla="*/ 2 w 50"/>
              <a:gd name="T9" fmla="*/ 0 h 69"/>
              <a:gd name="T10" fmla="*/ 6 w 50"/>
              <a:gd name="T11" fmla="*/ 3 h 69"/>
              <a:gd name="T12" fmla="*/ 49 w 50"/>
              <a:gd name="T13" fmla="*/ 66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0" h="69">
                <a:moveTo>
                  <a:pt x="49" y="66"/>
                </a:moveTo>
                <a:cubicBezTo>
                  <a:pt x="50" y="68"/>
                  <a:pt x="50" y="69"/>
                  <a:pt x="48" y="69"/>
                </a:cubicBezTo>
                <a:cubicBezTo>
                  <a:pt x="47" y="69"/>
                  <a:pt x="45" y="68"/>
                  <a:pt x="44" y="66"/>
                </a:cubicBezTo>
                <a:cubicBezTo>
                  <a:pt x="1" y="3"/>
                  <a:pt x="1" y="3"/>
                  <a:pt x="1" y="3"/>
                </a:cubicBezTo>
                <a:cubicBezTo>
                  <a:pt x="0" y="1"/>
                  <a:pt x="0" y="0"/>
                  <a:pt x="2" y="0"/>
                </a:cubicBezTo>
                <a:cubicBezTo>
                  <a:pt x="3" y="0"/>
                  <a:pt x="5" y="1"/>
                  <a:pt x="6" y="3"/>
                </a:cubicBezTo>
                <a:lnTo>
                  <a:pt x="49" y="66"/>
                </a:lnTo>
                <a:close/>
              </a:path>
            </a:pathLst>
          </a:custGeom>
          <a:solidFill>
            <a:srgbClr val="55B8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0" name="Freeform 1394">
            <a:extLst>
              <a:ext uri="{FF2B5EF4-FFF2-40B4-BE49-F238E27FC236}">
                <a16:creationId xmlns:a16="http://schemas.microsoft.com/office/drawing/2014/main" id="{1B0FDC5B-62DF-445C-AE02-A3E00D30A78F}"/>
              </a:ext>
            </a:extLst>
          </p:cNvPr>
          <p:cNvSpPr>
            <a:spLocks/>
          </p:cNvSpPr>
          <p:nvPr/>
        </p:nvSpPr>
        <p:spPr bwMode="auto">
          <a:xfrm>
            <a:off x="11217762" y="6418075"/>
            <a:ext cx="11270" cy="15027"/>
          </a:xfrm>
          <a:custGeom>
            <a:avLst/>
            <a:gdLst>
              <a:gd name="T0" fmla="*/ 21 w 22"/>
              <a:gd name="T1" fmla="*/ 25 h 28"/>
              <a:gd name="T2" fmla="*/ 20 w 22"/>
              <a:gd name="T3" fmla="*/ 28 h 28"/>
              <a:gd name="T4" fmla="*/ 16 w 22"/>
              <a:gd name="T5" fmla="*/ 25 h 28"/>
              <a:gd name="T6" fmla="*/ 1 w 22"/>
              <a:gd name="T7" fmla="*/ 3 h 28"/>
              <a:gd name="T8" fmla="*/ 2 w 22"/>
              <a:gd name="T9" fmla="*/ 0 h 28"/>
              <a:gd name="T10" fmla="*/ 6 w 22"/>
              <a:gd name="T11" fmla="*/ 3 h 28"/>
              <a:gd name="T12" fmla="*/ 21 w 22"/>
              <a:gd name="T13" fmla="*/ 2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2" h="28">
                <a:moveTo>
                  <a:pt x="21" y="25"/>
                </a:moveTo>
                <a:cubicBezTo>
                  <a:pt x="22" y="27"/>
                  <a:pt x="22" y="28"/>
                  <a:pt x="20" y="28"/>
                </a:cubicBezTo>
                <a:cubicBezTo>
                  <a:pt x="19" y="28"/>
                  <a:pt x="17" y="27"/>
                  <a:pt x="16" y="25"/>
                </a:cubicBezTo>
                <a:cubicBezTo>
                  <a:pt x="1" y="3"/>
                  <a:pt x="1" y="3"/>
                  <a:pt x="1" y="3"/>
                </a:cubicBezTo>
                <a:cubicBezTo>
                  <a:pt x="0" y="1"/>
                  <a:pt x="0" y="0"/>
                  <a:pt x="2" y="0"/>
                </a:cubicBezTo>
                <a:cubicBezTo>
                  <a:pt x="3" y="0"/>
                  <a:pt x="5" y="1"/>
                  <a:pt x="6" y="3"/>
                </a:cubicBezTo>
                <a:lnTo>
                  <a:pt x="21" y="25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1" name="Freeform 1395">
            <a:extLst>
              <a:ext uri="{FF2B5EF4-FFF2-40B4-BE49-F238E27FC236}">
                <a16:creationId xmlns:a16="http://schemas.microsoft.com/office/drawing/2014/main" id="{FCAE89D1-1101-4EB5-B4EA-BABA5CCDE4A3}"/>
              </a:ext>
            </a:extLst>
          </p:cNvPr>
          <p:cNvSpPr>
            <a:spLocks/>
          </p:cNvSpPr>
          <p:nvPr/>
        </p:nvSpPr>
        <p:spPr bwMode="auto">
          <a:xfrm>
            <a:off x="11224023" y="6429346"/>
            <a:ext cx="7513" cy="6262"/>
          </a:xfrm>
          <a:custGeom>
            <a:avLst/>
            <a:gdLst>
              <a:gd name="T0" fmla="*/ 13 w 15"/>
              <a:gd name="T1" fmla="*/ 6 h 11"/>
              <a:gd name="T2" fmla="*/ 11 w 15"/>
              <a:gd name="T3" fmla="*/ 11 h 11"/>
              <a:gd name="T4" fmla="*/ 2 w 15"/>
              <a:gd name="T5" fmla="*/ 6 h 11"/>
              <a:gd name="T6" fmla="*/ 4 w 15"/>
              <a:gd name="T7" fmla="*/ 0 h 11"/>
              <a:gd name="T8" fmla="*/ 13 w 15"/>
              <a:gd name="T9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11">
                <a:moveTo>
                  <a:pt x="13" y="6"/>
                </a:moveTo>
                <a:cubicBezTo>
                  <a:pt x="15" y="9"/>
                  <a:pt x="14" y="11"/>
                  <a:pt x="11" y="11"/>
                </a:cubicBezTo>
                <a:cubicBezTo>
                  <a:pt x="8" y="11"/>
                  <a:pt x="4" y="9"/>
                  <a:pt x="2" y="6"/>
                </a:cubicBezTo>
                <a:cubicBezTo>
                  <a:pt x="0" y="3"/>
                  <a:pt x="1" y="0"/>
                  <a:pt x="4" y="0"/>
                </a:cubicBezTo>
                <a:cubicBezTo>
                  <a:pt x="7" y="0"/>
                  <a:pt x="11" y="3"/>
                  <a:pt x="13" y="6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2" name="Freeform 1396">
            <a:extLst>
              <a:ext uri="{FF2B5EF4-FFF2-40B4-BE49-F238E27FC236}">
                <a16:creationId xmlns:a16="http://schemas.microsoft.com/office/drawing/2014/main" id="{3CD7B44A-F19F-4531-A91E-A260C5AEF195}"/>
              </a:ext>
            </a:extLst>
          </p:cNvPr>
          <p:cNvSpPr>
            <a:spLocks/>
          </p:cNvSpPr>
          <p:nvPr/>
        </p:nvSpPr>
        <p:spPr bwMode="auto">
          <a:xfrm>
            <a:off x="11361769" y="6390526"/>
            <a:ext cx="61360" cy="57603"/>
          </a:xfrm>
          <a:custGeom>
            <a:avLst/>
            <a:gdLst>
              <a:gd name="T0" fmla="*/ 49 w 49"/>
              <a:gd name="T1" fmla="*/ 46 h 46"/>
              <a:gd name="T2" fmla="*/ 32 w 49"/>
              <a:gd name="T3" fmla="*/ 46 h 46"/>
              <a:gd name="T4" fmla="*/ 0 w 49"/>
              <a:gd name="T5" fmla="*/ 0 h 46"/>
              <a:gd name="T6" fmla="*/ 18 w 49"/>
              <a:gd name="T7" fmla="*/ 0 h 46"/>
              <a:gd name="T8" fmla="*/ 49 w 49"/>
              <a:gd name="T9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" h="46">
                <a:moveTo>
                  <a:pt x="49" y="46"/>
                </a:moveTo>
                <a:lnTo>
                  <a:pt x="32" y="46"/>
                </a:lnTo>
                <a:lnTo>
                  <a:pt x="0" y="0"/>
                </a:lnTo>
                <a:lnTo>
                  <a:pt x="18" y="0"/>
                </a:lnTo>
                <a:lnTo>
                  <a:pt x="49" y="46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Freeform 1397">
            <a:extLst>
              <a:ext uri="{FF2B5EF4-FFF2-40B4-BE49-F238E27FC236}">
                <a16:creationId xmlns:a16="http://schemas.microsoft.com/office/drawing/2014/main" id="{6ADB252A-4FD9-4648-9C05-E2059252171C}"/>
              </a:ext>
            </a:extLst>
          </p:cNvPr>
          <p:cNvSpPr>
            <a:spLocks/>
          </p:cNvSpPr>
          <p:nvPr/>
        </p:nvSpPr>
        <p:spPr bwMode="auto">
          <a:xfrm>
            <a:off x="11373039" y="6394283"/>
            <a:ext cx="40071" cy="50089"/>
          </a:xfrm>
          <a:custGeom>
            <a:avLst/>
            <a:gdLst>
              <a:gd name="T0" fmla="*/ 32 w 32"/>
              <a:gd name="T1" fmla="*/ 40 h 40"/>
              <a:gd name="T2" fmla="*/ 26 w 32"/>
              <a:gd name="T3" fmla="*/ 40 h 40"/>
              <a:gd name="T4" fmla="*/ 0 w 32"/>
              <a:gd name="T5" fmla="*/ 0 h 40"/>
              <a:gd name="T6" fmla="*/ 5 w 32"/>
              <a:gd name="T7" fmla="*/ 0 h 40"/>
              <a:gd name="T8" fmla="*/ 32 w 32"/>
              <a:gd name="T9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" h="40">
                <a:moveTo>
                  <a:pt x="32" y="40"/>
                </a:moveTo>
                <a:lnTo>
                  <a:pt x="26" y="40"/>
                </a:lnTo>
                <a:lnTo>
                  <a:pt x="0" y="0"/>
                </a:lnTo>
                <a:lnTo>
                  <a:pt x="5" y="0"/>
                </a:lnTo>
                <a:lnTo>
                  <a:pt x="32" y="4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Freeform 1398">
            <a:extLst>
              <a:ext uri="{FF2B5EF4-FFF2-40B4-BE49-F238E27FC236}">
                <a16:creationId xmlns:a16="http://schemas.microsoft.com/office/drawing/2014/main" id="{D100BB91-22A0-4AC7-AFB9-C37E7C4E341E}"/>
              </a:ext>
            </a:extLst>
          </p:cNvPr>
          <p:cNvSpPr>
            <a:spLocks/>
          </p:cNvSpPr>
          <p:nvPr/>
        </p:nvSpPr>
        <p:spPr bwMode="auto">
          <a:xfrm>
            <a:off x="11375544" y="6396787"/>
            <a:ext cx="33811" cy="45080"/>
          </a:xfrm>
          <a:custGeom>
            <a:avLst/>
            <a:gdLst>
              <a:gd name="T0" fmla="*/ 27 w 27"/>
              <a:gd name="T1" fmla="*/ 36 h 36"/>
              <a:gd name="T2" fmla="*/ 25 w 27"/>
              <a:gd name="T3" fmla="*/ 36 h 36"/>
              <a:gd name="T4" fmla="*/ 0 w 27"/>
              <a:gd name="T5" fmla="*/ 0 h 36"/>
              <a:gd name="T6" fmla="*/ 3 w 27"/>
              <a:gd name="T7" fmla="*/ 0 h 36"/>
              <a:gd name="T8" fmla="*/ 27 w 27"/>
              <a:gd name="T9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" h="36">
                <a:moveTo>
                  <a:pt x="27" y="36"/>
                </a:moveTo>
                <a:lnTo>
                  <a:pt x="25" y="36"/>
                </a:lnTo>
                <a:lnTo>
                  <a:pt x="0" y="0"/>
                </a:lnTo>
                <a:lnTo>
                  <a:pt x="3" y="0"/>
                </a:lnTo>
                <a:lnTo>
                  <a:pt x="27" y="36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5" name="Freeform 1399">
            <a:extLst>
              <a:ext uri="{FF2B5EF4-FFF2-40B4-BE49-F238E27FC236}">
                <a16:creationId xmlns:a16="http://schemas.microsoft.com/office/drawing/2014/main" id="{613E6EA2-EC85-4EB5-B4E4-9804AD2DB74C}"/>
              </a:ext>
            </a:extLst>
          </p:cNvPr>
          <p:cNvSpPr>
            <a:spLocks/>
          </p:cNvSpPr>
          <p:nvPr/>
        </p:nvSpPr>
        <p:spPr bwMode="auto">
          <a:xfrm>
            <a:off x="11383057" y="6416823"/>
            <a:ext cx="20036" cy="3757"/>
          </a:xfrm>
          <a:custGeom>
            <a:avLst/>
            <a:gdLst>
              <a:gd name="T0" fmla="*/ 7 w 38"/>
              <a:gd name="T1" fmla="*/ 7 h 7"/>
              <a:gd name="T2" fmla="*/ 1 w 38"/>
              <a:gd name="T3" fmla="*/ 4 h 7"/>
              <a:gd name="T4" fmla="*/ 2 w 38"/>
              <a:gd name="T5" fmla="*/ 0 h 7"/>
              <a:gd name="T6" fmla="*/ 31 w 38"/>
              <a:gd name="T7" fmla="*/ 0 h 7"/>
              <a:gd name="T8" fmla="*/ 37 w 38"/>
              <a:gd name="T9" fmla="*/ 4 h 7"/>
              <a:gd name="T10" fmla="*/ 35 w 38"/>
              <a:gd name="T11" fmla="*/ 7 h 7"/>
              <a:gd name="T12" fmla="*/ 7 w 38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" h="7">
                <a:moveTo>
                  <a:pt x="7" y="7"/>
                </a:moveTo>
                <a:cubicBezTo>
                  <a:pt x="5" y="7"/>
                  <a:pt x="3" y="6"/>
                  <a:pt x="1" y="4"/>
                </a:cubicBezTo>
                <a:cubicBezTo>
                  <a:pt x="0" y="2"/>
                  <a:pt x="0" y="0"/>
                  <a:pt x="2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3" y="0"/>
                  <a:pt x="35" y="2"/>
                  <a:pt x="37" y="4"/>
                </a:cubicBezTo>
                <a:cubicBezTo>
                  <a:pt x="38" y="6"/>
                  <a:pt x="37" y="7"/>
                  <a:pt x="35" y="7"/>
                </a:cubicBezTo>
                <a:lnTo>
                  <a:pt x="7" y="7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6" name="Freeform 1400">
            <a:extLst>
              <a:ext uri="{FF2B5EF4-FFF2-40B4-BE49-F238E27FC236}">
                <a16:creationId xmlns:a16="http://schemas.microsoft.com/office/drawing/2014/main" id="{2B79BF0E-FD5E-436A-AC37-B939D1DE6B9C}"/>
              </a:ext>
            </a:extLst>
          </p:cNvPr>
          <p:cNvSpPr>
            <a:spLocks/>
          </p:cNvSpPr>
          <p:nvPr/>
        </p:nvSpPr>
        <p:spPr bwMode="auto">
          <a:xfrm>
            <a:off x="11390570" y="6390526"/>
            <a:ext cx="61360" cy="57603"/>
          </a:xfrm>
          <a:custGeom>
            <a:avLst/>
            <a:gdLst>
              <a:gd name="T0" fmla="*/ 49 w 49"/>
              <a:gd name="T1" fmla="*/ 46 h 46"/>
              <a:gd name="T2" fmla="*/ 31 w 49"/>
              <a:gd name="T3" fmla="*/ 46 h 46"/>
              <a:gd name="T4" fmla="*/ 0 w 49"/>
              <a:gd name="T5" fmla="*/ 0 h 46"/>
              <a:gd name="T6" fmla="*/ 17 w 49"/>
              <a:gd name="T7" fmla="*/ 0 h 46"/>
              <a:gd name="T8" fmla="*/ 49 w 49"/>
              <a:gd name="T9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" h="46">
                <a:moveTo>
                  <a:pt x="49" y="46"/>
                </a:moveTo>
                <a:lnTo>
                  <a:pt x="31" y="46"/>
                </a:lnTo>
                <a:lnTo>
                  <a:pt x="0" y="0"/>
                </a:lnTo>
                <a:lnTo>
                  <a:pt x="17" y="0"/>
                </a:lnTo>
                <a:lnTo>
                  <a:pt x="49" y="46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7" name="Freeform 1401">
            <a:extLst>
              <a:ext uri="{FF2B5EF4-FFF2-40B4-BE49-F238E27FC236}">
                <a16:creationId xmlns:a16="http://schemas.microsoft.com/office/drawing/2014/main" id="{B8BBE6B9-D75C-4B07-AD5D-7C36F618D482}"/>
              </a:ext>
            </a:extLst>
          </p:cNvPr>
          <p:cNvSpPr>
            <a:spLocks/>
          </p:cNvSpPr>
          <p:nvPr/>
        </p:nvSpPr>
        <p:spPr bwMode="auto">
          <a:xfrm>
            <a:off x="11400588" y="6394283"/>
            <a:ext cx="41324" cy="50089"/>
          </a:xfrm>
          <a:custGeom>
            <a:avLst/>
            <a:gdLst>
              <a:gd name="T0" fmla="*/ 33 w 33"/>
              <a:gd name="T1" fmla="*/ 40 h 40"/>
              <a:gd name="T2" fmla="*/ 27 w 33"/>
              <a:gd name="T3" fmla="*/ 40 h 40"/>
              <a:gd name="T4" fmla="*/ 0 w 33"/>
              <a:gd name="T5" fmla="*/ 0 h 40"/>
              <a:gd name="T6" fmla="*/ 6 w 33"/>
              <a:gd name="T7" fmla="*/ 0 h 40"/>
              <a:gd name="T8" fmla="*/ 33 w 33"/>
              <a:gd name="T9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" h="40">
                <a:moveTo>
                  <a:pt x="33" y="40"/>
                </a:moveTo>
                <a:lnTo>
                  <a:pt x="27" y="40"/>
                </a:lnTo>
                <a:lnTo>
                  <a:pt x="0" y="0"/>
                </a:lnTo>
                <a:lnTo>
                  <a:pt x="6" y="0"/>
                </a:lnTo>
                <a:lnTo>
                  <a:pt x="33" y="4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8" name="Freeform 1402">
            <a:extLst>
              <a:ext uri="{FF2B5EF4-FFF2-40B4-BE49-F238E27FC236}">
                <a16:creationId xmlns:a16="http://schemas.microsoft.com/office/drawing/2014/main" id="{D392732D-CEED-4A2B-9331-C13A4B30705E}"/>
              </a:ext>
            </a:extLst>
          </p:cNvPr>
          <p:cNvSpPr>
            <a:spLocks/>
          </p:cNvSpPr>
          <p:nvPr/>
        </p:nvSpPr>
        <p:spPr bwMode="auto">
          <a:xfrm>
            <a:off x="11404345" y="6396787"/>
            <a:ext cx="32558" cy="45080"/>
          </a:xfrm>
          <a:custGeom>
            <a:avLst/>
            <a:gdLst>
              <a:gd name="T0" fmla="*/ 26 w 26"/>
              <a:gd name="T1" fmla="*/ 36 h 36"/>
              <a:gd name="T2" fmla="*/ 24 w 26"/>
              <a:gd name="T3" fmla="*/ 36 h 36"/>
              <a:gd name="T4" fmla="*/ 0 w 26"/>
              <a:gd name="T5" fmla="*/ 0 h 36"/>
              <a:gd name="T6" fmla="*/ 2 w 26"/>
              <a:gd name="T7" fmla="*/ 0 h 36"/>
              <a:gd name="T8" fmla="*/ 26 w 26"/>
              <a:gd name="T9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" h="36">
                <a:moveTo>
                  <a:pt x="26" y="36"/>
                </a:moveTo>
                <a:lnTo>
                  <a:pt x="24" y="36"/>
                </a:lnTo>
                <a:lnTo>
                  <a:pt x="0" y="0"/>
                </a:lnTo>
                <a:lnTo>
                  <a:pt x="2" y="0"/>
                </a:lnTo>
                <a:lnTo>
                  <a:pt x="26" y="36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9" name="Freeform 1403">
            <a:extLst>
              <a:ext uri="{FF2B5EF4-FFF2-40B4-BE49-F238E27FC236}">
                <a16:creationId xmlns:a16="http://schemas.microsoft.com/office/drawing/2014/main" id="{CDBF962C-43C2-4B03-8402-3D38B3E993AA}"/>
              </a:ext>
            </a:extLst>
          </p:cNvPr>
          <p:cNvSpPr>
            <a:spLocks/>
          </p:cNvSpPr>
          <p:nvPr/>
        </p:nvSpPr>
        <p:spPr bwMode="auto">
          <a:xfrm>
            <a:off x="11419371" y="6430597"/>
            <a:ext cx="20036" cy="3757"/>
          </a:xfrm>
          <a:custGeom>
            <a:avLst/>
            <a:gdLst>
              <a:gd name="T0" fmla="*/ 7 w 38"/>
              <a:gd name="T1" fmla="*/ 7 h 7"/>
              <a:gd name="T2" fmla="*/ 1 w 38"/>
              <a:gd name="T3" fmla="*/ 3 h 7"/>
              <a:gd name="T4" fmla="*/ 2 w 38"/>
              <a:gd name="T5" fmla="*/ 0 h 7"/>
              <a:gd name="T6" fmla="*/ 31 w 38"/>
              <a:gd name="T7" fmla="*/ 0 h 7"/>
              <a:gd name="T8" fmla="*/ 36 w 38"/>
              <a:gd name="T9" fmla="*/ 3 h 7"/>
              <a:gd name="T10" fmla="*/ 35 w 38"/>
              <a:gd name="T11" fmla="*/ 7 h 7"/>
              <a:gd name="T12" fmla="*/ 7 w 38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" h="7">
                <a:moveTo>
                  <a:pt x="7" y="7"/>
                </a:moveTo>
                <a:cubicBezTo>
                  <a:pt x="5" y="7"/>
                  <a:pt x="2" y="5"/>
                  <a:pt x="1" y="3"/>
                </a:cubicBezTo>
                <a:cubicBezTo>
                  <a:pt x="0" y="1"/>
                  <a:pt x="0" y="0"/>
                  <a:pt x="2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2" y="0"/>
                  <a:pt x="35" y="1"/>
                  <a:pt x="36" y="3"/>
                </a:cubicBezTo>
                <a:cubicBezTo>
                  <a:pt x="38" y="5"/>
                  <a:pt x="37" y="7"/>
                  <a:pt x="35" y="7"/>
                </a:cubicBezTo>
                <a:lnTo>
                  <a:pt x="7" y="7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0" name="Freeform 1404">
            <a:extLst>
              <a:ext uri="{FF2B5EF4-FFF2-40B4-BE49-F238E27FC236}">
                <a16:creationId xmlns:a16="http://schemas.microsoft.com/office/drawing/2014/main" id="{08B31F74-E711-4233-9C35-3FDDFF2CA63D}"/>
              </a:ext>
            </a:extLst>
          </p:cNvPr>
          <p:cNvSpPr>
            <a:spLocks/>
          </p:cNvSpPr>
          <p:nvPr/>
        </p:nvSpPr>
        <p:spPr bwMode="auto">
          <a:xfrm>
            <a:off x="11418120" y="6390526"/>
            <a:ext cx="61360" cy="57603"/>
          </a:xfrm>
          <a:custGeom>
            <a:avLst/>
            <a:gdLst>
              <a:gd name="T0" fmla="*/ 49 w 49"/>
              <a:gd name="T1" fmla="*/ 46 h 46"/>
              <a:gd name="T2" fmla="*/ 32 w 49"/>
              <a:gd name="T3" fmla="*/ 46 h 46"/>
              <a:gd name="T4" fmla="*/ 0 w 49"/>
              <a:gd name="T5" fmla="*/ 0 h 46"/>
              <a:gd name="T6" fmla="*/ 18 w 49"/>
              <a:gd name="T7" fmla="*/ 0 h 46"/>
              <a:gd name="T8" fmla="*/ 49 w 49"/>
              <a:gd name="T9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" h="46">
                <a:moveTo>
                  <a:pt x="49" y="46"/>
                </a:moveTo>
                <a:lnTo>
                  <a:pt x="32" y="46"/>
                </a:lnTo>
                <a:lnTo>
                  <a:pt x="0" y="0"/>
                </a:lnTo>
                <a:lnTo>
                  <a:pt x="18" y="0"/>
                </a:lnTo>
                <a:lnTo>
                  <a:pt x="49" y="46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1" name="Freeform 1405">
            <a:extLst>
              <a:ext uri="{FF2B5EF4-FFF2-40B4-BE49-F238E27FC236}">
                <a16:creationId xmlns:a16="http://schemas.microsoft.com/office/drawing/2014/main" id="{99EB5ADB-ACBC-4049-AB00-788D089B7173}"/>
              </a:ext>
            </a:extLst>
          </p:cNvPr>
          <p:cNvSpPr>
            <a:spLocks/>
          </p:cNvSpPr>
          <p:nvPr/>
        </p:nvSpPr>
        <p:spPr bwMode="auto">
          <a:xfrm>
            <a:off x="11429389" y="6394283"/>
            <a:ext cx="40071" cy="50089"/>
          </a:xfrm>
          <a:custGeom>
            <a:avLst/>
            <a:gdLst>
              <a:gd name="T0" fmla="*/ 32 w 32"/>
              <a:gd name="T1" fmla="*/ 40 h 40"/>
              <a:gd name="T2" fmla="*/ 26 w 32"/>
              <a:gd name="T3" fmla="*/ 40 h 40"/>
              <a:gd name="T4" fmla="*/ 0 w 32"/>
              <a:gd name="T5" fmla="*/ 0 h 40"/>
              <a:gd name="T6" fmla="*/ 5 w 32"/>
              <a:gd name="T7" fmla="*/ 0 h 40"/>
              <a:gd name="T8" fmla="*/ 32 w 32"/>
              <a:gd name="T9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" h="40">
                <a:moveTo>
                  <a:pt x="32" y="40"/>
                </a:moveTo>
                <a:lnTo>
                  <a:pt x="26" y="40"/>
                </a:lnTo>
                <a:lnTo>
                  <a:pt x="0" y="0"/>
                </a:lnTo>
                <a:lnTo>
                  <a:pt x="5" y="0"/>
                </a:lnTo>
                <a:lnTo>
                  <a:pt x="32" y="4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" name="Freeform 1406">
            <a:extLst>
              <a:ext uri="{FF2B5EF4-FFF2-40B4-BE49-F238E27FC236}">
                <a16:creationId xmlns:a16="http://schemas.microsoft.com/office/drawing/2014/main" id="{E8DBA186-8A6D-4B51-832B-D80589D7456B}"/>
              </a:ext>
            </a:extLst>
          </p:cNvPr>
          <p:cNvSpPr>
            <a:spLocks/>
          </p:cNvSpPr>
          <p:nvPr/>
        </p:nvSpPr>
        <p:spPr bwMode="auto">
          <a:xfrm>
            <a:off x="11433146" y="6396787"/>
            <a:ext cx="32558" cy="45080"/>
          </a:xfrm>
          <a:custGeom>
            <a:avLst/>
            <a:gdLst>
              <a:gd name="T0" fmla="*/ 26 w 26"/>
              <a:gd name="T1" fmla="*/ 36 h 36"/>
              <a:gd name="T2" fmla="*/ 24 w 26"/>
              <a:gd name="T3" fmla="*/ 36 h 36"/>
              <a:gd name="T4" fmla="*/ 0 w 26"/>
              <a:gd name="T5" fmla="*/ 0 h 36"/>
              <a:gd name="T6" fmla="*/ 2 w 26"/>
              <a:gd name="T7" fmla="*/ 0 h 36"/>
              <a:gd name="T8" fmla="*/ 26 w 26"/>
              <a:gd name="T9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" h="36">
                <a:moveTo>
                  <a:pt x="26" y="36"/>
                </a:moveTo>
                <a:lnTo>
                  <a:pt x="24" y="36"/>
                </a:lnTo>
                <a:lnTo>
                  <a:pt x="0" y="0"/>
                </a:lnTo>
                <a:lnTo>
                  <a:pt x="2" y="0"/>
                </a:lnTo>
                <a:lnTo>
                  <a:pt x="26" y="36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3" name="Freeform 1407">
            <a:extLst>
              <a:ext uri="{FF2B5EF4-FFF2-40B4-BE49-F238E27FC236}">
                <a16:creationId xmlns:a16="http://schemas.microsoft.com/office/drawing/2014/main" id="{CA86FA42-AB21-46E9-B486-F922EE2CA208}"/>
              </a:ext>
            </a:extLst>
          </p:cNvPr>
          <p:cNvSpPr>
            <a:spLocks/>
          </p:cNvSpPr>
          <p:nvPr/>
        </p:nvSpPr>
        <p:spPr bwMode="auto">
          <a:xfrm>
            <a:off x="11429389" y="6401796"/>
            <a:ext cx="20036" cy="3757"/>
          </a:xfrm>
          <a:custGeom>
            <a:avLst/>
            <a:gdLst>
              <a:gd name="T0" fmla="*/ 7 w 38"/>
              <a:gd name="T1" fmla="*/ 7 h 7"/>
              <a:gd name="T2" fmla="*/ 1 w 38"/>
              <a:gd name="T3" fmla="*/ 3 h 7"/>
              <a:gd name="T4" fmla="*/ 2 w 38"/>
              <a:gd name="T5" fmla="*/ 0 h 7"/>
              <a:gd name="T6" fmla="*/ 31 w 38"/>
              <a:gd name="T7" fmla="*/ 0 h 7"/>
              <a:gd name="T8" fmla="*/ 36 w 38"/>
              <a:gd name="T9" fmla="*/ 3 h 7"/>
              <a:gd name="T10" fmla="*/ 35 w 38"/>
              <a:gd name="T11" fmla="*/ 7 h 7"/>
              <a:gd name="T12" fmla="*/ 7 w 38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" h="7">
                <a:moveTo>
                  <a:pt x="7" y="7"/>
                </a:moveTo>
                <a:cubicBezTo>
                  <a:pt x="5" y="7"/>
                  <a:pt x="2" y="5"/>
                  <a:pt x="1" y="3"/>
                </a:cubicBezTo>
                <a:cubicBezTo>
                  <a:pt x="0" y="2"/>
                  <a:pt x="0" y="0"/>
                  <a:pt x="2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3" y="0"/>
                  <a:pt x="35" y="2"/>
                  <a:pt x="36" y="3"/>
                </a:cubicBezTo>
                <a:cubicBezTo>
                  <a:pt x="38" y="5"/>
                  <a:pt x="37" y="7"/>
                  <a:pt x="35" y="7"/>
                </a:cubicBezTo>
                <a:lnTo>
                  <a:pt x="7" y="7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4" name="Freeform 1408">
            <a:extLst>
              <a:ext uri="{FF2B5EF4-FFF2-40B4-BE49-F238E27FC236}">
                <a16:creationId xmlns:a16="http://schemas.microsoft.com/office/drawing/2014/main" id="{926BFA01-F5B9-49F8-A843-D56D36D81932}"/>
              </a:ext>
            </a:extLst>
          </p:cNvPr>
          <p:cNvSpPr>
            <a:spLocks/>
          </p:cNvSpPr>
          <p:nvPr/>
        </p:nvSpPr>
        <p:spPr bwMode="auto">
          <a:xfrm>
            <a:off x="11446921" y="6390526"/>
            <a:ext cx="61360" cy="57603"/>
          </a:xfrm>
          <a:custGeom>
            <a:avLst/>
            <a:gdLst>
              <a:gd name="T0" fmla="*/ 49 w 49"/>
              <a:gd name="T1" fmla="*/ 46 h 46"/>
              <a:gd name="T2" fmla="*/ 31 w 49"/>
              <a:gd name="T3" fmla="*/ 46 h 46"/>
              <a:gd name="T4" fmla="*/ 0 w 49"/>
              <a:gd name="T5" fmla="*/ 0 h 46"/>
              <a:gd name="T6" fmla="*/ 17 w 49"/>
              <a:gd name="T7" fmla="*/ 0 h 46"/>
              <a:gd name="T8" fmla="*/ 49 w 49"/>
              <a:gd name="T9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" h="46">
                <a:moveTo>
                  <a:pt x="49" y="46"/>
                </a:moveTo>
                <a:lnTo>
                  <a:pt x="31" y="46"/>
                </a:lnTo>
                <a:lnTo>
                  <a:pt x="0" y="0"/>
                </a:lnTo>
                <a:lnTo>
                  <a:pt x="17" y="0"/>
                </a:lnTo>
                <a:lnTo>
                  <a:pt x="49" y="46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5" name="Freeform 1409">
            <a:extLst>
              <a:ext uri="{FF2B5EF4-FFF2-40B4-BE49-F238E27FC236}">
                <a16:creationId xmlns:a16="http://schemas.microsoft.com/office/drawing/2014/main" id="{F715F1ED-7F7C-47D9-86D7-BADC5AD117F9}"/>
              </a:ext>
            </a:extLst>
          </p:cNvPr>
          <p:cNvSpPr>
            <a:spLocks/>
          </p:cNvSpPr>
          <p:nvPr/>
        </p:nvSpPr>
        <p:spPr bwMode="auto">
          <a:xfrm>
            <a:off x="11456938" y="6394283"/>
            <a:ext cx="41324" cy="50089"/>
          </a:xfrm>
          <a:custGeom>
            <a:avLst/>
            <a:gdLst>
              <a:gd name="T0" fmla="*/ 33 w 33"/>
              <a:gd name="T1" fmla="*/ 40 h 40"/>
              <a:gd name="T2" fmla="*/ 27 w 33"/>
              <a:gd name="T3" fmla="*/ 40 h 40"/>
              <a:gd name="T4" fmla="*/ 0 w 33"/>
              <a:gd name="T5" fmla="*/ 0 h 40"/>
              <a:gd name="T6" fmla="*/ 6 w 33"/>
              <a:gd name="T7" fmla="*/ 0 h 40"/>
              <a:gd name="T8" fmla="*/ 33 w 33"/>
              <a:gd name="T9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" h="40">
                <a:moveTo>
                  <a:pt x="33" y="40"/>
                </a:moveTo>
                <a:lnTo>
                  <a:pt x="27" y="40"/>
                </a:lnTo>
                <a:lnTo>
                  <a:pt x="0" y="0"/>
                </a:lnTo>
                <a:lnTo>
                  <a:pt x="6" y="0"/>
                </a:lnTo>
                <a:lnTo>
                  <a:pt x="33" y="4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6" name="Freeform 1410">
            <a:extLst>
              <a:ext uri="{FF2B5EF4-FFF2-40B4-BE49-F238E27FC236}">
                <a16:creationId xmlns:a16="http://schemas.microsoft.com/office/drawing/2014/main" id="{4F62DBD2-6DA9-47F6-8556-BAB511C60533}"/>
              </a:ext>
            </a:extLst>
          </p:cNvPr>
          <p:cNvSpPr>
            <a:spLocks/>
          </p:cNvSpPr>
          <p:nvPr/>
        </p:nvSpPr>
        <p:spPr bwMode="auto">
          <a:xfrm>
            <a:off x="11460696" y="6396787"/>
            <a:ext cx="33811" cy="45080"/>
          </a:xfrm>
          <a:custGeom>
            <a:avLst/>
            <a:gdLst>
              <a:gd name="T0" fmla="*/ 27 w 27"/>
              <a:gd name="T1" fmla="*/ 36 h 36"/>
              <a:gd name="T2" fmla="*/ 25 w 27"/>
              <a:gd name="T3" fmla="*/ 36 h 36"/>
              <a:gd name="T4" fmla="*/ 0 w 27"/>
              <a:gd name="T5" fmla="*/ 0 h 36"/>
              <a:gd name="T6" fmla="*/ 3 w 27"/>
              <a:gd name="T7" fmla="*/ 0 h 36"/>
              <a:gd name="T8" fmla="*/ 27 w 27"/>
              <a:gd name="T9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" h="36">
                <a:moveTo>
                  <a:pt x="27" y="36"/>
                </a:moveTo>
                <a:lnTo>
                  <a:pt x="25" y="36"/>
                </a:lnTo>
                <a:lnTo>
                  <a:pt x="0" y="0"/>
                </a:lnTo>
                <a:lnTo>
                  <a:pt x="3" y="0"/>
                </a:lnTo>
                <a:lnTo>
                  <a:pt x="27" y="36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7" name="Freeform 1411">
            <a:extLst>
              <a:ext uri="{FF2B5EF4-FFF2-40B4-BE49-F238E27FC236}">
                <a16:creationId xmlns:a16="http://schemas.microsoft.com/office/drawing/2014/main" id="{5CDBE324-3AA1-4D9B-BEAB-CA969C678482}"/>
              </a:ext>
            </a:extLst>
          </p:cNvPr>
          <p:cNvSpPr>
            <a:spLocks/>
          </p:cNvSpPr>
          <p:nvPr/>
        </p:nvSpPr>
        <p:spPr bwMode="auto">
          <a:xfrm>
            <a:off x="11463200" y="6411814"/>
            <a:ext cx="20036" cy="3757"/>
          </a:xfrm>
          <a:custGeom>
            <a:avLst/>
            <a:gdLst>
              <a:gd name="T0" fmla="*/ 7 w 38"/>
              <a:gd name="T1" fmla="*/ 7 h 7"/>
              <a:gd name="T2" fmla="*/ 2 w 38"/>
              <a:gd name="T3" fmla="*/ 3 h 7"/>
              <a:gd name="T4" fmla="*/ 3 w 38"/>
              <a:gd name="T5" fmla="*/ 0 h 7"/>
              <a:gd name="T6" fmla="*/ 31 w 38"/>
              <a:gd name="T7" fmla="*/ 0 h 7"/>
              <a:gd name="T8" fmla="*/ 37 w 38"/>
              <a:gd name="T9" fmla="*/ 3 h 7"/>
              <a:gd name="T10" fmla="*/ 36 w 38"/>
              <a:gd name="T11" fmla="*/ 7 h 7"/>
              <a:gd name="T12" fmla="*/ 7 w 38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" h="7">
                <a:moveTo>
                  <a:pt x="7" y="7"/>
                </a:moveTo>
                <a:cubicBezTo>
                  <a:pt x="5" y="7"/>
                  <a:pt x="3" y="5"/>
                  <a:pt x="2" y="3"/>
                </a:cubicBezTo>
                <a:cubicBezTo>
                  <a:pt x="0" y="1"/>
                  <a:pt x="1" y="0"/>
                  <a:pt x="3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3" y="0"/>
                  <a:pt x="36" y="1"/>
                  <a:pt x="37" y="3"/>
                </a:cubicBezTo>
                <a:cubicBezTo>
                  <a:pt x="38" y="5"/>
                  <a:pt x="38" y="7"/>
                  <a:pt x="36" y="7"/>
                </a:cubicBezTo>
                <a:lnTo>
                  <a:pt x="7" y="7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8" name="Freeform 1412">
            <a:extLst>
              <a:ext uri="{FF2B5EF4-FFF2-40B4-BE49-F238E27FC236}">
                <a16:creationId xmlns:a16="http://schemas.microsoft.com/office/drawing/2014/main" id="{F1E8942B-DD17-4BD3-8DEF-B14461668888}"/>
              </a:ext>
            </a:extLst>
          </p:cNvPr>
          <p:cNvSpPr>
            <a:spLocks/>
          </p:cNvSpPr>
          <p:nvPr/>
        </p:nvSpPr>
        <p:spPr bwMode="auto">
          <a:xfrm>
            <a:off x="11474470" y="6390526"/>
            <a:ext cx="62612" cy="57603"/>
          </a:xfrm>
          <a:custGeom>
            <a:avLst/>
            <a:gdLst>
              <a:gd name="T0" fmla="*/ 50 w 50"/>
              <a:gd name="T1" fmla="*/ 46 h 46"/>
              <a:gd name="T2" fmla="*/ 32 w 50"/>
              <a:gd name="T3" fmla="*/ 46 h 46"/>
              <a:gd name="T4" fmla="*/ 0 w 50"/>
              <a:gd name="T5" fmla="*/ 0 h 46"/>
              <a:gd name="T6" fmla="*/ 18 w 50"/>
              <a:gd name="T7" fmla="*/ 0 h 46"/>
              <a:gd name="T8" fmla="*/ 50 w 50"/>
              <a:gd name="T9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" h="46">
                <a:moveTo>
                  <a:pt x="50" y="46"/>
                </a:moveTo>
                <a:lnTo>
                  <a:pt x="32" y="46"/>
                </a:lnTo>
                <a:lnTo>
                  <a:pt x="0" y="0"/>
                </a:lnTo>
                <a:lnTo>
                  <a:pt x="18" y="0"/>
                </a:lnTo>
                <a:lnTo>
                  <a:pt x="50" y="46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9" name="Freeform 1413">
            <a:extLst>
              <a:ext uri="{FF2B5EF4-FFF2-40B4-BE49-F238E27FC236}">
                <a16:creationId xmlns:a16="http://schemas.microsoft.com/office/drawing/2014/main" id="{5D6FA086-E763-4033-81AF-E290A0E2CB3D}"/>
              </a:ext>
            </a:extLst>
          </p:cNvPr>
          <p:cNvSpPr>
            <a:spLocks/>
          </p:cNvSpPr>
          <p:nvPr/>
        </p:nvSpPr>
        <p:spPr bwMode="auto">
          <a:xfrm>
            <a:off x="11485740" y="6394283"/>
            <a:ext cx="40071" cy="50089"/>
          </a:xfrm>
          <a:custGeom>
            <a:avLst/>
            <a:gdLst>
              <a:gd name="T0" fmla="*/ 32 w 32"/>
              <a:gd name="T1" fmla="*/ 40 h 40"/>
              <a:gd name="T2" fmla="*/ 27 w 32"/>
              <a:gd name="T3" fmla="*/ 40 h 40"/>
              <a:gd name="T4" fmla="*/ 0 w 32"/>
              <a:gd name="T5" fmla="*/ 0 h 40"/>
              <a:gd name="T6" fmla="*/ 5 w 32"/>
              <a:gd name="T7" fmla="*/ 0 h 40"/>
              <a:gd name="T8" fmla="*/ 32 w 32"/>
              <a:gd name="T9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" h="40">
                <a:moveTo>
                  <a:pt x="32" y="40"/>
                </a:moveTo>
                <a:lnTo>
                  <a:pt x="27" y="40"/>
                </a:lnTo>
                <a:lnTo>
                  <a:pt x="0" y="0"/>
                </a:lnTo>
                <a:lnTo>
                  <a:pt x="5" y="0"/>
                </a:lnTo>
                <a:lnTo>
                  <a:pt x="32" y="4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0" name="Freeform 1414">
            <a:extLst>
              <a:ext uri="{FF2B5EF4-FFF2-40B4-BE49-F238E27FC236}">
                <a16:creationId xmlns:a16="http://schemas.microsoft.com/office/drawing/2014/main" id="{4394CE44-6610-427A-9BDA-DE013ABD484E}"/>
              </a:ext>
            </a:extLst>
          </p:cNvPr>
          <p:cNvSpPr>
            <a:spLocks/>
          </p:cNvSpPr>
          <p:nvPr/>
        </p:nvSpPr>
        <p:spPr bwMode="auto">
          <a:xfrm>
            <a:off x="11489497" y="6396787"/>
            <a:ext cx="32558" cy="45080"/>
          </a:xfrm>
          <a:custGeom>
            <a:avLst/>
            <a:gdLst>
              <a:gd name="T0" fmla="*/ 26 w 26"/>
              <a:gd name="T1" fmla="*/ 36 h 36"/>
              <a:gd name="T2" fmla="*/ 24 w 26"/>
              <a:gd name="T3" fmla="*/ 36 h 36"/>
              <a:gd name="T4" fmla="*/ 0 w 26"/>
              <a:gd name="T5" fmla="*/ 0 h 36"/>
              <a:gd name="T6" fmla="*/ 2 w 26"/>
              <a:gd name="T7" fmla="*/ 0 h 36"/>
              <a:gd name="T8" fmla="*/ 26 w 26"/>
              <a:gd name="T9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" h="36">
                <a:moveTo>
                  <a:pt x="26" y="36"/>
                </a:moveTo>
                <a:lnTo>
                  <a:pt x="24" y="36"/>
                </a:lnTo>
                <a:lnTo>
                  <a:pt x="0" y="0"/>
                </a:lnTo>
                <a:lnTo>
                  <a:pt x="2" y="0"/>
                </a:lnTo>
                <a:lnTo>
                  <a:pt x="26" y="36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1" name="Freeform 1415">
            <a:extLst>
              <a:ext uri="{FF2B5EF4-FFF2-40B4-BE49-F238E27FC236}">
                <a16:creationId xmlns:a16="http://schemas.microsoft.com/office/drawing/2014/main" id="{FA0028A3-5742-4EC8-AE79-17FAA2D8BD2B}"/>
              </a:ext>
            </a:extLst>
          </p:cNvPr>
          <p:cNvSpPr>
            <a:spLocks/>
          </p:cNvSpPr>
          <p:nvPr/>
        </p:nvSpPr>
        <p:spPr bwMode="auto">
          <a:xfrm>
            <a:off x="11508280" y="6435606"/>
            <a:ext cx="20036" cy="3757"/>
          </a:xfrm>
          <a:custGeom>
            <a:avLst/>
            <a:gdLst>
              <a:gd name="T0" fmla="*/ 7 w 38"/>
              <a:gd name="T1" fmla="*/ 7 h 7"/>
              <a:gd name="T2" fmla="*/ 1 w 38"/>
              <a:gd name="T3" fmla="*/ 3 h 7"/>
              <a:gd name="T4" fmla="*/ 2 w 38"/>
              <a:gd name="T5" fmla="*/ 0 h 7"/>
              <a:gd name="T6" fmla="*/ 31 w 38"/>
              <a:gd name="T7" fmla="*/ 0 h 7"/>
              <a:gd name="T8" fmla="*/ 37 w 38"/>
              <a:gd name="T9" fmla="*/ 3 h 7"/>
              <a:gd name="T10" fmla="*/ 35 w 38"/>
              <a:gd name="T11" fmla="*/ 7 h 7"/>
              <a:gd name="T12" fmla="*/ 7 w 38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" h="7">
                <a:moveTo>
                  <a:pt x="7" y="7"/>
                </a:moveTo>
                <a:cubicBezTo>
                  <a:pt x="5" y="7"/>
                  <a:pt x="3" y="5"/>
                  <a:pt x="1" y="3"/>
                </a:cubicBezTo>
                <a:cubicBezTo>
                  <a:pt x="0" y="2"/>
                  <a:pt x="0" y="0"/>
                  <a:pt x="2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3" y="0"/>
                  <a:pt x="35" y="2"/>
                  <a:pt x="37" y="3"/>
                </a:cubicBezTo>
                <a:cubicBezTo>
                  <a:pt x="38" y="5"/>
                  <a:pt x="37" y="7"/>
                  <a:pt x="35" y="7"/>
                </a:cubicBezTo>
                <a:lnTo>
                  <a:pt x="7" y="7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2" name="Freeform 1416">
            <a:extLst>
              <a:ext uri="{FF2B5EF4-FFF2-40B4-BE49-F238E27FC236}">
                <a16:creationId xmlns:a16="http://schemas.microsoft.com/office/drawing/2014/main" id="{FE41D6AE-77FA-4D99-A11A-AF6254D0352E}"/>
              </a:ext>
            </a:extLst>
          </p:cNvPr>
          <p:cNvSpPr>
            <a:spLocks/>
          </p:cNvSpPr>
          <p:nvPr/>
        </p:nvSpPr>
        <p:spPr bwMode="auto">
          <a:xfrm>
            <a:off x="11235293" y="6390526"/>
            <a:ext cx="154025" cy="52594"/>
          </a:xfrm>
          <a:custGeom>
            <a:avLst/>
            <a:gdLst>
              <a:gd name="T0" fmla="*/ 95 w 123"/>
              <a:gd name="T1" fmla="*/ 0 h 42"/>
              <a:gd name="T2" fmla="*/ 0 w 123"/>
              <a:gd name="T3" fmla="*/ 0 h 42"/>
              <a:gd name="T4" fmla="*/ 27 w 123"/>
              <a:gd name="T5" fmla="*/ 42 h 42"/>
              <a:gd name="T6" fmla="*/ 123 w 123"/>
              <a:gd name="T7" fmla="*/ 42 h 42"/>
              <a:gd name="T8" fmla="*/ 95 w 123"/>
              <a:gd name="T9" fmla="*/ 0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3" h="42">
                <a:moveTo>
                  <a:pt x="95" y="0"/>
                </a:moveTo>
                <a:lnTo>
                  <a:pt x="0" y="0"/>
                </a:lnTo>
                <a:lnTo>
                  <a:pt x="27" y="42"/>
                </a:lnTo>
                <a:lnTo>
                  <a:pt x="123" y="42"/>
                </a:lnTo>
                <a:lnTo>
                  <a:pt x="95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3" name="Freeform 1417">
            <a:extLst>
              <a:ext uri="{FF2B5EF4-FFF2-40B4-BE49-F238E27FC236}">
                <a16:creationId xmlns:a16="http://schemas.microsoft.com/office/drawing/2014/main" id="{9B609CBA-6824-4AEE-ACDE-D91C080C1EFD}"/>
              </a:ext>
            </a:extLst>
          </p:cNvPr>
          <p:cNvSpPr>
            <a:spLocks/>
          </p:cNvSpPr>
          <p:nvPr/>
        </p:nvSpPr>
        <p:spPr bwMode="auto">
          <a:xfrm>
            <a:off x="11245311" y="6396787"/>
            <a:ext cx="133989" cy="40071"/>
          </a:xfrm>
          <a:custGeom>
            <a:avLst/>
            <a:gdLst>
              <a:gd name="T0" fmla="*/ 21 w 107"/>
              <a:gd name="T1" fmla="*/ 32 h 32"/>
              <a:gd name="T2" fmla="*/ 0 w 107"/>
              <a:gd name="T3" fmla="*/ 0 h 32"/>
              <a:gd name="T4" fmla="*/ 86 w 107"/>
              <a:gd name="T5" fmla="*/ 0 h 32"/>
              <a:gd name="T6" fmla="*/ 107 w 107"/>
              <a:gd name="T7" fmla="*/ 32 h 32"/>
              <a:gd name="T8" fmla="*/ 21 w 107"/>
              <a:gd name="T9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7" h="32">
                <a:moveTo>
                  <a:pt x="21" y="32"/>
                </a:moveTo>
                <a:lnTo>
                  <a:pt x="0" y="0"/>
                </a:lnTo>
                <a:lnTo>
                  <a:pt x="86" y="0"/>
                </a:lnTo>
                <a:lnTo>
                  <a:pt x="107" y="32"/>
                </a:lnTo>
                <a:lnTo>
                  <a:pt x="21" y="32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4" name="Freeform 1418">
            <a:extLst>
              <a:ext uri="{FF2B5EF4-FFF2-40B4-BE49-F238E27FC236}">
                <a16:creationId xmlns:a16="http://schemas.microsoft.com/office/drawing/2014/main" id="{774359E9-7D29-4791-9710-EE158A5377A2}"/>
              </a:ext>
            </a:extLst>
          </p:cNvPr>
          <p:cNvSpPr>
            <a:spLocks/>
          </p:cNvSpPr>
          <p:nvPr/>
        </p:nvSpPr>
        <p:spPr bwMode="auto">
          <a:xfrm>
            <a:off x="11271608" y="6428093"/>
            <a:ext cx="35063" cy="3757"/>
          </a:xfrm>
          <a:custGeom>
            <a:avLst/>
            <a:gdLst>
              <a:gd name="T0" fmla="*/ 1 w 28"/>
              <a:gd name="T1" fmla="*/ 3 h 3"/>
              <a:gd name="T2" fmla="*/ 0 w 28"/>
              <a:gd name="T3" fmla="*/ 0 h 3"/>
              <a:gd name="T4" fmla="*/ 27 w 28"/>
              <a:gd name="T5" fmla="*/ 0 h 3"/>
              <a:gd name="T6" fmla="*/ 28 w 28"/>
              <a:gd name="T7" fmla="*/ 3 h 3"/>
              <a:gd name="T8" fmla="*/ 1 w 28"/>
              <a:gd name="T9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" h="3">
                <a:moveTo>
                  <a:pt x="1" y="3"/>
                </a:moveTo>
                <a:lnTo>
                  <a:pt x="0" y="0"/>
                </a:lnTo>
                <a:lnTo>
                  <a:pt x="27" y="0"/>
                </a:lnTo>
                <a:lnTo>
                  <a:pt x="28" y="3"/>
                </a:lnTo>
                <a:lnTo>
                  <a:pt x="1" y="3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" name="Freeform 1419">
            <a:extLst>
              <a:ext uri="{FF2B5EF4-FFF2-40B4-BE49-F238E27FC236}">
                <a16:creationId xmlns:a16="http://schemas.microsoft.com/office/drawing/2014/main" id="{7C0A5BCA-771C-42A8-AF80-0B6DBE46F9CE}"/>
              </a:ext>
            </a:extLst>
          </p:cNvPr>
          <p:cNvSpPr>
            <a:spLocks/>
          </p:cNvSpPr>
          <p:nvPr/>
        </p:nvSpPr>
        <p:spPr bwMode="auto">
          <a:xfrm>
            <a:off x="11266599" y="6421832"/>
            <a:ext cx="83900" cy="3757"/>
          </a:xfrm>
          <a:custGeom>
            <a:avLst/>
            <a:gdLst>
              <a:gd name="T0" fmla="*/ 2 w 67"/>
              <a:gd name="T1" fmla="*/ 3 h 3"/>
              <a:gd name="T2" fmla="*/ 0 w 67"/>
              <a:gd name="T3" fmla="*/ 0 h 3"/>
              <a:gd name="T4" fmla="*/ 65 w 67"/>
              <a:gd name="T5" fmla="*/ 0 h 3"/>
              <a:gd name="T6" fmla="*/ 67 w 67"/>
              <a:gd name="T7" fmla="*/ 3 h 3"/>
              <a:gd name="T8" fmla="*/ 2 w 67"/>
              <a:gd name="T9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" h="3">
                <a:moveTo>
                  <a:pt x="2" y="3"/>
                </a:moveTo>
                <a:lnTo>
                  <a:pt x="0" y="0"/>
                </a:lnTo>
                <a:lnTo>
                  <a:pt x="65" y="0"/>
                </a:lnTo>
                <a:lnTo>
                  <a:pt x="67" y="3"/>
                </a:lnTo>
                <a:lnTo>
                  <a:pt x="2" y="3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" name="Freeform 1420">
            <a:extLst>
              <a:ext uri="{FF2B5EF4-FFF2-40B4-BE49-F238E27FC236}">
                <a16:creationId xmlns:a16="http://schemas.microsoft.com/office/drawing/2014/main" id="{3B5E190D-0E45-4203-AB7D-593B0502171A}"/>
              </a:ext>
            </a:extLst>
          </p:cNvPr>
          <p:cNvSpPr>
            <a:spLocks/>
          </p:cNvSpPr>
          <p:nvPr/>
        </p:nvSpPr>
        <p:spPr bwMode="auto">
          <a:xfrm>
            <a:off x="11261590" y="6415571"/>
            <a:ext cx="61360" cy="2504"/>
          </a:xfrm>
          <a:custGeom>
            <a:avLst/>
            <a:gdLst>
              <a:gd name="T0" fmla="*/ 2 w 49"/>
              <a:gd name="T1" fmla="*/ 2 h 2"/>
              <a:gd name="T2" fmla="*/ 0 w 49"/>
              <a:gd name="T3" fmla="*/ 0 h 2"/>
              <a:gd name="T4" fmla="*/ 47 w 49"/>
              <a:gd name="T5" fmla="*/ 0 h 2"/>
              <a:gd name="T6" fmla="*/ 49 w 49"/>
              <a:gd name="T7" fmla="*/ 2 h 2"/>
              <a:gd name="T8" fmla="*/ 2 w 49"/>
              <a:gd name="T9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" h="2">
                <a:moveTo>
                  <a:pt x="2" y="2"/>
                </a:moveTo>
                <a:lnTo>
                  <a:pt x="0" y="0"/>
                </a:lnTo>
                <a:lnTo>
                  <a:pt x="47" y="0"/>
                </a:lnTo>
                <a:lnTo>
                  <a:pt x="49" y="2"/>
                </a:lnTo>
                <a:lnTo>
                  <a:pt x="2" y="2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" name="Freeform 1421">
            <a:extLst>
              <a:ext uri="{FF2B5EF4-FFF2-40B4-BE49-F238E27FC236}">
                <a16:creationId xmlns:a16="http://schemas.microsoft.com/office/drawing/2014/main" id="{11E4715E-3F42-4C70-AAC8-77FF65914707}"/>
              </a:ext>
            </a:extLst>
          </p:cNvPr>
          <p:cNvSpPr>
            <a:spLocks/>
          </p:cNvSpPr>
          <p:nvPr/>
        </p:nvSpPr>
        <p:spPr bwMode="auto">
          <a:xfrm>
            <a:off x="11256581" y="6408057"/>
            <a:ext cx="46333" cy="3757"/>
          </a:xfrm>
          <a:custGeom>
            <a:avLst/>
            <a:gdLst>
              <a:gd name="T0" fmla="*/ 2 w 37"/>
              <a:gd name="T1" fmla="*/ 3 h 3"/>
              <a:gd name="T2" fmla="*/ 0 w 37"/>
              <a:gd name="T3" fmla="*/ 0 h 3"/>
              <a:gd name="T4" fmla="*/ 36 w 37"/>
              <a:gd name="T5" fmla="*/ 0 h 3"/>
              <a:gd name="T6" fmla="*/ 37 w 37"/>
              <a:gd name="T7" fmla="*/ 3 h 3"/>
              <a:gd name="T8" fmla="*/ 2 w 37"/>
              <a:gd name="T9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" h="3">
                <a:moveTo>
                  <a:pt x="2" y="3"/>
                </a:moveTo>
                <a:lnTo>
                  <a:pt x="0" y="0"/>
                </a:lnTo>
                <a:lnTo>
                  <a:pt x="36" y="0"/>
                </a:lnTo>
                <a:lnTo>
                  <a:pt x="37" y="3"/>
                </a:lnTo>
                <a:lnTo>
                  <a:pt x="2" y="3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" name="Freeform 1422">
            <a:extLst>
              <a:ext uri="{FF2B5EF4-FFF2-40B4-BE49-F238E27FC236}">
                <a16:creationId xmlns:a16="http://schemas.microsoft.com/office/drawing/2014/main" id="{58C0CA12-3FAA-4848-8424-52B322C4FC7B}"/>
              </a:ext>
            </a:extLst>
          </p:cNvPr>
          <p:cNvSpPr>
            <a:spLocks/>
          </p:cNvSpPr>
          <p:nvPr/>
        </p:nvSpPr>
        <p:spPr bwMode="auto">
          <a:xfrm>
            <a:off x="11252825" y="6401796"/>
            <a:ext cx="96422" cy="3757"/>
          </a:xfrm>
          <a:custGeom>
            <a:avLst/>
            <a:gdLst>
              <a:gd name="T0" fmla="*/ 2 w 77"/>
              <a:gd name="T1" fmla="*/ 3 h 3"/>
              <a:gd name="T2" fmla="*/ 0 w 77"/>
              <a:gd name="T3" fmla="*/ 0 h 3"/>
              <a:gd name="T4" fmla="*/ 76 w 77"/>
              <a:gd name="T5" fmla="*/ 0 h 3"/>
              <a:gd name="T6" fmla="*/ 77 w 77"/>
              <a:gd name="T7" fmla="*/ 3 h 3"/>
              <a:gd name="T8" fmla="*/ 2 w 77"/>
              <a:gd name="T9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7" h="3">
                <a:moveTo>
                  <a:pt x="2" y="3"/>
                </a:moveTo>
                <a:lnTo>
                  <a:pt x="0" y="0"/>
                </a:lnTo>
                <a:lnTo>
                  <a:pt x="76" y="0"/>
                </a:lnTo>
                <a:lnTo>
                  <a:pt x="77" y="3"/>
                </a:lnTo>
                <a:lnTo>
                  <a:pt x="2" y="3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" name="Freeform 1423">
            <a:extLst>
              <a:ext uri="{FF2B5EF4-FFF2-40B4-BE49-F238E27FC236}">
                <a16:creationId xmlns:a16="http://schemas.microsoft.com/office/drawing/2014/main" id="{3C19A1FA-0730-42A7-959D-F7B757756DA4}"/>
              </a:ext>
            </a:extLst>
          </p:cNvPr>
          <p:cNvSpPr>
            <a:spLocks/>
          </p:cNvSpPr>
          <p:nvPr/>
        </p:nvSpPr>
        <p:spPr bwMode="auto">
          <a:xfrm>
            <a:off x="11413111" y="6454390"/>
            <a:ext cx="144007" cy="51342"/>
          </a:xfrm>
          <a:custGeom>
            <a:avLst/>
            <a:gdLst>
              <a:gd name="T0" fmla="*/ 87 w 115"/>
              <a:gd name="T1" fmla="*/ 0 h 41"/>
              <a:gd name="T2" fmla="*/ 0 w 115"/>
              <a:gd name="T3" fmla="*/ 0 h 41"/>
              <a:gd name="T4" fmla="*/ 28 w 115"/>
              <a:gd name="T5" fmla="*/ 41 h 41"/>
              <a:gd name="T6" fmla="*/ 115 w 115"/>
              <a:gd name="T7" fmla="*/ 41 h 41"/>
              <a:gd name="T8" fmla="*/ 87 w 115"/>
              <a:gd name="T9" fmla="*/ 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5" h="41">
                <a:moveTo>
                  <a:pt x="87" y="0"/>
                </a:moveTo>
                <a:lnTo>
                  <a:pt x="0" y="0"/>
                </a:lnTo>
                <a:lnTo>
                  <a:pt x="28" y="41"/>
                </a:lnTo>
                <a:lnTo>
                  <a:pt x="115" y="41"/>
                </a:lnTo>
                <a:lnTo>
                  <a:pt x="87" y="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" name="Freeform 1424">
            <a:extLst>
              <a:ext uri="{FF2B5EF4-FFF2-40B4-BE49-F238E27FC236}">
                <a16:creationId xmlns:a16="http://schemas.microsoft.com/office/drawing/2014/main" id="{94E690C2-B853-4B2B-BEF6-1025FAB5E7CF}"/>
              </a:ext>
            </a:extLst>
          </p:cNvPr>
          <p:cNvSpPr>
            <a:spLocks/>
          </p:cNvSpPr>
          <p:nvPr/>
        </p:nvSpPr>
        <p:spPr bwMode="auto">
          <a:xfrm>
            <a:off x="11424380" y="6460651"/>
            <a:ext cx="121467" cy="38820"/>
          </a:xfrm>
          <a:custGeom>
            <a:avLst/>
            <a:gdLst>
              <a:gd name="T0" fmla="*/ 21 w 97"/>
              <a:gd name="T1" fmla="*/ 31 h 31"/>
              <a:gd name="T2" fmla="*/ 0 w 97"/>
              <a:gd name="T3" fmla="*/ 0 h 31"/>
              <a:gd name="T4" fmla="*/ 76 w 97"/>
              <a:gd name="T5" fmla="*/ 0 h 31"/>
              <a:gd name="T6" fmla="*/ 97 w 97"/>
              <a:gd name="T7" fmla="*/ 31 h 31"/>
              <a:gd name="T8" fmla="*/ 21 w 97"/>
              <a:gd name="T9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7" h="31">
                <a:moveTo>
                  <a:pt x="21" y="31"/>
                </a:moveTo>
                <a:lnTo>
                  <a:pt x="0" y="0"/>
                </a:lnTo>
                <a:lnTo>
                  <a:pt x="76" y="0"/>
                </a:lnTo>
                <a:lnTo>
                  <a:pt x="97" y="31"/>
                </a:lnTo>
                <a:lnTo>
                  <a:pt x="21" y="31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" name="Freeform 1425">
            <a:extLst>
              <a:ext uri="{FF2B5EF4-FFF2-40B4-BE49-F238E27FC236}">
                <a16:creationId xmlns:a16="http://schemas.microsoft.com/office/drawing/2014/main" id="{D00A9CBD-5B79-4586-9A38-D2C13E41242B}"/>
              </a:ext>
            </a:extLst>
          </p:cNvPr>
          <p:cNvSpPr>
            <a:spLocks/>
          </p:cNvSpPr>
          <p:nvPr/>
        </p:nvSpPr>
        <p:spPr bwMode="auto">
          <a:xfrm>
            <a:off x="11449425" y="6491957"/>
            <a:ext cx="32558" cy="3757"/>
          </a:xfrm>
          <a:custGeom>
            <a:avLst/>
            <a:gdLst>
              <a:gd name="T0" fmla="*/ 2 w 26"/>
              <a:gd name="T1" fmla="*/ 3 h 3"/>
              <a:gd name="T2" fmla="*/ 0 w 26"/>
              <a:gd name="T3" fmla="*/ 0 h 3"/>
              <a:gd name="T4" fmla="*/ 24 w 26"/>
              <a:gd name="T5" fmla="*/ 0 h 3"/>
              <a:gd name="T6" fmla="*/ 26 w 26"/>
              <a:gd name="T7" fmla="*/ 3 h 3"/>
              <a:gd name="T8" fmla="*/ 2 w 26"/>
              <a:gd name="T9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" h="3">
                <a:moveTo>
                  <a:pt x="2" y="3"/>
                </a:moveTo>
                <a:lnTo>
                  <a:pt x="0" y="0"/>
                </a:lnTo>
                <a:lnTo>
                  <a:pt x="24" y="0"/>
                </a:lnTo>
                <a:lnTo>
                  <a:pt x="26" y="3"/>
                </a:lnTo>
                <a:lnTo>
                  <a:pt x="2" y="3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" name="Freeform 1426">
            <a:extLst>
              <a:ext uri="{FF2B5EF4-FFF2-40B4-BE49-F238E27FC236}">
                <a16:creationId xmlns:a16="http://schemas.microsoft.com/office/drawing/2014/main" id="{0FEEC2B1-5FE3-4410-AC4A-8DE367DD6CA2}"/>
              </a:ext>
            </a:extLst>
          </p:cNvPr>
          <p:cNvSpPr>
            <a:spLocks/>
          </p:cNvSpPr>
          <p:nvPr/>
        </p:nvSpPr>
        <p:spPr bwMode="auto">
          <a:xfrm>
            <a:off x="11445669" y="6485696"/>
            <a:ext cx="51342" cy="3757"/>
          </a:xfrm>
          <a:custGeom>
            <a:avLst/>
            <a:gdLst>
              <a:gd name="T0" fmla="*/ 1 w 41"/>
              <a:gd name="T1" fmla="*/ 3 h 3"/>
              <a:gd name="T2" fmla="*/ 0 w 41"/>
              <a:gd name="T3" fmla="*/ 0 h 3"/>
              <a:gd name="T4" fmla="*/ 39 w 41"/>
              <a:gd name="T5" fmla="*/ 0 h 3"/>
              <a:gd name="T6" fmla="*/ 41 w 41"/>
              <a:gd name="T7" fmla="*/ 3 h 3"/>
              <a:gd name="T8" fmla="*/ 1 w 41"/>
              <a:gd name="T9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" h="3">
                <a:moveTo>
                  <a:pt x="1" y="3"/>
                </a:moveTo>
                <a:lnTo>
                  <a:pt x="0" y="0"/>
                </a:lnTo>
                <a:lnTo>
                  <a:pt x="39" y="0"/>
                </a:lnTo>
                <a:lnTo>
                  <a:pt x="41" y="3"/>
                </a:lnTo>
                <a:lnTo>
                  <a:pt x="1" y="3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" name="Freeform 1427">
            <a:extLst>
              <a:ext uri="{FF2B5EF4-FFF2-40B4-BE49-F238E27FC236}">
                <a16:creationId xmlns:a16="http://schemas.microsoft.com/office/drawing/2014/main" id="{77C1CC1C-6FA6-4EEE-A2DC-F8938A3CA514}"/>
              </a:ext>
            </a:extLst>
          </p:cNvPr>
          <p:cNvSpPr>
            <a:spLocks/>
          </p:cNvSpPr>
          <p:nvPr/>
        </p:nvSpPr>
        <p:spPr bwMode="auto">
          <a:xfrm>
            <a:off x="11440660" y="6478182"/>
            <a:ext cx="80143" cy="3757"/>
          </a:xfrm>
          <a:custGeom>
            <a:avLst/>
            <a:gdLst>
              <a:gd name="T0" fmla="*/ 2 w 64"/>
              <a:gd name="T1" fmla="*/ 3 h 3"/>
              <a:gd name="T2" fmla="*/ 0 w 64"/>
              <a:gd name="T3" fmla="*/ 0 h 3"/>
              <a:gd name="T4" fmla="*/ 62 w 64"/>
              <a:gd name="T5" fmla="*/ 0 h 3"/>
              <a:gd name="T6" fmla="*/ 64 w 64"/>
              <a:gd name="T7" fmla="*/ 3 h 3"/>
              <a:gd name="T8" fmla="*/ 2 w 64"/>
              <a:gd name="T9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4" h="3">
                <a:moveTo>
                  <a:pt x="2" y="3"/>
                </a:moveTo>
                <a:lnTo>
                  <a:pt x="0" y="0"/>
                </a:lnTo>
                <a:lnTo>
                  <a:pt x="62" y="0"/>
                </a:lnTo>
                <a:lnTo>
                  <a:pt x="64" y="3"/>
                </a:lnTo>
                <a:lnTo>
                  <a:pt x="2" y="3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" name="Freeform 1428">
            <a:extLst>
              <a:ext uri="{FF2B5EF4-FFF2-40B4-BE49-F238E27FC236}">
                <a16:creationId xmlns:a16="http://schemas.microsoft.com/office/drawing/2014/main" id="{592C3D87-4133-4167-A36B-685916DB9A5A}"/>
              </a:ext>
            </a:extLst>
          </p:cNvPr>
          <p:cNvSpPr>
            <a:spLocks/>
          </p:cNvSpPr>
          <p:nvPr/>
        </p:nvSpPr>
        <p:spPr bwMode="auto">
          <a:xfrm>
            <a:off x="11436903" y="6471921"/>
            <a:ext cx="40071" cy="3757"/>
          </a:xfrm>
          <a:custGeom>
            <a:avLst/>
            <a:gdLst>
              <a:gd name="T0" fmla="*/ 1 w 32"/>
              <a:gd name="T1" fmla="*/ 3 h 3"/>
              <a:gd name="T2" fmla="*/ 0 w 32"/>
              <a:gd name="T3" fmla="*/ 0 h 3"/>
              <a:gd name="T4" fmla="*/ 31 w 32"/>
              <a:gd name="T5" fmla="*/ 0 h 3"/>
              <a:gd name="T6" fmla="*/ 32 w 32"/>
              <a:gd name="T7" fmla="*/ 3 h 3"/>
              <a:gd name="T8" fmla="*/ 1 w 32"/>
              <a:gd name="T9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" h="3">
                <a:moveTo>
                  <a:pt x="1" y="3"/>
                </a:moveTo>
                <a:lnTo>
                  <a:pt x="0" y="0"/>
                </a:lnTo>
                <a:lnTo>
                  <a:pt x="31" y="0"/>
                </a:lnTo>
                <a:lnTo>
                  <a:pt x="32" y="3"/>
                </a:lnTo>
                <a:lnTo>
                  <a:pt x="1" y="3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" name="Freeform 1429">
            <a:extLst>
              <a:ext uri="{FF2B5EF4-FFF2-40B4-BE49-F238E27FC236}">
                <a16:creationId xmlns:a16="http://schemas.microsoft.com/office/drawing/2014/main" id="{61169F3B-C94F-47DE-BA15-36D0A375660D}"/>
              </a:ext>
            </a:extLst>
          </p:cNvPr>
          <p:cNvSpPr>
            <a:spLocks/>
          </p:cNvSpPr>
          <p:nvPr/>
        </p:nvSpPr>
        <p:spPr bwMode="auto">
          <a:xfrm>
            <a:off x="11431894" y="6464408"/>
            <a:ext cx="62612" cy="3757"/>
          </a:xfrm>
          <a:custGeom>
            <a:avLst/>
            <a:gdLst>
              <a:gd name="T0" fmla="*/ 2 w 50"/>
              <a:gd name="T1" fmla="*/ 3 h 3"/>
              <a:gd name="T2" fmla="*/ 0 w 50"/>
              <a:gd name="T3" fmla="*/ 0 h 3"/>
              <a:gd name="T4" fmla="*/ 48 w 50"/>
              <a:gd name="T5" fmla="*/ 0 h 3"/>
              <a:gd name="T6" fmla="*/ 50 w 50"/>
              <a:gd name="T7" fmla="*/ 3 h 3"/>
              <a:gd name="T8" fmla="*/ 2 w 50"/>
              <a:gd name="T9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" h="3">
                <a:moveTo>
                  <a:pt x="2" y="3"/>
                </a:moveTo>
                <a:lnTo>
                  <a:pt x="0" y="0"/>
                </a:lnTo>
                <a:lnTo>
                  <a:pt x="48" y="0"/>
                </a:lnTo>
                <a:lnTo>
                  <a:pt x="50" y="3"/>
                </a:lnTo>
                <a:lnTo>
                  <a:pt x="2" y="3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" name="Freeform 1430">
            <a:extLst>
              <a:ext uri="{FF2B5EF4-FFF2-40B4-BE49-F238E27FC236}">
                <a16:creationId xmlns:a16="http://schemas.microsoft.com/office/drawing/2014/main" id="{4A419C2F-B146-4E24-B55E-3A188B70B55D}"/>
              </a:ext>
            </a:extLst>
          </p:cNvPr>
          <p:cNvSpPr>
            <a:spLocks/>
          </p:cNvSpPr>
          <p:nvPr/>
        </p:nvSpPr>
        <p:spPr bwMode="auto">
          <a:xfrm>
            <a:off x="11515794" y="6393030"/>
            <a:ext cx="21288" cy="12522"/>
          </a:xfrm>
          <a:custGeom>
            <a:avLst/>
            <a:gdLst>
              <a:gd name="T0" fmla="*/ 17 w 17"/>
              <a:gd name="T1" fmla="*/ 10 h 10"/>
              <a:gd name="T2" fmla="*/ 7 w 17"/>
              <a:gd name="T3" fmla="*/ 10 h 10"/>
              <a:gd name="T4" fmla="*/ 0 w 17"/>
              <a:gd name="T5" fmla="*/ 0 h 10"/>
              <a:gd name="T6" fmla="*/ 10 w 17"/>
              <a:gd name="T7" fmla="*/ 0 h 10"/>
              <a:gd name="T8" fmla="*/ 17 w 17"/>
              <a:gd name="T9" fmla="*/ 1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10">
                <a:moveTo>
                  <a:pt x="17" y="10"/>
                </a:moveTo>
                <a:lnTo>
                  <a:pt x="7" y="10"/>
                </a:lnTo>
                <a:lnTo>
                  <a:pt x="0" y="0"/>
                </a:lnTo>
                <a:lnTo>
                  <a:pt x="10" y="0"/>
                </a:lnTo>
                <a:lnTo>
                  <a:pt x="17" y="10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" name="Freeform 1431">
            <a:extLst>
              <a:ext uri="{FF2B5EF4-FFF2-40B4-BE49-F238E27FC236}">
                <a16:creationId xmlns:a16="http://schemas.microsoft.com/office/drawing/2014/main" id="{1EFC7EE0-2BD4-4CB1-9E7A-9B61F664546A}"/>
              </a:ext>
            </a:extLst>
          </p:cNvPr>
          <p:cNvSpPr>
            <a:spLocks/>
          </p:cNvSpPr>
          <p:nvPr/>
        </p:nvSpPr>
        <p:spPr bwMode="auto">
          <a:xfrm>
            <a:off x="11534577" y="6393030"/>
            <a:ext cx="21288" cy="12522"/>
          </a:xfrm>
          <a:custGeom>
            <a:avLst/>
            <a:gdLst>
              <a:gd name="T0" fmla="*/ 17 w 17"/>
              <a:gd name="T1" fmla="*/ 10 h 10"/>
              <a:gd name="T2" fmla="*/ 7 w 17"/>
              <a:gd name="T3" fmla="*/ 10 h 10"/>
              <a:gd name="T4" fmla="*/ 0 w 17"/>
              <a:gd name="T5" fmla="*/ 0 h 10"/>
              <a:gd name="T6" fmla="*/ 10 w 17"/>
              <a:gd name="T7" fmla="*/ 0 h 10"/>
              <a:gd name="T8" fmla="*/ 17 w 17"/>
              <a:gd name="T9" fmla="*/ 1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10">
                <a:moveTo>
                  <a:pt x="17" y="10"/>
                </a:moveTo>
                <a:lnTo>
                  <a:pt x="7" y="10"/>
                </a:lnTo>
                <a:lnTo>
                  <a:pt x="0" y="0"/>
                </a:lnTo>
                <a:lnTo>
                  <a:pt x="10" y="0"/>
                </a:lnTo>
                <a:lnTo>
                  <a:pt x="17" y="10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Freeform 1432">
            <a:extLst>
              <a:ext uri="{FF2B5EF4-FFF2-40B4-BE49-F238E27FC236}">
                <a16:creationId xmlns:a16="http://schemas.microsoft.com/office/drawing/2014/main" id="{E3E15030-0C4F-4202-994A-F5DC75328395}"/>
              </a:ext>
            </a:extLst>
          </p:cNvPr>
          <p:cNvSpPr>
            <a:spLocks/>
          </p:cNvSpPr>
          <p:nvPr/>
        </p:nvSpPr>
        <p:spPr bwMode="auto">
          <a:xfrm>
            <a:off x="11553361" y="6393030"/>
            <a:ext cx="20036" cy="12522"/>
          </a:xfrm>
          <a:custGeom>
            <a:avLst/>
            <a:gdLst>
              <a:gd name="T0" fmla="*/ 16 w 16"/>
              <a:gd name="T1" fmla="*/ 10 h 10"/>
              <a:gd name="T2" fmla="*/ 6 w 16"/>
              <a:gd name="T3" fmla="*/ 10 h 10"/>
              <a:gd name="T4" fmla="*/ 0 w 16"/>
              <a:gd name="T5" fmla="*/ 0 h 10"/>
              <a:gd name="T6" fmla="*/ 10 w 16"/>
              <a:gd name="T7" fmla="*/ 0 h 10"/>
              <a:gd name="T8" fmla="*/ 16 w 16"/>
              <a:gd name="T9" fmla="*/ 1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10">
                <a:moveTo>
                  <a:pt x="16" y="10"/>
                </a:moveTo>
                <a:lnTo>
                  <a:pt x="6" y="10"/>
                </a:lnTo>
                <a:lnTo>
                  <a:pt x="0" y="0"/>
                </a:lnTo>
                <a:lnTo>
                  <a:pt x="10" y="0"/>
                </a:lnTo>
                <a:lnTo>
                  <a:pt x="16" y="10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" name="Freeform 1433">
            <a:extLst>
              <a:ext uri="{FF2B5EF4-FFF2-40B4-BE49-F238E27FC236}">
                <a16:creationId xmlns:a16="http://schemas.microsoft.com/office/drawing/2014/main" id="{B11BD386-875E-449E-8F6B-83C19271F126}"/>
              </a:ext>
            </a:extLst>
          </p:cNvPr>
          <p:cNvSpPr>
            <a:spLocks/>
          </p:cNvSpPr>
          <p:nvPr/>
        </p:nvSpPr>
        <p:spPr bwMode="auto">
          <a:xfrm>
            <a:off x="11570892" y="6393030"/>
            <a:ext cx="33811" cy="12522"/>
          </a:xfrm>
          <a:custGeom>
            <a:avLst/>
            <a:gdLst>
              <a:gd name="T0" fmla="*/ 27 w 27"/>
              <a:gd name="T1" fmla="*/ 10 h 10"/>
              <a:gd name="T2" fmla="*/ 7 w 27"/>
              <a:gd name="T3" fmla="*/ 10 h 10"/>
              <a:gd name="T4" fmla="*/ 0 w 27"/>
              <a:gd name="T5" fmla="*/ 0 h 10"/>
              <a:gd name="T6" fmla="*/ 20 w 27"/>
              <a:gd name="T7" fmla="*/ 0 h 10"/>
              <a:gd name="T8" fmla="*/ 27 w 27"/>
              <a:gd name="T9" fmla="*/ 1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" h="10">
                <a:moveTo>
                  <a:pt x="27" y="10"/>
                </a:moveTo>
                <a:lnTo>
                  <a:pt x="7" y="10"/>
                </a:lnTo>
                <a:lnTo>
                  <a:pt x="0" y="0"/>
                </a:lnTo>
                <a:lnTo>
                  <a:pt x="20" y="0"/>
                </a:lnTo>
                <a:lnTo>
                  <a:pt x="27" y="10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Freeform 1434">
            <a:extLst>
              <a:ext uri="{FF2B5EF4-FFF2-40B4-BE49-F238E27FC236}">
                <a16:creationId xmlns:a16="http://schemas.microsoft.com/office/drawing/2014/main" id="{0A82672A-57F8-4B1C-AC28-BD0903111A6C}"/>
              </a:ext>
            </a:extLst>
          </p:cNvPr>
          <p:cNvSpPr>
            <a:spLocks/>
          </p:cNvSpPr>
          <p:nvPr/>
        </p:nvSpPr>
        <p:spPr bwMode="auto">
          <a:xfrm>
            <a:off x="11528316" y="6413066"/>
            <a:ext cx="21288" cy="11270"/>
          </a:xfrm>
          <a:custGeom>
            <a:avLst/>
            <a:gdLst>
              <a:gd name="T0" fmla="*/ 17 w 17"/>
              <a:gd name="T1" fmla="*/ 9 h 9"/>
              <a:gd name="T2" fmla="*/ 8 w 17"/>
              <a:gd name="T3" fmla="*/ 9 h 9"/>
              <a:gd name="T4" fmla="*/ 0 w 17"/>
              <a:gd name="T5" fmla="*/ 0 h 9"/>
              <a:gd name="T6" fmla="*/ 10 w 17"/>
              <a:gd name="T7" fmla="*/ 0 h 9"/>
              <a:gd name="T8" fmla="*/ 17 w 17"/>
              <a:gd name="T9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9">
                <a:moveTo>
                  <a:pt x="17" y="9"/>
                </a:moveTo>
                <a:lnTo>
                  <a:pt x="8" y="9"/>
                </a:lnTo>
                <a:lnTo>
                  <a:pt x="0" y="0"/>
                </a:lnTo>
                <a:lnTo>
                  <a:pt x="10" y="0"/>
                </a:lnTo>
                <a:lnTo>
                  <a:pt x="17" y="9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" name="Freeform 1435">
            <a:extLst>
              <a:ext uri="{FF2B5EF4-FFF2-40B4-BE49-F238E27FC236}">
                <a16:creationId xmlns:a16="http://schemas.microsoft.com/office/drawing/2014/main" id="{45B168CA-BBD6-4F68-8605-7A60A87FDC77}"/>
              </a:ext>
            </a:extLst>
          </p:cNvPr>
          <p:cNvSpPr>
            <a:spLocks/>
          </p:cNvSpPr>
          <p:nvPr/>
        </p:nvSpPr>
        <p:spPr bwMode="auto">
          <a:xfrm>
            <a:off x="11547099" y="6413066"/>
            <a:ext cx="21288" cy="11270"/>
          </a:xfrm>
          <a:custGeom>
            <a:avLst/>
            <a:gdLst>
              <a:gd name="T0" fmla="*/ 17 w 17"/>
              <a:gd name="T1" fmla="*/ 9 h 9"/>
              <a:gd name="T2" fmla="*/ 7 w 17"/>
              <a:gd name="T3" fmla="*/ 9 h 9"/>
              <a:gd name="T4" fmla="*/ 0 w 17"/>
              <a:gd name="T5" fmla="*/ 0 h 9"/>
              <a:gd name="T6" fmla="*/ 10 w 17"/>
              <a:gd name="T7" fmla="*/ 0 h 9"/>
              <a:gd name="T8" fmla="*/ 17 w 17"/>
              <a:gd name="T9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9">
                <a:moveTo>
                  <a:pt x="17" y="9"/>
                </a:moveTo>
                <a:lnTo>
                  <a:pt x="7" y="9"/>
                </a:lnTo>
                <a:lnTo>
                  <a:pt x="0" y="0"/>
                </a:lnTo>
                <a:lnTo>
                  <a:pt x="10" y="0"/>
                </a:lnTo>
                <a:lnTo>
                  <a:pt x="17" y="9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Freeform 1437">
            <a:extLst>
              <a:ext uri="{FF2B5EF4-FFF2-40B4-BE49-F238E27FC236}">
                <a16:creationId xmlns:a16="http://schemas.microsoft.com/office/drawing/2014/main" id="{4669723E-321F-4BBC-9332-2F52CC4B5826}"/>
              </a:ext>
            </a:extLst>
          </p:cNvPr>
          <p:cNvSpPr>
            <a:spLocks/>
          </p:cNvSpPr>
          <p:nvPr/>
        </p:nvSpPr>
        <p:spPr bwMode="auto">
          <a:xfrm>
            <a:off x="11565882" y="6413066"/>
            <a:ext cx="21288" cy="11270"/>
          </a:xfrm>
          <a:custGeom>
            <a:avLst/>
            <a:gdLst>
              <a:gd name="T0" fmla="*/ 17 w 17"/>
              <a:gd name="T1" fmla="*/ 9 h 9"/>
              <a:gd name="T2" fmla="*/ 7 w 17"/>
              <a:gd name="T3" fmla="*/ 9 h 9"/>
              <a:gd name="T4" fmla="*/ 0 w 17"/>
              <a:gd name="T5" fmla="*/ 0 h 9"/>
              <a:gd name="T6" fmla="*/ 10 w 17"/>
              <a:gd name="T7" fmla="*/ 0 h 9"/>
              <a:gd name="T8" fmla="*/ 17 w 17"/>
              <a:gd name="T9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9">
                <a:moveTo>
                  <a:pt x="17" y="9"/>
                </a:moveTo>
                <a:lnTo>
                  <a:pt x="7" y="9"/>
                </a:lnTo>
                <a:lnTo>
                  <a:pt x="0" y="0"/>
                </a:lnTo>
                <a:lnTo>
                  <a:pt x="10" y="0"/>
                </a:lnTo>
                <a:lnTo>
                  <a:pt x="17" y="9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1438">
            <a:extLst>
              <a:ext uri="{FF2B5EF4-FFF2-40B4-BE49-F238E27FC236}">
                <a16:creationId xmlns:a16="http://schemas.microsoft.com/office/drawing/2014/main" id="{EBD07626-D713-49DE-AF0A-F867B7C33143}"/>
              </a:ext>
            </a:extLst>
          </p:cNvPr>
          <p:cNvSpPr>
            <a:spLocks/>
          </p:cNvSpPr>
          <p:nvPr/>
        </p:nvSpPr>
        <p:spPr bwMode="auto">
          <a:xfrm>
            <a:off x="11584666" y="6413066"/>
            <a:ext cx="32558" cy="11270"/>
          </a:xfrm>
          <a:custGeom>
            <a:avLst/>
            <a:gdLst>
              <a:gd name="T0" fmla="*/ 26 w 26"/>
              <a:gd name="T1" fmla="*/ 9 h 9"/>
              <a:gd name="T2" fmla="*/ 7 w 26"/>
              <a:gd name="T3" fmla="*/ 9 h 9"/>
              <a:gd name="T4" fmla="*/ 0 w 26"/>
              <a:gd name="T5" fmla="*/ 0 h 9"/>
              <a:gd name="T6" fmla="*/ 20 w 26"/>
              <a:gd name="T7" fmla="*/ 0 h 9"/>
              <a:gd name="T8" fmla="*/ 26 w 26"/>
              <a:gd name="T9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" h="9">
                <a:moveTo>
                  <a:pt x="26" y="9"/>
                </a:moveTo>
                <a:lnTo>
                  <a:pt x="7" y="9"/>
                </a:lnTo>
                <a:lnTo>
                  <a:pt x="0" y="0"/>
                </a:lnTo>
                <a:lnTo>
                  <a:pt x="20" y="0"/>
                </a:lnTo>
                <a:lnTo>
                  <a:pt x="26" y="9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1439">
            <a:extLst>
              <a:ext uri="{FF2B5EF4-FFF2-40B4-BE49-F238E27FC236}">
                <a16:creationId xmlns:a16="http://schemas.microsoft.com/office/drawing/2014/main" id="{FB8C259D-D558-4443-B7AE-E2D5083FDFD1}"/>
              </a:ext>
            </a:extLst>
          </p:cNvPr>
          <p:cNvSpPr>
            <a:spLocks/>
          </p:cNvSpPr>
          <p:nvPr/>
        </p:nvSpPr>
        <p:spPr bwMode="auto">
          <a:xfrm>
            <a:off x="11542090" y="6431850"/>
            <a:ext cx="21288" cy="12522"/>
          </a:xfrm>
          <a:custGeom>
            <a:avLst/>
            <a:gdLst>
              <a:gd name="T0" fmla="*/ 17 w 17"/>
              <a:gd name="T1" fmla="*/ 10 h 10"/>
              <a:gd name="T2" fmla="*/ 7 w 17"/>
              <a:gd name="T3" fmla="*/ 10 h 10"/>
              <a:gd name="T4" fmla="*/ 0 w 17"/>
              <a:gd name="T5" fmla="*/ 0 h 10"/>
              <a:gd name="T6" fmla="*/ 10 w 17"/>
              <a:gd name="T7" fmla="*/ 0 h 10"/>
              <a:gd name="T8" fmla="*/ 17 w 17"/>
              <a:gd name="T9" fmla="*/ 1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10">
                <a:moveTo>
                  <a:pt x="17" y="10"/>
                </a:moveTo>
                <a:lnTo>
                  <a:pt x="7" y="10"/>
                </a:lnTo>
                <a:lnTo>
                  <a:pt x="0" y="0"/>
                </a:lnTo>
                <a:lnTo>
                  <a:pt x="10" y="0"/>
                </a:lnTo>
                <a:lnTo>
                  <a:pt x="17" y="10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1440">
            <a:extLst>
              <a:ext uri="{FF2B5EF4-FFF2-40B4-BE49-F238E27FC236}">
                <a16:creationId xmlns:a16="http://schemas.microsoft.com/office/drawing/2014/main" id="{E6B74CAF-2764-4D05-BEA3-2264AA4C4DB0}"/>
              </a:ext>
            </a:extLst>
          </p:cNvPr>
          <p:cNvSpPr>
            <a:spLocks/>
          </p:cNvSpPr>
          <p:nvPr/>
        </p:nvSpPr>
        <p:spPr bwMode="auto">
          <a:xfrm>
            <a:off x="11560873" y="6431850"/>
            <a:ext cx="21288" cy="12522"/>
          </a:xfrm>
          <a:custGeom>
            <a:avLst/>
            <a:gdLst>
              <a:gd name="T0" fmla="*/ 17 w 17"/>
              <a:gd name="T1" fmla="*/ 10 h 10"/>
              <a:gd name="T2" fmla="*/ 7 w 17"/>
              <a:gd name="T3" fmla="*/ 10 h 10"/>
              <a:gd name="T4" fmla="*/ 0 w 17"/>
              <a:gd name="T5" fmla="*/ 0 h 10"/>
              <a:gd name="T6" fmla="*/ 10 w 17"/>
              <a:gd name="T7" fmla="*/ 0 h 10"/>
              <a:gd name="T8" fmla="*/ 17 w 17"/>
              <a:gd name="T9" fmla="*/ 1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10">
                <a:moveTo>
                  <a:pt x="17" y="10"/>
                </a:moveTo>
                <a:lnTo>
                  <a:pt x="7" y="10"/>
                </a:lnTo>
                <a:lnTo>
                  <a:pt x="0" y="0"/>
                </a:lnTo>
                <a:lnTo>
                  <a:pt x="10" y="0"/>
                </a:lnTo>
                <a:lnTo>
                  <a:pt x="17" y="10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1441">
            <a:extLst>
              <a:ext uri="{FF2B5EF4-FFF2-40B4-BE49-F238E27FC236}">
                <a16:creationId xmlns:a16="http://schemas.microsoft.com/office/drawing/2014/main" id="{57A487FA-D3CF-413E-87DC-5273BDDB0D68}"/>
              </a:ext>
            </a:extLst>
          </p:cNvPr>
          <p:cNvSpPr>
            <a:spLocks/>
          </p:cNvSpPr>
          <p:nvPr/>
        </p:nvSpPr>
        <p:spPr bwMode="auto">
          <a:xfrm>
            <a:off x="11579657" y="6431850"/>
            <a:ext cx="20036" cy="12522"/>
          </a:xfrm>
          <a:custGeom>
            <a:avLst/>
            <a:gdLst>
              <a:gd name="T0" fmla="*/ 16 w 16"/>
              <a:gd name="T1" fmla="*/ 10 h 10"/>
              <a:gd name="T2" fmla="*/ 6 w 16"/>
              <a:gd name="T3" fmla="*/ 10 h 10"/>
              <a:gd name="T4" fmla="*/ 0 w 16"/>
              <a:gd name="T5" fmla="*/ 0 h 10"/>
              <a:gd name="T6" fmla="*/ 10 w 16"/>
              <a:gd name="T7" fmla="*/ 0 h 10"/>
              <a:gd name="T8" fmla="*/ 16 w 16"/>
              <a:gd name="T9" fmla="*/ 1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10">
                <a:moveTo>
                  <a:pt x="16" y="10"/>
                </a:moveTo>
                <a:lnTo>
                  <a:pt x="6" y="10"/>
                </a:lnTo>
                <a:lnTo>
                  <a:pt x="0" y="0"/>
                </a:lnTo>
                <a:lnTo>
                  <a:pt x="10" y="0"/>
                </a:lnTo>
                <a:lnTo>
                  <a:pt x="16" y="10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1442">
            <a:extLst>
              <a:ext uri="{FF2B5EF4-FFF2-40B4-BE49-F238E27FC236}">
                <a16:creationId xmlns:a16="http://schemas.microsoft.com/office/drawing/2014/main" id="{CF7D26DD-19F3-4E79-A1FD-60F7E43CF10E}"/>
              </a:ext>
            </a:extLst>
          </p:cNvPr>
          <p:cNvSpPr>
            <a:spLocks/>
          </p:cNvSpPr>
          <p:nvPr/>
        </p:nvSpPr>
        <p:spPr bwMode="auto">
          <a:xfrm>
            <a:off x="11597189" y="6431850"/>
            <a:ext cx="33811" cy="12522"/>
          </a:xfrm>
          <a:custGeom>
            <a:avLst/>
            <a:gdLst>
              <a:gd name="T0" fmla="*/ 27 w 27"/>
              <a:gd name="T1" fmla="*/ 10 h 10"/>
              <a:gd name="T2" fmla="*/ 7 w 27"/>
              <a:gd name="T3" fmla="*/ 10 h 10"/>
              <a:gd name="T4" fmla="*/ 0 w 27"/>
              <a:gd name="T5" fmla="*/ 0 h 10"/>
              <a:gd name="T6" fmla="*/ 20 w 27"/>
              <a:gd name="T7" fmla="*/ 0 h 10"/>
              <a:gd name="T8" fmla="*/ 27 w 27"/>
              <a:gd name="T9" fmla="*/ 1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" h="10">
                <a:moveTo>
                  <a:pt x="27" y="10"/>
                </a:moveTo>
                <a:lnTo>
                  <a:pt x="7" y="10"/>
                </a:lnTo>
                <a:lnTo>
                  <a:pt x="0" y="0"/>
                </a:lnTo>
                <a:lnTo>
                  <a:pt x="20" y="0"/>
                </a:lnTo>
                <a:lnTo>
                  <a:pt x="27" y="10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1443">
            <a:extLst>
              <a:ext uri="{FF2B5EF4-FFF2-40B4-BE49-F238E27FC236}">
                <a16:creationId xmlns:a16="http://schemas.microsoft.com/office/drawing/2014/main" id="{559D085F-FDFD-46DB-80CE-C806C14BB725}"/>
              </a:ext>
            </a:extLst>
          </p:cNvPr>
          <p:cNvSpPr>
            <a:spLocks/>
          </p:cNvSpPr>
          <p:nvPr/>
        </p:nvSpPr>
        <p:spPr bwMode="auto">
          <a:xfrm>
            <a:off x="11224023" y="6453138"/>
            <a:ext cx="83900" cy="51342"/>
          </a:xfrm>
          <a:custGeom>
            <a:avLst/>
            <a:gdLst>
              <a:gd name="T0" fmla="*/ 67 w 67"/>
              <a:gd name="T1" fmla="*/ 41 h 41"/>
              <a:gd name="T2" fmla="*/ 28 w 67"/>
              <a:gd name="T3" fmla="*/ 41 h 41"/>
              <a:gd name="T4" fmla="*/ 0 w 67"/>
              <a:gd name="T5" fmla="*/ 0 h 41"/>
              <a:gd name="T6" fmla="*/ 39 w 67"/>
              <a:gd name="T7" fmla="*/ 0 h 41"/>
              <a:gd name="T8" fmla="*/ 67 w 67"/>
              <a:gd name="T9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" h="41">
                <a:moveTo>
                  <a:pt x="67" y="41"/>
                </a:moveTo>
                <a:lnTo>
                  <a:pt x="28" y="41"/>
                </a:lnTo>
                <a:lnTo>
                  <a:pt x="0" y="0"/>
                </a:lnTo>
                <a:lnTo>
                  <a:pt x="39" y="0"/>
                </a:lnTo>
                <a:lnTo>
                  <a:pt x="67" y="41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Freeform 1444">
            <a:extLst>
              <a:ext uri="{FF2B5EF4-FFF2-40B4-BE49-F238E27FC236}">
                <a16:creationId xmlns:a16="http://schemas.microsoft.com/office/drawing/2014/main" id="{59CCC27E-4C0D-4601-ADBF-3DD3E1388B41}"/>
              </a:ext>
            </a:extLst>
          </p:cNvPr>
          <p:cNvSpPr>
            <a:spLocks/>
          </p:cNvSpPr>
          <p:nvPr/>
        </p:nvSpPr>
        <p:spPr bwMode="auto">
          <a:xfrm>
            <a:off x="11230284" y="6456895"/>
            <a:ext cx="56351" cy="21288"/>
          </a:xfrm>
          <a:custGeom>
            <a:avLst/>
            <a:gdLst>
              <a:gd name="T0" fmla="*/ 45 w 45"/>
              <a:gd name="T1" fmla="*/ 17 h 17"/>
              <a:gd name="T2" fmla="*/ 12 w 45"/>
              <a:gd name="T3" fmla="*/ 17 h 17"/>
              <a:gd name="T4" fmla="*/ 0 w 45"/>
              <a:gd name="T5" fmla="*/ 0 h 17"/>
              <a:gd name="T6" fmla="*/ 33 w 45"/>
              <a:gd name="T7" fmla="*/ 0 h 17"/>
              <a:gd name="T8" fmla="*/ 45 w 45"/>
              <a:gd name="T9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5" h="17">
                <a:moveTo>
                  <a:pt x="45" y="17"/>
                </a:moveTo>
                <a:lnTo>
                  <a:pt x="12" y="17"/>
                </a:lnTo>
                <a:lnTo>
                  <a:pt x="0" y="0"/>
                </a:lnTo>
                <a:lnTo>
                  <a:pt x="33" y="0"/>
                </a:lnTo>
                <a:lnTo>
                  <a:pt x="45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Freeform 1445">
            <a:extLst>
              <a:ext uri="{FF2B5EF4-FFF2-40B4-BE49-F238E27FC236}">
                <a16:creationId xmlns:a16="http://schemas.microsoft.com/office/drawing/2014/main" id="{8D7FA32F-A939-4E78-A390-6464CEDD0516}"/>
              </a:ext>
            </a:extLst>
          </p:cNvPr>
          <p:cNvSpPr>
            <a:spLocks/>
          </p:cNvSpPr>
          <p:nvPr/>
        </p:nvSpPr>
        <p:spPr bwMode="auto">
          <a:xfrm>
            <a:off x="11264094" y="6483191"/>
            <a:ext cx="20036" cy="13775"/>
          </a:xfrm>
          <a:custGeom>
            <a:avLst/>
            <a:gdLst>
              <a:gd name="T0" fmla="*/ 32 w 37"/>
              <a:gd name="T1" fmla="*/ 13 h 26"/>
              <a:gd name="T2" fmla="*/ 27 w 37"/>
              <a:gd name="T3" fmla="*/ 26 h 26"/>
              <a:gd name="T4" fmla="*/ 5 w 37"/>
              <a:gd name="T5" fmla="*/ 13 h 26"/>
              <a:gd name="T6" fmla="*/ 10 w 37"/>
              <a:gd name="T7" fmla="*/ 0 h 26"/>
              <a:gd name="T8" fmla="*/ 32 w 37"/>
              <a:gd name="T9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" h="26">
                <a:moveTo>
                  <a:pt x="32" y="13"/>
                </a:moveTo>
                <a:cubicBezTo>
                  <a:pt x="37" y="20"/>
                  <a:pt x="35" y="26"/>
                  <a:pt x="27" y="26"/>
                </a:cubicBezTo>
                <a:cubicBezTo>
                  <a:pt x="20" y="26"/>
                  <a:pt x="10" y="20"/>
                  <a:pt x="5" y="13"/>
                </a:cubicBezTo>
                <a:cubicBezTo>
                  <a:pt x="0" y="6"/>
                  <a:pt x="2" y="0"/>
                  <a:pt x="10" y="0"/>
                </a:cubicBezTo>
                <a:cubicBezTo>
                  <a:pt x="17" y="0"/>
                  <a:pt x="27" y="6"/>
                  <a:pt x="32" y="13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Freeform 1446">
            <a:extLst>
              <a:ext uri="{FF2B5EF4-FFF2-40B4-BE49-F238E27FC236}">
                <a16:creationId xmlns:a16="http://schemas.microsoft.com/office/drawing/2014/main" id="{3A0ADB28-EFAD-4CEE-B118-AB8035A78B0B}"/>
              </a:ext>
            </a:extLst>
          </p:cNvPr>
          <p:cNvSpPr>
            <a:spLocks/>
          </p:cNvSpPr>
          <p:nvPr/>
        </p:nvSpPr>
        <p:spPr bwMode="auto">
          <a:xfrm>
            <a:off x="11255328" y="6461904"/>
            <a:ext cx="12522" cy="16279"/>
          </a:xfrm>
          <a:custGeom>
            <a:avLst/>
            <a:gdLst>
              <a:gd name="T0" fmla="*/ 7 w 10"/>
              <a:gd name="T1" fmla="*/ 13 h 13"/>
              <a:gd name="T2" fmla="*/ 0 w 10"/>
              <a:gd name="T3" fmla="*/ 0 h 13"/>
              <a:gd name="T4" fmla="*/ 10 w 10"/>
              <a:gd name="T5" fmla="*/ 13 h 13"/>
              <a:gd name="T6" fmla="*/ 7 w 10"/>
              <a:gd name="T7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" h="13">
                <a:moveTo>
                  <a:pt x="7" y="13"/>
                </a:moveTo>
                <a:lnTo>
                  <a:pt x="0" y="0"/>
                </a:lnTo>
                <a:lnTo>
                  <a:pt x="10" y="13"/>
                </a:lnTo>
                <a:lnTo>
                  <a:pt x="7" y="1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Freeform 1447">
            <a:extLst>
              <a:ext uri="{FF2B5EF4-FFF2-40B4-BE49-F238E27FC236}">
                <a16:creationId xmlns:a16="http://schemas.microsoft.com/office/drawing/2014/main" id="{F9B9563C-C5E6-440D-AD86-16E4BE104672}"/>
              </a:ext>
            </a:extLst>
          </p:cNvPr>
          <p:cNvSpPr>
            <a:spLocks/>
          </p:cNvSpPr>
          <p:nvPr/>
        </p:nvSpPr>
        <p:spPr bwMode="auto">
          <a:xfrm>
            <a:off x="11284130" y="6453138"/>
            <a:ext cx="83900" cy="51342"/>
          </a:xfrm>
          <a:custGeom>
            <a:avLst/>
            <a:gdLst>
              <a:gd name="T0" fmla="*/ 67 w 67"/>
              <a:gd name="T1" fmla="*/ 41 h 41"/>
              <a:gd name="T2" fmla="*/ 28 w 67"/>
              <a:gd name="T3" fmla="*/ 41 h 41"/>
              <a:gd name="T4" fmla="*/ 0 w 67"/>
              <a:gd name="T5" fmla="*/ 0 h 41"/>
              <a:gd name="T6" fmla="*/ 39 w 67"/>
              <a:gd name="T7" fmla="*/ 0 h 41"/>
              <a:gd name="T8" fmla="*/ 67 w 67"/>
              <a:gd name="T9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" h="41">
                <a:moveTo>
                  <a:pt x="67" y="41"/>
                </a:moveTo>
                <a:lnTo>
                  <a:pt x="28" y="41"/>
                </a:lnTo>
                <a:lnTo>
                  <a:pt x="0" y="0"/>
                </a:lnTo>
                <a:lnTo>
                  <a:pt x="39" y="0"/>
                </a:lnTo>
                <a:lnTo>
                  <a:pt x="67" y="41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1448">
            <a:extLst>
              <a:ext uri="{FF2B5EF4-FFF2-40B4-BE49-F238E27FC236}">
                <a16:creationId xmlns:a16="http://schemas.microsoft.com/office/drawing/2014/main" id="{A8E582FB-F042-4531-8CBC-F853AD5B853C}"/>
              </a:ext>
            </a:extLst>
          </p:cNvPr>
          <p:cNvSpPr>
            <a:spLocks/>
          </p:cNvSpPr>
          <p:nvPr/>
        </p:nvSpPr>
        <p:spPr bwMode="auto">
          <a:xfrm>
            <a:off x="11291644" y="6456895"/>
            <a:ext cx="55098" cy="21288"/>
          </a:xfrm>
          <a:custGeom>
            <a:avLst/>
            <a:gdLst>
              <a:gd name="T0" fmla="*/ 44 w 44"/>
              <a:gd name="T1" fmla="*/ 17 h 17"/>
              <a:gd name="T2" fmla="*/ 12 w 44"/>
              <a:gd name="T3" fmla="*/ 17 h 17"/>
              <a:gd name="T4" fmla="*/ 0 w 44"/>
              <a:gd name="T5" fmla="*/ 0 h 17"/>
              <a:gd name="T6" fmla="*/ 32 w 44"/>
              <a:gd name="T7" fmla="*/ 0 h 17"/>
              <a:gd name="T8" fmla="*/ 44 w 44"/>
              <a:gd name="T9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" h="17">
                <a:moveTo>
                  <a:pt x="44" y="17"/>
                </a:moveTo>
                <a:lnTo>
                  <a:pt x="12" y="17"/>
                </a:lnTo>
                <a:lnTo>
                  <a:pt x="0" y="0"/>
                </a:lnTo>
                <a:lnTo>
                  <a:pt x="32" y="0"/>
                </a:lnTo>
                <a:lnTo>
                  <a:pt x="44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Freeform 1449">
            <a:extLst>
              <a:ext uri="{FF2B5EF4-FFF2-40B4-BE49-F238E27FC236}">
                <a16:creationId xmlns:a16="http://schemas.microsoft.com/office/drawing/2014/main" id="{CACCDB36-238C-409B-9AAB-083C58EB0519}"/>
              </a:ext>
            </a:extLst>
          </p:cNvPr>
          <p:cNvSpPr>
            <a:spLocks/>
          </p:cNvSpPr>
          <p:nvPr/>
        </p:nvSpPr>
        <p:spPr bwMode="auto">
          <a:xfrm>
            <a:off x="11325453" y="6483191"/>
            <a:ext cx="18784" cy="13775"/>
          </a:xfrm>
          <a:custGeom>
            <a:avLst/>
            <a:gdLst>
              <a:gd name="T0" fmla="*/ 31 w 36"/>
              <a:gd name="T1" fmla="*/ 13 h 26"/>
              <a:gd name="T2" fmla="*/ 27 w 36"/>
              <a:gd name="T3" fmla="*/ 26 h 26"/>
              <a:gd name="T4" fmla="*/ 5 w 36"/>
              <a:gd name="T5" fmla="*/ 13 h 26"/>
              <a:gd name="T6" fmla="*/ 9 w 36"/>
              <a:gd name="T7" fmla="*/ 0 h 26"/>
              <a:gd name="T8" fmla="*/ 31 w 36"/>
              <a:gd name="T9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" h="26">
                <a:moveTo>
                  <a:pt x="31" y="13"/>
                </a:moveTo>
                <a:cubicBezTo>
                  <a:pt x="36" y="20"/>
                  <a:pt x="34" y="26"/>
                  <a:pt x="27" y="26"/>
                </a:cubicBezTo>
                <a:cubicBezTo>
                  <a:pt x="20" y="26"/>
                  <a:pt x="10" y="20"/>
                  <a:pt x="5" y="13"/>
                </a:cubicBezTo>
                <a:cubicBezTo>
                  <a:pt x="0" y="6"/>
                  <a:pt x="2" y="0"/>
                  <a:pt x="9" y="0"/>
                </a:cubicBezTo>
                <a:cubicBezTo>
                  <a:pt x="16" y="0"/>
                  <a:pt x="26" y="6"/>
                  <a:pt x="31" y="13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Freeform 1450">
            <a:extLst>
              <a:ext uri="{FF2B5EF4-FFF2-40B4-BE49-F238E27FC236}">
                <a16:creationId xmlns:a16="http://schemas.microsoft.com/office/drawing/2014/main" id="{8EA5ECA0-6745-4812-AE0C-A23436034E2B}"/>
              </a:ext>
            </a:extLst>
          </p:cNvPr>
          <p:cNvSpPr>
            <a:spLocks/>
          </p:cNvSpPr>
          <p:nvPr/>
        </p:nvSpPr>
        <p:spPr bwMode="auto">
          <a:xfrm>
            <a:off x="11307922" y="6461904"/>
            <a:ext cx="21288" cy="16279"/>
          </a:xfrm>
          <a:custGeom>
            <a:avLst/>
            <a:gdLst>
              <a:gd name="T0" fmla="*/ 13 w 17"/>
              <a:gd name="T1" fmla="*/ 13 h 13"/>
              <a:gd name="T2" fmla="*/ 0 w 17"/>
              <a:gd name="T3" fmla="*/ 0 h 13"/>
              <a:gd name="T4" fmla="*/ 17 w 17"/>
              <a:gd name="T5" fmla="*/ 13 h 13"/>
              <a:gd name="T6" fmla="*/ 13 w 17"/>
              <a:gd name="T7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" h="13">
                <a:moveTo>
                  <a:pt x="13" y="13"/>
                </a:moveTo>
                <a:lnTo>
                  <a:pt x="0" y="0"/>
                </a:lnTo>
                <a:lnTo>
                  <a:pt x="17" y="13"/>
                </a:lnTo>
                <a:lnTo>
                  <a:pt x="13" y="1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1451">
            <a:extLst>
              <a:ext uri="{FF2B5EF4-FFF2-40B4-BE49-F238E27FC236}">
                <a16:creationId xmlns:a16="http://schemas.microsoft.com/office/drawing/2014/main" id="{8F6E9FB1-608C-47CE-AAB9-F17D45E0BB90}"/>
              </a:ext>
            </a:extLst>
          </p:cNvPr>
          <p:cNvSpPr>
            <a:spLocks/>
          </p:cNvSpPr>
          <p:nvPr/>
        </p:nvSpPr>
        <p:spPr bwMode="auto">
          <a:xfrm>
            <a:off x="11345489" y="6453138"/>
            <a:ext cx="83900" cy="51342"/>
          </a:xfrm>
          <a:custGeom>
            <a:avLst/>
            <a:gdLst>
              <a:gd name="T0" fmla="*/ 67 w 67"/>
              <a:gd name="T1" fmla="*/ 41 h 41"/>
              <a:gd name="T2" fmla="*/ 27 w 67"/>
              <a:gd name="T3" fmla="*/ 41 h 41"/>
              <a:gd name="T4" fmla="*/ 0 w 67"/>
              <a:gd name="T5" fmla="*/ 0 h 41"/>
              <a:gd name="T6" fmla="*/ 39 w 67"/>
              <a:gd name="T7" fmla="*/ 0 h 41"/>
              <a:gd name="T8" fmla="*/ 67 w 67"/>
              <a:gd name="T9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" h="41">
                <a:moveTo>
                  <a:pt x="67" y="41"/>
                </a:moveTo>
                <a:lnTo>
                  <a:pt x="27" y="41"/>
                </a:lnTo>
                <a:lnTo>
                  <a:pt x="0" y="0"/>
                </a:lnTo>
                <a:lnTo>
                  <a:pt x="39" y="0"/>
                </a:lnTo>
                <a:lnTo>
                  <a:pt x="67" y="41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1452">
            <a:extLst>
              <a:ext uri="{FF2B5EF4-FFF2-40B4-BE49-F238E27FC236}">
                <a16:creationId xmlns:a16="http://schemas.microsoft.com/office/drawing/2014/main" id="{2475F3E6-458F-45BE-A669-6AB952F2F145}"/>
              </a:ext>
            </a:extLst>
          </p:cNvPr>
          <p:cNvSpPr>
            <a:spLocks/>
          </p:cNvSpPr>
          <p:nvPr/>
        </p:nvSpPr>
        <p:spPr bwMode="auto">
          <a:xfrm>
            <a:off x="11351751" y="6456895"/>
            <a:ext cx="55098" cy="21288"/>
          </a:xfrm>
          <a:custGeom>
            <a:avLst/>
            <a:gdLst>
              <a:gd name="T0" fmla="*/ 44 w 44"/>
              <a:gd name="T1" fmla="*/ 17 h 17"/>
              <a:gd name="T2" fmla="*/ 12 w 44"/>
              <a:gd name="T3" fmla="*/ 17 h 17"/>
              <a:gd name="T4" fmla="*/ 0 w 44"/>
              <a:gd name="T5" fmla="*/ 0 h 17"/>
              <a:gd name="T6" fmla="*/ 32 w 44"/>
              <a:gd name="T7" fmla="*/ 0 h 17"/>
              <a:gd name="T8" fmla="*/ 44 w 44"/>
              <a:gd name="T9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" h="17">
                <a:moveTo>
                  <a:pt x="44" y="17"/>
                </a:moveTo>
                <a:lnTo>
                  <a:pt x="12" y="17"/>
                </a:lnTo>
                <a:lnTo>
                  <a:pt x="0" y="0"/>
                </a:lnTo>
                <a:lnTo>
                  <a:pt x="32" y="0"/>
                </a:lnTo>
                <a:lnTo>
                  <a:pt x="44" y="1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1453">
            <a:extLst>
              <a:ext uri="{FF2B5EF4-FFF2-40B4-BE49-F238E27FC236}">
                <a16:creationId xmlns:a16="http://schemas.microsoft.com/office/drawing/2014/main" id="{623A6EFE-DA09-445B-93A0-DA5FFDB01670}"/>
              </a:ext>
            </a:extLst>
          </p:cNvPr>
          <p:cNvSpPr>
            <a:spLocks/>
          </p:cNvSpPr>
          <p:nvPr/>
        </p:nvSpPr>
        <p:spPr bwMode="auto">
          <a:xfrm>
            <a:off x="11385561" y="6483191"/>
            <a:ext cx="18784" cy="13775"/>
          </a:xfrm>
          <a:custGeom>
            <a:avLst/>
            <a:gdLst>
              <a:gd name="T0" fmla="*/ 32 w 37"/>
              <a:gd name="T1" fmla="*/ 13 h 26"/>
              <a:gd name="T2" fmla="*/ 27 w 37"/>
              <a:gd name="T3" fmla="*/ 26 h 26"/>
              <a:gd name="T4" fmla="*/ 5 w 37"/>
              <a:gd name="T5" fmla="*/ 13 h 26"/>
              <a:gd name="T6" fmla="*/ 10 w 37"/>
              <a:gd name="T7" fmla="*/ 0 h 26"/>
              <a:gd name="T8" fmla="*/ 32 w 37"/>
              <a:gd name="T9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" h="26">
                <a:moveTo>
                  <a:pt x="32" y="13"/>
                </a:moveTo>
                <a:cubicBezTo>
                  <a:pt x="37" y="20"/>
                  <a:pt x="35" y="26"/>
                  <a:pt x="27" y="26"/>
                </a:cubicBezTo>
                <a:cubicBezTo>
                  <a:pt x="20" y="26"/>
                  <a:pt x="10" y="20"/>
                  <a:pt x="5" y="13"/>
                </a:cubicBezTo>
                <a:cubicBezTo>
                  <a:pt x="0" y="6"/>
                  <a:pt x="2" y="0"/>
                  <a:pt x="10" y="0"/>
                </a:cubicBezTo>
                <a:cubicBezTo>
                  <a:pt x="17" y="0"/>
                  <a:pt x="27" y="6"/>
                  <a:pt x="32" y="13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Freeform 1454">
            <a:extLst>
              <a:ext uri="{FF2B5EF4-FFF2-40B4-BE49-F238E27FC236}">
                <a16:creationId xmlns:a16="http://schemas.microsoft.com/office/drawing/2014/main" id="{5F5B8828-0668-4842-A6B0-3A7F648258ED}"/>
              </a:ext>
            </a:extLst>
          </p:cNvPr>
          <p:cNvSpPr>
            <a:spLocks/>
          </p:cNvSpPr>
          <p:nvPr/>
        </p:nvSpPr>
        <p:spPr bwMode="auto">
          <a:xfrm>
            <a:off x="11384309" y="6461904"/>
            <a:ext cx="5009" cy="16279"/>
          </a:xfrm>
          <a:custGeom>
            <a:avLst/>
            <a:gdLst>
              <a:gd name="T0" fmla="*/ 0 w 4"/>
              <a:gd name="T1" fmla="*/ 13 h 13"/>
              <a:gd name="T2" fmla="*/ 0 w 4"/>
              <a:gd name="T3" fmla="*/ 0 h 13"/>
              <a:gd name="T4" fmla="*/ 4 w 4"/>
              <a:gd name="T5" fmla="*/ 13 h 13"/>
              <a:gd name="T6" fmla="*/ 0 w 4"/>
              <a:gd name="T7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13">
                <a:moveTo>
                  <a:pt x="0" y="13"/>
                </a:moveTo>
                <a:lnTo>
                  <a:pt x="0" y="0"/>
                </a:lnTo>
                <a:lnTo>
                  <a:pt x="4" y="13"/>
                </a:lnTo>
                <a:lnTo>
                  <a:pt x="0" y="1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Freeform 1455">
            <a:extLst>
              <a:ext uri="{FF2B5EF4-FFF2-40B4-BE49-F238E27FC236}">
                <a16:creationId xmlns:a16="http://schemas.microsoft.com/office/drawing/2014/main" id="{52BEA334-214B-48E4-8417-262DCF618335}"/>
              </a:ext>
            </a:extLst>
          </p:cNvPr>
          <p:cNvSpPr>
            <a:spLocks/>
          </p:cNvSpPr>
          <p:nvPr/>
        </p:nvSpPr>
        <p:spPr bwMode="auto">
          <a:xfrm>
            <a:off x="11593432" y="6484444"/>
            <a:ext cx="10018" cy="13775"/>
          </a:xfrm>
          <a:custGeom>
            <a:avLst/>
            <a:gdLst>
              <a:gd name="T0" fmla="*/ 5 w 19"/>
              <a:gd name="T1" fmla="*/ 3 h 27"/>
              <a:gd name="T2" fmla="*/ 13 w 19"/>
              <a:gd name="T3" fmla="*/ 3 h 27"/>
              <a:gd name="T4" fmla="*/ 18 w 19"/>
              <a:gd name="T5" fmla="*/ 11 h 27"/>
              <a:gd name="T6" fmla="*/ 14 w 19"/>
              <a:gd name="T7" fmla="*/ 25 h 27"/>
              <a:gd name="T8" fmla="*/ 6 w 19"/>
              <a:gd name="T9" fmla="*/ 25 h 27"/>
              <a:gd name="T10" fmla="*/ 0 w 19"/>
              <a:gd name="T11" fmla="*/ 17 h 27"/>
              <a:gd name="T12" fmla="*/ 5 w 19"/>
              <a:gd name="T13" fmla="*/ 3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" h="27">
                <a:moveTo>
                  <a:pt x="5" y="3"/>
                </a:moveTo>
                <a:cubicBezTo>
                  <a:pt x="5" y="0"/>
                  <a:pt x="9" y="0"/>
                  <a:pt x="13" y="3"/>
                </a:cubicBezTo>
                <a:cubicBezTo>
                  <a:pt x="16" y="5"/>
                  <a:pt x="19" y="8"/>
                  <a:pt x="18" y="11"/>
                </a:cubicBezTo>
                <a:cubicBezTo>
                  <a:pt x="14" y="25"/>
                  <a:pt x="14" y="25"/>
                  <a:pt x="14" y="25"/>
                </a:cubicBezTo>
                <a:cubicBezTo>
                  <a:pt x="13" y="27"/>
                  <a:pt x="9" y="27"/>
                  <a:pt x="6" y="25"/>
                </a:cubicBezTo>
                <a:cubicBezTo>
                  <a:pt x="2" y="23"/>
                  <a:pt x="0" y="19"/>
                  <a:pt x="0" y="17"/>
                </a:cubicBezTo>
                <a:lnTo>
                  <a:pt x="5" y="3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Freeform 1456">
            <a:extLst>
              <a:ext uri="{FF2B5EF4-FFF2-40B4-BE49-F238E27FC236}">
                <a16:creationId xmlns:a16="http://schemas.microsoft.com/office/drawing/2014/main" id="{9F066700-1699-4516-AB03-8FAC43E9E2B2}"/>
              </a:ext>
            </a:extLst>
          </p:cNvPr>
          <p:cNvSpPr>
            <a:spLocks/>
          </p:cNvSpPr>
          <p:nvPr/>
        </p:nvSpPr>
        <p:spPr bwMode="auto">
          <a:xfrm>
            <a:off x="11554613" y="6468164"/>
            <a:ext cx="16279" cy="16279"/>
          </a:xfrm>
          <a:custGeom>
            <a:avLst/>
            <a:gdLst>
              <a:gd name="T0" fmla="*/ 3 w 30"/>
              <a:gd name="T1" fmla="*/ 6 h 33"/>
              <a:gd name="T2" fmla="*/ 4 w 30"/>
              <a:gd name="T3" fmla="*/ 0 h 33"/>
              <a:gd name="T4" fmla="*/ 14 w 30"/>
              <a:gd name="T5" fmla="*/ 6 h 33"/>
              <a:gd name="T6" fmla="*/ 28 w 30"/>
              <a:gd name="T7" fmla="*/ 27 h 33"/>
              <a:gd name="T8" fmla="*/ 26 w 30"/>
              <a:gd name="T9" fmla="*/ 33 h 33"/>
              <a:gd name="T10" fmla="*/ 17 w 30"/>
              <a:gd name="T11" fmla="*/ 27 h 33"/>
              <a:gd name="T12" fmla="*/ 3 w 30"/>
              <a:gd name="T13" fmla="*/ 6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" h="33">
                <a:moveTo>
                  <a:pt x="3" y="6"/>
                </a:moveTo>
                <a:cubicBezTo>
                  <a:pt x="0" y="3"/>
                  <a:pt x="1" y="0"/>
                  <a:pt x="4" y="0"/>
                </a:cubicBezTo>
                <a:cubicBezTo>
                  <a:pt x="7" y="0"/>
                  <a:pt x="12" y="3"/>
                  <a:pt x="14" y="6"/>
                </a:cubicBezTo>
                <a:cubicBezTo>
                  <a:pt x="28" y="27"/>
                  <a:pt x="28" y="27"/>
                  <a:pt x="28" y="27"/>
                </a:cubicBezTo>
                <a:cubicBezTo>
                  <a:pt x="30" y="30"/>
                  <a:pt x="29" y="33"/>
                  <a:pt x="26" y="33"/>
                </a:cubicBezTo>
                <a:cubicBezTo>
                  <a:pt x="23" y="33"/>
                  <a:pt x="19" y="30"/>
                  <a:pt x="17" y="27"/>
                </a:cubicBezTo>
                <a:lnTo>
                  <a:pt x="3" y="6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Freeform 1457">
            <a:extLst>
              <a:ext uri="{FF2B5EF4-FFF2-40B4-BE49-F238E27FC236}">
                <a16:creationId xmlns:a16="http://schemas.microsoft.com/office/drawing/2014/main" id="{18B51260-9450-4800-B302-93687383AAA4}"/>
              </a:ext>
            </a:extLst>
          </p:cNvPr>
          <p:cNvSpPr>
            <a:spLocks/>
          </p:cNvSpPr>
          <p:nvPr/>
        </p:nvSpPr>
        <p:spPr bwMode="auto">
          <a:xfrm>
            <a:off x="11562126" y="6478182"/>
            <a:ext cx="38820" cy="20036"/>
          </a:xfrm>
          <a:custGeom>
            <a:avLst/>
            <a:gdLst>
              <a:gd name="T0" fmla="*/ 20 w 75"/>
              <a:gd name="T1" fmla="*/ 32 h 39"/>
              <a:gd name="T2" fmla="*/ 31 w 75"/>
              <a:gd name="T3" fmla="*/ 39 h 39"/>
              <a:gd name="T4" fmla="*/ 70 w 75"/>
              <a:gd name="T5" fmla="*/ 39 h 39"/>
              <a:gd name="T6" fmla="*/ 72 w 75"/>
              <a:gd name="T7" fmla="*/ 32 h 39"/>
              <a:gd name="T8" fmla="*/ 55 w 75"/>
              <a:gd name="T9" fmla="*/ 7 h 39"/>
              <a:gd name="T10" fmla="*/ 44 w 75"/>
              <a:gd name="T11" fmla="*/ 0 h 39"/>
              <a:gd name="T12" fmla="*/ 5 w 75"/>
              <a:gd name="T13" fmla="*/ 0 h 39"/>
              <a:gd name="T14" fmla="*/ 3 w 75"/>
              <a:gd name="T15" fmla="*/ 7 h 39"/>
              <a:gd name="T16" fmla="*/ 20 w 75"/>
              <a:gd name="T17" fmla="*/ 32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5" h="39">
                <a:moveTo>
                  <a:pt x="20" y="32"/>
                </a:moveTo>
                <a:cubicBezTo>
                  <a:pt x="22" y="36"/>
                  <a:pt x="27" y="39"/>
                  <a:pt x="31" y="39"/>
                </a:cubicBezTo>
                <a:cubicBezTo>
                  <a:pt x="70" y="39"/>
                  <a:pt x="70" y="39"/>
                  <a:pt x="70" y="39"/>
                </a:cubicBezTo>
                <a:cubicBezTo>
                  <a:pt x="74" y="39"/>
                  <a:pt x="75" y="36"/>
                  <a:pt x="72" y="32"/>
                </a:cubicBezTo>
                <a:cubicBezTo>
                  <a:pt x="55" y="7"/>
                  <a:pt x="55" y="7"/>
                  <a:pt x="55" y="7"/>
                </a:cubicBezTo>
                <a:cubicBezTo>
                  <a:pt x="53" y="3"/>
                  <a:pt x="48" y="0"/>
                  <a:pt x="44" y="0"/>
                </a:cubicBezTo>
                <a:cubicBezTo>
                  <a:pt x="5" y="0"/>
                  <a:pt x="5" y="0"/>
                  <a:pt x="5" y="0"/>
                </a:cubicBezTo>
                <a:cubicBezTo>
                  <a:pt x="1" y="0"/>
                  <a:pt x="0" y="3"/>
                  <a:pt x="3" y="7"/>
                </a:cubicBezTo>
                <a:lnTo>
                  <a:pt x="20" y="32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1458">
            <a:extLst>
              <a:ext uri="{FF2B5EF4-FFF2-40B4-BE49-F238E27FC236}">
                <a16:creationId xmlns:a16="http://schemas.microsoft.com/office/drawing/2014/main" id="{B05F937F-7716-4A90-8F97-DAD7BED86457}"/>
              </a:ext>
            </a:extLst>
          </p:cNvPr>
          <p:cNvSpPr>
            <a:spLocks/>
          </p:cNvSpPr>
          <p:nvPr/>
        </p:nvSpPr>
        <p:spPr bwMode="auto">
          <a:xfrm>
            <a:off x="11565882" y="6461904"/>
            <a:ext cx="18784" cy="22540"/>
          </a:xfrm>
          <a:custGeom>
            <a:avLst/>
            <a:gdLst>
              <a:gd name="T0" fmla="*/ 2 w 37"/>
              <a:gd name="T1" fmla="*/ 6 h 43"/>
              <a:gd name="T2" fmla="*/ 4 w 37"/>
              <a:gd name="T3" fmla="*/ 0 h 43"/>
              <a:gd name="T4" fmla="*/ 14 w 37"/>
              <a:gd name="T5" fmla="*/ 6 h 43"/>
              <a:gd name="T6" fmla="*/ 35 w 37"/>
              <a:gd name="T7" fmla="*/ 37 h 43"/>
              <a:gd name="T8" fmla="*/ 33 w 37"/>
              <a:gd name="T9" fmla="*/ 43 h 43"/>
              <a:gd name="T10" fmla="*/ 23 w 37"/>
              <a:gd name="T11" fmla="*/ 37 h 43"/>
              <a:gd name="T12" fmla="*/ 2 w 37"/>
              <a:gd name="T13" fmla="*/ 6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" h="43">
                <a:moveTo>
                  <a:pt x="2" y="6"/>
                </a:moveTo>
                <a:cubicBezTo>
                  <a:pt x="0" y="3"/>
                  <a:pt x="1" y="0"/>
                  <a:pt x="4" y="0"/>
                </a:cubicBezTo>
                <a:cubicBezTo>
                  <a:pt x="7" y="0"/>
                  <a:pt x="11" y="3"/>
                  <a:pt x="14" y="6"/>
                </a:cubicBezTo>
                <a:cubicBezTo>
                  <a:pt x="35" y="37"/>
                  <a:pt x="35" y="37"/>
                  <a:pt x="35" y="37"/>
                </a:cubicBezTo>
                <a:cubicBezTo>
                  <a:pt x="37" y="40"/>
                  <a:pt x="36" y="43"/>
                  <a:pt x="33" y="43"/>
                </a:cubicBezTo>
                <a:cubicBezTo>
                  <a:pt x="30" y="43"/>
                  <a:pt x="25" y="40"/>
                  <a:pt x="23" y="37"/>
                </a:cubicBezTo>
                <a:lnTo>
                  <a:pt x="2" y="6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reeform 1459">
            <a:extLst>
              <a:ext uri="{FF2B5EF4-FFF2-40B4-BE49-F238E27FC236}">
                <a16:creationId xmlns:a16="http://schemas.microsoft.com/office/drawing/2014/main" id="{5AD9A0A0-2C29-4049-9382-195DEA6BA471}"/>
              </a:ext>
            </a:extLst>
          </p:cNvPr>
          <p:cNvSpPr>
            <a:spLocks/>
          </p:cNvSpPr>
          <p:nvPr/>
        </p:nvSpPr>
        <p:spPr bwMode="auto">
          <a:xfrm>
            <a:off x="11574648" y="6464408"/>
            <a:ext cx="17531" cy="20036"/>
          </a:xfrm>
          <a:custGeom>
            <a:avLst/>
            <a:gdLst>
              <a:gd name="T0" fmla="*/ 2 w 34"/>
              <a:gd name="T1" fmla="*/ 6 h 39"/>
              <a:gd name="T2" fmla="*/ 4 w 34"/>
              <a:gd name="T3" fmla="*/ 0 h 39"/>
              <a:gd name="T4" fmla="*/ 13 w 34"/>
              <a:gd name="T5" fmla="*/ 6 h 39"/>
              <a:gd name="T6" fmla="*/ 31 w 34"/>
              <a:gd name="T7" fmla="*/ 33 h 39"/>
              <a:gd name="T8" fmla="*/ 30 w 34"/>
              <a:gd name="T9" fmla="*/ 39 h 39"/>
              <a:gd name="T10" fmla="*/ 20 w 34"/>
              <a:gd name="T11" fmla="*/ 33 h 39"/>
              <a:gd name="T12" fmla="*/ 2 w 34"/>
              <a:gd name="T13" fmla="*/ 6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4" h="39">
                <a:moveTo>
                  <a:pt x="2" y="6"/>
                </a:moveTo>
                <a:cubicBezTo>
                  <a:pt x="0" y="3"/>
                  <a:pt x="1" y="0"/>
                  <a:pt x="4" y="0"/>
                </a:cubicBezTo>
                <a:cubicBezTo>
                  <a:pt x="7" y="0"/>
                  <a:pt x="11" y="3"/>
                  <a:pt x="13" y="6"/>
                </a:cubicBezTo>
                <a:cubicBezTo>
                  <a:pt x="31" y="33"/>
                  <a:pt x="31" y="33"/>
                  <a:pt x="31" y="33"/>
                </a:cubicBezTo>
                <a:cubicBezTo>
                  <a:pt x="34" y="36"/>
                  <a:pt x="33" y="39"/>
                  <a:pt x="30" y="39"/>
                </a:cubicBezTo>
                <a:cubicBezTo>
                  <a:pt x="26" y="39"/>
                  <a:pt x="22" y="36"/>
                  <a:pt x="20" y="33"/>
                </a:cubicBezTo>
                <a:lnTo>
                  <a:pt x="2" y="6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Freeform 1460">
            <a:extLst>
              <a:ext uri="{FF2B5EF4-FFF2-40B4-BE49-F238E27FC236}">
                <a16:creationId xmlns:a16="http://schemas.microsoft.com/office/drawing/2014/main" id="{E7013CA8-66EE-49FA-BB4C-E1C5381616BA}"/>
              </a:ext>
            </a:extLst>
          </p:cNvPr>
          <p:cNvSpPr>
            <a:spLocks/>
          </p:cNvSpPr>
          <p:nvPr/>
        </p:nvSpPr>
        <p:spPr bwMode="auto">
          <a:xfrm>
            <a:off x="11560873" y="6464408"/>
            <a:ext cx="16279" cy="20036"/>
          </a:xfrm>
          <a:custGeom>
            <a:avLst/>
            <a:gdLst>
              <a:gd name="T0" fmla="*/ 2 w 33"/>
              <a:gd name="T1" fmla="*/ 6 h 38"/>
              <a:gd name="T2" fmla="*/ 4 w 33"/>
              <a:gd name="T3" fmla="*/ 0 h 38"/>
              <a:gd name="T4" fmla="*/ 13 w 33"/>
              <a:gd name="T5" fmla="*/ 6 h 38"/>
              <a:gd name="T6" fmla="*/ 31 w 33"/>
              <a:gd name="T7" fmla="*/ 32 h 38"/>
              <a:gd name="T8" fmla="*/ 29 w 33"/>
              <a:gd name="T9" fmla="*/ 38 h 38"/>
              <a:gd name="T10" fmla="*/ 20 w 33"/>
              <a:gd name="T11" fmla="*/ 32 h 38"/>
              <a:gd name="T12" fmla="*/ 2 w 33"/>
              <a:gd name="T13" fmla="*/ 6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3" h="38">
                <a:moveTo>
                  <a:pt x="2" y="6"/>
                </a:moveTo>
                <a:cubicBezTo>
                  <a:pt x="0" y="3"/>
                  <a:pt x="1" y="0"/>
                  <a:pt x="4" y="0"/>
                </a:cubicBezTo>
                <a:cubicBezTo>
                  <a:pt x="7" y="0"/>
                  <a:pt x="11" y="3"/>
                  <a:pt x="13" y="6"/>
                </a:cubicBezTo>
                <a:cubicBezTo>
                  <a:pt x="31" y="32"/>
                  <a:pt x="31" y="32"/>
                  <a:pt x="31" y="32"/>
                </a:cubicBezTo>
                <a:cubicBezTo>
                  <a:pt x="33" y="35"/>
                  <a:pt x="32" y="38"/>
                  <a:pt x="29" y="38"/>
                </a:cubicBezTo>
                <a:cubicBezTo>
                  <a:pt x="26" y="38"/>
                  <a:pt x="22" y="35"/>
                  <a:pt x="20" y="32"/>
                </a:cubicBezTo>
                <a:lnTo>
                  <a:pt x="2" y="6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Freeform 1461">
            <a:extLst>
              <a:ext uri="{FF2B5EF4-FFF2-40B4-BE49-F238E27FC236}">
                <a16:creationId xmlns:a16="http://schemas.microsoft.com/office/drawing/2014/main" id="{4612FD1B-1062-4536-BB14-75C50BD02009}"/>
              </a:ext>
            </a:extLst>
          </p:cNvPr>
          <p:cNvSpPr>
            <a:spLocks/>
          </p:cNvSpPr>
          <p:nvPr/>
        </p:nvSpPr>
        <p:spPr bwMode="auto">
          <a:xfrm>
            <a:off x="11613467" y="6484444"/>
            <a:ext cx="18784" cy="13775"/>
          </a:xfrm>
          <a:custGeom>
            <a:avLst/>
            <a:gdLst>
              <a:gd name="T0" fmla="*/ 9 w 38"/>
              <a:gd name="T1" fmla="*/ 3 h 27"/>
              <a:gd name="T2" fmla="*/ 1 w 38"/>
              <a:gd name="T3" fmla="*/ 3 h 27"/>
              <a:gd name="T4" fmla="*/ 6 w 38"/>
              <a:gd name="T5" fmla="*/ 11 h 27"/>
              <a:gd name="T6" fmla="*/ 30 w 38"/>
              <a:gd name="T7" fmla="*/ 25 h 27"/>
              <a:gd name="T8" fmla="*/ 38 w 38"/>
              <a:gd name="T9" fmla="*/ 25 h 27"/>
              <a:gd name="T10" fmla="*/ 32 w 38"/>
              <a:gd name="T11" fmla="*/ 17 h 27"/>
              <a:gd name="T12" fmla="*/ 9 w 38"/>
              <a:gd name="T13" fmla="*/ 3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" h="27">
                <a:moveTo>
                  <a:pt x="9" y="3"/>
                </a:moveTo>
                <a:cubicBezTo>
                  <a:pt x="5" y="0"/>
                  <a:pt x="1" y="0"/>
                  <a:pt x="1" y="3"/>
                </a:cubicBezTo>
                <a:cubicBezTo>
                  <a:pt x="0" y="5"/>
                  <a:pt x="2" y="8"/>
                  <a:pt x="6" y="11"/>
                </a:cubicBezTo>
                <a:cubicBezTo>
                  <a:pt x="30" y="25"/>
                  <a:pt x="30" y="25"/>
                  <a:pt x="30" y="25"/>
                </a:cubicBezTo>
                <a:cubicBezTo>
                  <a:pt x="33" y="27"/>
                  <a:pt x="37" y="27"/>
                  <a:pt x="38" y="25"/>
                </a:cubicBezTo>
                <a:cubicBezTo>
                  <a:pt x="38" y="23"/>
                  <a:pt x="36" y="19"/>
                  <a:pt x="32" y="17"/>
                </a:cubicBezTo>
                <a:lnTo>
                  <a:pt x="9" y="3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Freeform 1462">
            <a:extLst>
              <a:ext uri="{FF2B5EF4-FFF2-40B4-BE49-F238E27FC236}">
                <a16:creationId xmlns:a16="http://schemas.microsoft.com/office/drawing/2014/main" id="{9DD0DCB8-A824-43DB-A66C-CDB627D5E3F6}"/>
              </a:ext>
            </a:extLst>
          </p:cNvPr>
          <p:cNvSpPr>
            <a:spLocks/>
          </p:cNvSpPr>
          <p:nvPr/>
        </p:nvSpPr>
        <p:spPr bwMode="auto">
          <a:xfrm>
            <a:off x="11629747" y="6468164"/>
            <a:ext cx="15027" cy="16279"/>
          </a:xfrm>
          <a:custGeom>
            <a:avLst/>
            <a:gdLst>
              <a:gd name="T0" fmla="*/ 13 w 29"/>
              <a:gd name="T1" fmla="*/ 6 h 33"/>
              <a:gd name="T2" fmla="*/ 3 w 29"/>
              <a:gd name="T3" fmla="*/ 0 h 33"/>
              <a:gd name="T4" fmla="*/ 2 w 29"/>
              <a:gd name="T5" fmla="*/ 6 h 33"/>
              <a:gd name="T6" fmla="*/ 16 w 29"/>
              <a:gd name="T7" fmla="*/ 27 h 33"/>
              <a:gd name="T8" fmla="*/ 25 w 29"/>
              <a:gd name="T9" fmla="*/ 33 h 33"/>
              <a:gd name="T10" fmla="*/ 27 w 29"/>
              <a:gd name="T11" fmla="*/ 27 h 33"/>
              <a:gd name="T12" fmla="*/ 13 w 29"/>
              <a:gd name="T13" fmla="*/ 6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" h="33">
                <a:moveTo>
                  <a:pt x="13" y="6"/>
                </a:moveTo>
                <a:cubicBezTo>
                  <a:pt x="11" y="3"/>
                  <a:pt x="7" y="0"/>
                  <a:pt x="3" y="0"/>
                </a:cubicBezTo>
                <a:cubicBezTo>
                  <a:pt x="0" y="0"/>
                  <a:pt x="0" y="3"/>
                  <a:pt x="2" y="6"/>
                </a:cubicBezTo>
                <a:cubicBezTo>
                  <a:pt x="16" y="27"/>
                  <a:pt x="16" y="27"/>
                  <a:pt x="16" y="27"/>
                </a:cubicBezTo>
                <a:cubicBezTo>
                  <a:pt x="18" y="30"/>
                  <a:pt x="22" y="33"/>
                  <a:pt x="25" y="33"/>
                </a:cubicBezTo>
                <a:cubicBezTo>
                  <a:pt x="28" y="33"/>
                  <a:pt x="29" y="30"/>
                  <a:pt x="27" y="27"/>
                </a:cubicBezTo>
                <a:lnTo>
                  <a:pt x="13" y="6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Freeform 1463">
            <a:extLst>
              <a:ext uri="{FF2B5EF4-FFF2-40B4-BE49-F238E27FC236}">
                <a16:creationId xmlns:a16="http://schemas.microsoft.com/office/drawing/2014/main" id="{A81AFC9A-D0FC-41BE-A700-37BCDBB94925}"/>
              </a:ext>
            </a:extLst>
          </p:cNvPr>
          <p:cNvSpPr>
            <a:spLocks/>
          </p:cNvSpPr>
          <p:nvPr/>
        </p:nvSpPr>
        <p:spPr bwMode="auto">
          <a:xfrm>
            <a:off x="11615972" y="6478182"/>
            <a:ext cx="37567" cy="20036"/>
          </a:xfrm>
          <a:custGeom>
            <a:avLst/>
            <a:gdLst>
              <a:gd name="T0" fmla="*/ 72 w 74"/>
              <a:gd name="T1" fmla="*/ 32 h 39"/>
              <a:gd name="T2" fmla="*/ 70 w 74"/>
              <a:gd name="T3" fmla="*/ 39 h 39"/>
              <a:gd name="T4" fmla="*/ 31 w 74"/>
              <a:gd name="T5" fmla="*/ 39 h 39"/>
              <a:gd name="T6" fmla="*/ 19 w 74"/>
              <a:gd name="T7" fmla="*/ 32 h 39"/>
              <a:gd name="T8" fmla="*/ 3 w 74"/>
              <a:gd name="T9" fmla="*/ 7 h 39"/>
              <a:gd name="T10" fmla="*/ 5 w 74"/>
              <a:gd name="T11" fmla="*/ 0 h 39"/>
              <a:gd name="T12" fmla="*/ 44 w 74"/>
              <a:gd name="T13" fmla="*/ 0 h 39"/>
              <a:gd name="T14" fmla="*/ 55 w 74"/>
              <a:gd name="T15" fmla="*/ 7 h 39"/>
              <a:gd name="T16" fmla="*/ 72 w 74"/>
              <a:gd name="T17" fmla="*/ 32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4" h="39">
                <a:moveTo>
                  <a:pt x="72" y="32"/>
                </a:moveTo>
                <a:cubicBezTo>
                  <a:pt x="74" y="36"/>
                  <a:pt x="73" y="39"/>
                  <a:pt x="70" y="39"/>
                </a:cubicBezTo>
                <a:cubicBezTo>
                  <a:pt x="31" y="39"/>
                  <a:pt x="31" y="39"/>
                  <a:pt x="31" y="39"/>
                </a:cubicBezTo>
                <a:cubicBezTo>
                  <a:pt x="27" y="39"/>
                  <a:pt x="22" y="36"/>
                  <a:pt x="19" y="32"/>
                </a:cubicBezTo>
                <a:cubicBezTo>
                  <a:pt x="3" y="7"/>
                  <a:pt x="3" y="7"/>
                  <a:pt x="3" y="7"/>
                </a:cubicBezTo>
                <a:cubicBezTo>
                  <a:pt x="0" y="3"/>
                  <a:pt x="1" y="0"/>
                  <a:pt x="5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8" y="0"/>
                  <a:pt x="53" y="3"/>
                  <a:pt x="55" y="7"/>
                </a:cubicBezTo>
                <a:lnTo>
                  <a:pt x="72" y="32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Freeform 1464">
            <a:extLst>
              <a:ext uri="{FF2B5EF4-FFF2-40B4-BE49-F238E27FC236}">
                <a16:creationId xmlns:a16="http://schemas.microsoft.com/office/drawing/2014/main" id="{EED2095B-8526-4200-B41D-905E3AA2E941}"/>
              </a:ext>
            </a:extLst>
          </p:cNvPr>
          <p:cNvSpPr>
            <a:spLocks/>
          </p:cNvSpPr>
          <p:nvPr/>
        </p:nvSpPr>
        <p:spPr bwMode="auto">
          <a:xfrm>
            <a:off x="11612215" y="6461904"/>
            <a:ext cx="18784" cy="22540"/>
          </a:xfrm>
          <a:custGeom>
            <a:avLst/>
            <a:gdLst>
              <a:gd name="T0" fmla="*/ 14 w 37"/>
              <a:gd name="T1" fmla="*/ 6 h 43"/>
              <a:gd name="T2" fmla="*/ 4 w 37"/>
              <a:gd name="T3" fmla="*/ 0 h 43"/>
              <a:gd name="T4" fmla="*/ 2 w 37"/>
              <a:gd name="T5" fmla="*/ 6 h 43"/>
              <a:gd name="T6" fmla="*/ 23 w 37"/>
              <a:gd name="T7" fmla="*/ 37 h 43"/>
              <a:gd name="T8" fmla="*/ 33 w 37"/>
              <a:gd name="T9" fmla="*/ 43 h 43"/>
              <a:gd name="T10" fmla="*/ 35 w 37"/>
              <a:gd name="T11" fmla="*/ 37 h 43"/>
              <a:gd name="T12" fmla="*/ 14 w 37"/>
              <a:gd name="T13" fmla="*/ 6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" h="43">
                <a:moveTo>
                  <a:pt x="14" y="6"/>
                </a:moveTo>
                <a:cubicBezTo>
                  <a:pt x="12" y="3"/>
                  <a:pt x="7" y="0"/>
                  <a:pt x="4" y="0"/>
                </a:cubicBezTo>
                <a:cubicBezTo>
                  <a:pt x="1" y="0"/>
                  <a:pt x="0" y="3"/>
                  <a:pt x="2" y="6"/>
                </a:cubicBezTo>
                <a:cubicBezTo>
                  <a:pt x="23" y="37"/>
                  <a:pt x="23" y="37"/>
                  <a:pt x="23" y="37"/>
                </a:cubicBezTo>
                <a:cubicBezTo>
                  <a:pt x="25" y="40"/>
                  <a:pt x="30" y="43"/>
                  <a:pt x="33" y="43"/>
                </a:cubicBezTo>
                <a:cubicBezTo>
                  <a:pt x="36" y="43"/>
                  <a:pt x="37" y="40"/>
                  <a:pt x="35" y="37"/>
                </a:cubicBezTo>
                <a:lnTo>
                  <a:pt x="14" y="6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Freeform 1465">
            <a:extLst>
              <a:ext uri="{FF2B5EF4-FFF2-40B4-BE49-F238E27FC236}">
                <a16:creationId xmlns:a16="http://schemas.microsoft.com/office/drawing/2014/main" id="{D81B3F0E-3F30-4439-9303-97280E22F2E8}"/>
              </a:ext>
            </a:extLst>
          </p:cNvPr>
          <p:cNvSpPr>
            <a:spLocks/>
          </p:cNvSpPr>
          <p:nvPr/>
        </p:nvSpPr>
        <p:spPr bwMode="auto">
          <a:xfrm>
            <a:off x="11605954" y="6464408"/>
            <a:ext cx="17531" cy="20036"/>
          </a:xfrm>
          <a:custGeom>
            <a:avLst/>
            <a:gdLst>
              <a:gd name="T0" fmla="*/ 13 w 34"/>
              <a:gd name="T1" fmla="*/ 6 h 39"/>
              <a:gd name="T2" fmla="*/ 4 w 34"/>
              <a:gd name="T3" fmla="*/ 0 h 39"/>
              <a:gd name="T4" fmla="*/ 2 w 34"/>
              <a:gd name="T5" fmla="*/ 6 h 39"/>
              <a:gd name="T6" fmla="*/ 21 w 34"/>
              <a:gd name="T7" fmla="*/ 33 h 39"/>
              <a:gd name="T8" fmla="*/ 30 w 34"/>
              <a:gd name="T9" fmla="*/ 39 h 39"/>
              <a:gd name="T10" fmla="*/ 32 w 34"/>
              <a:gd name="T11" fmla="*/ 33 h 39"/>
              <a:gd name="T12" fmla="*/ 13 w 34"/>
              <a:gd name="T13" fmla="*/ 6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4" h="39">
                <a:moveTo>
                  <a:pt x="13" y="6"/>
                </a:moveTo>
                <a:cubicBezTo>
                  <a:pt x="11" y="3"/>
                  <a:pt x="7" y="0"/>
                  <a:pt x="4" y="0"/>
                </a:cubicBezTo>
                <a:cubicBezTo>
                  <a:pt x="1" y="0"/>
                  <a:pt x="0" y="3"/>
                  <a:pt x="2" y="6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6"/>
                  <a:pt x="27" y="39"/>
                  <a:pt x="30" y="39"/>
                </a:cubicBezTo>
                <a:cubicBezTo>
                  <a:pt x="33" y="39"/>
                  <a:pt x="34" y="36"/>
                  <a:pt x="32" y="33"/>
                </a:cubicBezTo>
                <a:lnTo>
                  <a:pt x="13" y="6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Freeform 1466">
            <a:extLst>
              <a:ext uri="{FF2B5EF4-FFF2-40B4-BE49-F238E27FC236}">
                <a16:creationId xmlns:a16="http://schemas.microsoft.com/office/drawing/2014/main" id="{909AF0B0-4DB3-42E0-AFB4-D4A70EEEA41E}"/>
              </a:ext>
            </a:extLst>
          </p:cNvPr>
          <p:cNvSpPr>
            <a:spLocks/>
          </p:cNvSpPr>
          <p:nvPr/>
        </p:nvSpPr>
        <p:spPr bwMode="auto">
          <a:xfrm>
            <a:off x="11620981" y="6464408"/>
            <a:ext cx="17531" cy="20036"/>
          </a:xfrm>
          <a:custGeom>
            <a:avLst/>
            <a:gdLst>
              <a:gd name="T0" fmla="*/ 13 w 32"/>
              <a:gd name="T1" fmla="*/ 6 h 38"/>
              <a:gd name="T2" fmla="*/ 3 w 32"/>
              <a:gd name="T3" fmla="*/ 0 h 38"/>
              <a:gd name="T4" fmla="*/ 2 w 32"/>
              <a:gd name="T5" fmla="*/ 6 h 38"/>
              <a:gd name="T6" fmla="*/ 19 w 32"/>
              <a:gd name="T7" fmla="*/ 32 h 38"/>
              <a:gd name="T8" fmla="*/ 29 w 32"/>
              <a:gd name="T9" fmla="*/ 38 h 38"/>
              <a:gd name="T10" fmla="*/ 30 w 32"/>
              <a:gd name="T11" fmla="*/ 32 h 38"/>
              <a:gd name="T12" fmla="*/ 13 w 32"/>
              <a:gd name="T13" fmla="*/ 6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2" h="38">
                <a:moveTo>
                  <a:pt x="13" y="6"/>
                </a:moveTo>
                <a:cubicBezTo>
                  <a:pt x="11" y="3"/>
                  <a:pt x="7" y="0"/>
                  <a:pt x="3" y="0"/>
                </a:cubicBezTo>
                <a:cubicBezTo>
                  <a:pt x="0" y="0"/>
                  <a:pt x="0" y="3"/>
                  <a:pt x="2" y="6"/>
                </a:cubicBezTo>
                <a:cubicBezTo>
                  <a:pt x="19" y="32"/>
                  <a:pt x="19" y="32"/>
                  <a:pt x="19" y="32"/>
                </a:cubicBezTo>
                <a:cubicBezTo>
                  <a:pt x="21" y="35"/>
                  <a:pt x="25" y="38"/>
                  <a:pt x="29" y="38"/>
                </a:cubicBezTo>
                <a:cubicBezTo>
                  <a:pt x="32" y="38"/>
                  <a:pt x="32" y="35"/>
                  <a:pt x="30" y="32"/>
                </a:cubicBezTo>
                <a:lnTo>
                  <a:pt x="13" y="6"/>
                </a:lnTo>
                <a:close/>
              </a:path>
            </a:pathLst>
          </a:custGeom>
          <a:solidFill>
            <a:srgbClr val="C6E7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Rectangle 1467">
            <a:extLst>
              <a:ext uri="{FF2B5EF4-FFF2-40B4-BE49-F238E27FC236}">
                <a16:creationId xmlns:a16="http://schemas.microsoft.com/office/drawing/2014/main" id="{87018326-AF67-4747-B79E-1DF902845D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33146" y="6629703"/>
            <a:ext cx="46333" cy="52594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1468">
            <a:extLst>
              <a:ext uri="{FF2B5EF4-FFF2-40B4-BE49-F238E27FC236}">
                <a16:creationId xmlns:a16="http://schemas.microsoft.com/office/drawing/2014/main" id="{387E8BBB-80C5-4E02-991C-88C212D87B7B}"/>
              </a:ext>
            </a:extLst>
          </p:cNvPr>
          <p:cNvSpPr>
            <a:spLocks/>
          </p:cNvSpPr>
          <p:nvPr/>
        </p:nvSpPr>
        <p:spPr bwMode="auto">
          <a:xfrm>
            <a:off x="11479479" y="6607163"/>
            <a:ext cx="159034" cy="45080"/>
          </a:xfrm>
          <a:custGeom>
            <a:avLst/>
            <a:gdLst>
              <a:gd name="T0" fmla="*/ 36 w 127"/>
              <a:gd name="T1" fmla="*/ 36 h 36"/>
              <a:gd name="T2" fmla="*/ 0 w 127"/>
              <a:gd name="T3" fmla="*/ 36 h 36"/>
              <a:gd name="T4" fmla="*/ 0 w 127"/>
              <a:gd name="T5" fmla="*/ 35 h 36"/>
              <a:gd name="T6" fmla="*/ 36 w 127"/>
              <a:gd name="T7" fmla="*/ 35 h 36"/>
              <a:gd name="T8" fmla="*/ 36 w 127"/>
              <a:gd name="T9" fmla="*/ 0 h 36"/>
              <a:gd name="T10" fmla="*/ 127 w 127"/>
              <a:gd name="T11" fmla="*/ 0 h 36"/>
              <a:gd name="T12" fmla="*/ 127 w 127"/>
              <a:gd name="T13" fmla="*/ 1 h 36"/>
              <a:gd name="T14" fmla="*/ 36 w 127"/>
              <a:gd name="T15" fmla="*/ 1 h 36"/>
              <a:gd name="T16" fmla="*/ 36 w 127"/>
              <a:gd name="T17" fmla="*/ 36 h 36"/>
              <a:gd name="T18" fmla="*/ 36 w 127"/>
              <a:gd name="T19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" h="36">
                <a:moveTo>
                  <a:pt x="36" y="36"/>
                </a:moveTo>
                <a:lnTo>
                  <a:pt x="0" y="36"/>
                </a:lnTo>
                <a:lnTo>
                  <a:pt x="0" y="35"/>
                </a:lnTo>
                <a:lnTo>
                  <a:pt x="36" y="35"/>
                </a:lnTo>
                <a:lnTo>
                  <a:pt x="36" y="0"/>
                </a:lnTo>
                <a:lnTo>
                  <a:pt x="127" y="0"/>
                </a:lnTo>
                <a:lnTo>
                  <a:pt x="127" y="1"/>
                </a:lnTo>
                <a:lnTo>
                  <a:pt x="36" y="1"/>
                </a:lnTo>
                <a:lnTo>
                  <a:pt x="36" y="36"/>
                </a:lnTo>
                <a:lnTo>
                  <a:pt x="36" y="36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1469">
            <a:extLst>
              <a:ext uri="{FF2B5EF4-FFF2-40B4-BE49-F238E27FC236}">
                <a16:creationId xmlns:a16="http://schemas.microsoft.com/office/drawing/2014/main" id="{2991CB6F-00AB-4ADB-AD2B-85427EB75625}"/>
              </a:ext>
            </a:extLst>
          </p:cNvPr>
          <p:cNvSpPr>
            <a:spLocks/>
          </p:cNvSpPr>
          <p:nvPr/>
        </p:nvSpPr>
        <p:spPr bwMode="auto">
          <a:xfrm>
            <a:off x="11479479" y="6612172"/>
            <a:ext cx="159034" cy="43829"/>
          </a:xfrm>
          <a:custGeom>
            <a:avLst/>
            <a:gdLst>
              <a:gd name="T0" fmla="*/ 39 w 127"/>
              <a:gd name="T1" fmla="*/ 35 h 35"/>
              <a:gd name="T2" fmla="*/ 0 w 127"/>
              <a:gd name="T3" fmla="*/ 35 h 35"/>
              <a:gd name="T4" fmla="*/ 0 w 127"/>
              <a:gd name="T5" fmla="*/ 34 h 35"/>
              <a:gd name="T6" fmla="*/ 39 w 127"/>
              <a:gd name="T7" fmla="*/ 34 h 35"/>
              <a:gd name="T8" fmla="*/ 39 w 127"/>
              <a:gd name="T9" fmla="*/ 0 h 35"/>
              <a:gd name="T10" fmla="*/ 127 w 127"/>
              <a:gd name="T11" fmla="*/ 0 h 35"/>
              <a:gd name="T12" fmla="*/ 127 w 127"/>
              <a:gd name="T13" fmla="*/ 0 h 35"/>
              <a:gd name="T14" fmla="*/ 39 w 127"/>
              <a:gd name="T15" fmla="*/ 0 h 35"/>
              <a:gd name="T16" fmla="*/ 39 w 127"/>
              <a:gd name="T17" fmla="*/ 35 h 35"/>
              <a:gd name="T18" fmla="*/ 39 w 127"/>
              <a:gd name="T19" fmla="*/ 35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" h="35">
                <a:moveTo>
                  <a:pt x="39" y="35"/>
                </a:moveTo>
                <a:lnTo>
                  <a:pt x="0" y="35"/>
                </a:lnTo>
                <a:lnTo>
                  <a:pt x="0" y="34"/>
                </a:lnTo>
                <a:lnTo>
                  <a:pt x="39" y="34"/>
                </a:lnTo>
                <a:lnTo>
                  <a:pt x="39" y="0"/>
                </a:lnTo>
                <a:lnTo>
                  <a:pt x="127" y="0"/>
                </a:lnTo>
                <a:lnTo>
                  <a:pt x="127" y="0"/>
                </a:lnTo>
                <a:lnTo>
                  <a:pt x="39" y="0"/>
                </a:lnTo>
                <a:lnTo>
                  <a:pt x="39" y="35"/>
                </a:lnTo>
                <a:lnTo>
                  <a:pt x="39" y="35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Freeform 1470">
            <a:extLst>
              <a:ext uri="{FF2B5EF4-FFF2-40B4-BE49-F238E27FC236}">
                <a16:creationId xmlns:a16="http://schemas.microsoft.com/office/drawing/2014/main" id="{E27D983A-ECBD-464C-99F5-6DE8D5842EC9}"/>
              </a:ext>
            </a:extLst>
          </p:cNvPr>
          <p:cNvSpPr>
            <a:spLocks/>
          </p:cNvSpPr>
          <p:nvPr/>
        </p:nvSpPr>
        <p:spPr bwMode="auto">
          <a:xfrm>
            <a:off x="11479479" y="6615928"/>
            <a:ext cx="159034" cy="43829"/>
          </a:xfrm>
          <a:custGeom>
            <a:avLst/>
            <a:gdLst>
              <a:gd name="T0" fmla="*/ 43 w 127"/>
              <a:gd name="T1" fmla="*/ 35 h 35"/>
              <a:gd name="T2" fmla="*/ 0 w 127"/>
              <a:gd name="T3" fmla="*/ 35 h 35"/>
              <a:gd name="T4" fmla="*/ 0 w 127"/>
              <a:gd name="T5" fmla="*/ 34 h 35"/>
              <a:gd name="T6" fmla="*/ 42 w 127"/>
              <a:gd name="T7" fmla="*/ 34 h 35"/>
              <a:gd name="T8" fmla="*/ 42 w 127"/>
              <a:gd name="T9" fmla="*/ 0 h 35"/>
              <a:gd name="T10" fmla="*/ 127 w 127"/>
              <a:gd name="T11" fmla="*/ 0 h 35"/>
              <a:gd name="T12" fmla="*/ 127 w 127"/>
              <a:gd name="T13" fmla="*/ 0 h 35"/>
              <a:gd name="T14" fmla="*/ 43 w 127"/>
              <a:gd name="T15" fmla="*/ 0 h 35"/>
              <a:gd name="T16" fmla="*/ 43 w 127"/>
              <a:gd name="T17" fmla="*/ 35 h 35"/>
              <a:gd name="T18" fmla="*/ 43 w 127"/>
              <a:gd name="T19" fmla="*/ 35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" h="35">
                <a:moveTo>
                  <a:pt x="43" y="35"/>
                </a:moveTo>
                <a:lnTo>
                  <a:pt x="0" y="35"/>
                </a:lnTo>
                <a:lnTo>
                  <a:pt x="0" y="34"/>
                </a:lnTo>
                <a:lnTo>
                  <a:pt x="42" y="34"/>
                </a:lnTo>
                <a:lnTo>
                  <a:pt x="42" y="0"/>
                </a:lnTo>
                <a:lnTo>
                  <a:pt x="127" y="0"/>
                </a:lnTo>
                <a:lnTo>
                  <a:pt x="127" y="0"/>
                </a:lnTo>
                <a:lnTo>
                  <a:pt x="43" y="0"/>
                </a:lnTo>
                <a:lnTo>
                  <a:pt x="43" y="35"/>
                </a:lnTo>
                <a:lnTo>
                  <a:pt x="43" y="35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1471">
            <a:extLst>
              <a:ext uri="{FF2B5EF4-FFF2-40B4-BE49-F238E27FC236}">
                <a16:creationId xmlns:a16="http://schemas.microsoft.com/office/drawing/2014/main" id="{D8848844-381C-4F30-BF41-7291136F17A6}"/>
              </a:ext>
            </a:extLst>
          </p:cNvPr>
          <p:cNvSpPr>
            <a:spLocks/>
          </p:cNvSpPr>
          <p:nvPr/>
        </p:nvSpPr>
        <p:spPr bwMode="auto">
          <a:xfrm>
            <a:off x="11479479" y="6619685"/>
            <a:ext cx="159034" cy="43829"/>
          </a:xfrm>
          <a:custGeom>
            <a:avLst/>
            <a:gdLst>
              <a:gd name="T0" fmla="*/ 46 w 127"/>
              <a:gd name="T1" fmla="*/ 35 h 35"/>
              <a:gd name="T2" fmla="*/ 0 w 127"/>
              <a:gd name="T3" fmla="*/ 35 h 35"/>
              <a:gd name="T4" fmla="*/ 0 w 127"/>
              <a:gd name="T5" fmla="*/ 34 h 35"/>
              <a:gd name="T6" fmla="*/ 45 w 127"/>
              <a:gd name="T7" fmla="*/ 34 h 35"/>
              <a:gd name="T8" fmla="*/ 45 w 127"/>
              <a:gd name="T9" fmla="*/ 0 h 35"/>
              <a:gd name="T10" fmla="*/ 127 w 127"/>
              <a:gd name="T11" fmla="*/ 0 h 35"/>
              <a:gd name="T12" fmla="*/ 127 w 127"/>
              <a:gd name="T13" fmla="*/ 1 h 35"/>
              <a:gd name="T14" fmla="*/ 46 w 127"/>
              <a:gd name="T15" fmla="*/ 1 h 35"/>
              <a:gd name="T16" fmla="*/ 46 w 127"/>
              <a:gd name="T17" fmla="*/ 35 h 35"/>
              <a:gd name="T18" fmla="*/ 46 w 127"/>
              <a:gd name="T19" fmla="*/ 35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" h="35">
                <a:moveTo>
                  <a:pt x="46" y="35"/>
                </a:moveTo>
                <a:lnTo>
                  <a:pt x="0" y="35"/>
                </a:lnTo>
                <a:lnTo>
                  <a:pt x="0" y="34"/>
                </a:lnTo>
                <a:lnTo>
                  <a:pt x="45" y="34"/>
                </a:lnTo>
                <a:lnTo>
                  <a:pt x="45" y="0"/>
                </a:lnTo>
                <a:lnTo>
                  <a:pt x="127" y="0"/>
                </a:lnTo>
                <a:lnTo>
                  <a:pt x="127" y="1"/>
                </a:lnTo>
                <a:lnTo>
                  <a:pt x="46" y="1"/>
                </a:lnTo>
                <a:lnTo>
                  <a:pt x="46" y="35"/>
                </a:lnTo>
                <a:lnTo>
                  <a:pt x="46" y="35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Freeform 1472">
            <a:extLst>
              <a:ext uri="{FF2B5EF4-FFF2-40B4-BE49-F238E27FC236}">
                <a16:creationId xmlns:a16="http://schemas.microsoft.com/office/drawing/2014/main" id="{DCF3B199-37F1-4914-B83A-FCF4023E2FA6}"/>
              </a:ext>
            </a:extLst>
          </p:cNvPr>
          <p:cNvSpPr>
            <a:spLocks/>
          </p:cNvSpPr>
          <p:nvPr/>
        </p:nvSpPr>
        <p:spPr bwMode="auto">
          <a:xfrm>
            <a:off x="11479479" y="6623441"/>
            <a:ext cx="159034" cy="43829"/>
          </a:xfrm>
          <a:custGeom>
            <a:avLst/>
            <a:gdLst>
              <a:gd name="T0" fmla="*/ 49 w 127"/>
              <a:gd name="T1" fmla="*/ 35 h 35"/>
              <a:gd name="T2" fmla="*/ 0 w 127"/>
              <a:gd name="T3" fmla="*/ 35 h 35"/>
              <a:gd name="T4" fmla="*/ 0 w 127"/>
              <a:gd name="T5" fmla="*/ 35 h 35"/>
              <a:gd name="T6" fmla="*/ 49 w 127"/>
              <a:gd name="T7" fmla="*/ 35 h 35"/>
              <a:gd name="T8" fmla="*/ 49 w 127"/>
              <a:gd name="T9" fmla="*/ 0 h 35"/>
              <a:gd name="T10" fmla="*/ 127 w 127"/>
              <a:gd name="T11" fmla="*/ 0 h 35"/>
              <a:gd name="T12" fmla="*/ 127 w 127"/>
              <a:gd name="T13" fmla="*/ 1 h 35"/>
              <a:gd name="T14" fmla="*/ 49 w 127"/>
              <a:gd name="T15" fmla="*/ 1 h 35"/>
              <a:gd name="T16" fmla="*/ 49 w 127"/>
              <a:gd name="T17" fmla="*/ 35 h 35"/>
              <a:gd name="T18" fmla="*/ 49 w 127"/>
              <a:gd name="T19" fmla="*/ 35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" h="35">
                <a:moveTo>
                  <a:pt x="49" y="35"/>
                </a:moveTo>
                <a:lnTo>
                  <a:pt x="0" y="35"/>
                </a:lnTo>
                <a:lnTo>
                  <a:pt x="0" y="35"/>
                </a:lnTo>
                <a:lnTo>
                  <a:pt x="49" y="35"/>
                </a:lnTo>
                <a:lnTo>
                  <a:pt x="49" y="0"/>
                </a:lnTo>
                <a:lnTo>
                  <a:pt x="127" y="0"/>
                </a:lnTo>
                <a:lnTo>
                  <a:pt x="127" y="1"/>
                </a:lnTo>
                <a:lnTo>
                  <a:pt x="49" y="1"/>
                </a:lnTo>
                <a:lnTo>
                  <a:pt x="49" y="35"/>
                </a:lnTo>
                <a:lnTo>
                  <a:pt x="49" y="35"/>
                </a:ln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Rectangle 1473">
            <a:extLst>
              <a:ext uri="{FF2B5EF4-FFF2-40B4-BE49-F238E27FC236}">
                <a16:creationId xmlns:a16="http://schemas.microsoft.com/office/drawing/2014/main" id="{E895E4EC-A34F-488F-A577-79FAF4500D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36007" y="6577109"/>
            <a:ext cx="45080" cy="1051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Oval 1474">
            <a:extLst>
              <a:ext uri="{FF2B5EF4-FFF2-40B4-BE49-F238E27FC236}">
                <a16:creationId xmlns:a16="http://schemas.microsoft.com/office/drawing/2014/main" id="{F58A89E5-E477-4C16-9238-755FDC5B73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09711" y="6528272"/>
            <a:ext cx="10018" cy="1001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Oval 1475">
            <a:extLst>
              <a:ext uri="{FF2B5EF4-FFF2-40B4-BE49-F238E27FC236}">
                <a16:creationId xmlns:a16="http://schemas.microsoft.com/office/drawing/2014/main" id="{1C3F282E-6085-459D-9861-34CC287AB5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93432" y="6528272"/>
            <a:ext cx="11270" cy="1001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Oval 1476">
            <a:extLst>
              <a:ext uri="{FF2B5EF4-FFF2-40B4-BE49-F238E27FC236}">
                <a16:creationId xmlns:a16="http://schemas.microsoft.com/office/drawing/2014/main" id="{15D2481F-9459-458D-93D9-E572466A84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77153" y="6528272"/>
            <a:ext cx="11270" cy="1001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Oval 1477">
            <a:extLst>
              <a:ext uri="{FF2B5EF4-FFF2-40B4-BE49-F238E27FC236}">
                <a16:creationId xmlns:a16="http://schemas.microsoft.com/office/drawing/2014/main" id="{3C400E48-2DA0-4A21-BCB1-F6748176FE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60873" y="6528272"/>
            <a:ext cx="11270" cy="1001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Oval 1478">
            <a:extLst>
              <a:ext uri="{FF2B5EF4-FFF2-40B4-BE49-F238E27FC236}">
                <a16:creationId xmlns:a16="http://schemas.microsoft.com/office/drawing/2014/main" id="{2A7563BB-B307-4EDF-81C8-28DB20E8B8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44595" y="6528272"/>
            <a:ext cx="11270" cy="1001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" name="Freeform 1479">
            <a:extLst>
              <a:ext uri="{FF2B5EF4-FFF2-40B4-BE49-F238E27FC236}">
                <a16:creationId xmlns:a16="http://schemas.microsoft.com/office/drawing/2014/main" id="{08FDC6A1-83E7-4A62-A821-D56FD852FFA0}"/>
              </a:ext>
            </a:extLst>
          </p:cNvPr>
          <p:cNvSpPr>
            <a:spLocks/>
          </p:cNvSpPr>
          <p:nvPr/>
        </p:nvSpPr>
        <p:spPr bwMode="auto">
          <a:xfrm>
            <a:off x="11052467" y="6375499"/>
            <a:ext cx="184079" cy="325581"/>
          </a:xfrm>
          <a:custGeom>
            <a:avLst/>
            <a:gdLst>
              <a:gd name="T0" fmla="*/ 147 w 147"/>
              <a:gd name="T1" fmla="*/ 115 h 260"/>
              <a:gd name="T2" fmla="*/ 69 w 147"/>
              <a:gd name="T3" fmla="*/ 0 h 260"/>
              <a:gd name="T4" fmla="*/ 0 w 147"/>
              <a:gd name="T5" fmla="*/ 0 h 260"/>
              <a:gd name="T6" fmla="*/ 0 w 147"/>
              <a:gd name="T7" fmla="*/ 260 h 260"/>
              <a:gd name="T8" fmla="*/ 147 w 147"/>
              <a:gd name="T9" fmla="*/ 260 h 260"/>
              <a:gd name="T10" fmla="*/ 147 w 147"/>
              <a:gd name="T11" fmla="*/ 115 h 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7" h="260">
                <a:moveTo>
                  <a:pt x="147" y="115"/>
                </a:moveTo>
                <a:lnTo>
                  <a:pt x="69" y="0"/>
                </a:lnTo>
                <a:lnTo>
                  <a:pt x="0" y="0"/>
                </a:lnTo>
                <a:lnTo>
                  <a:pt x="0" y="260"/>
                </a:lnTo>
                <a:lnTo>
                  <a:pt x="147" y="260"/>
                </a:lnTo>
                <a:lnTo>
                  <a:pt x="147" y="115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1480">
            <a:extLst>
              <a:ext uri="{FF2B5EF4-FFF2-40B4-BE49-F238E27FC236}">
                <a16:creationId xmlns:a16="http://schemas.microsoft.com/office/drawing/2014/main" id="{79BA3B8D-2919-4C7C-AAAF-00B8CC997F76}"/>
              </a:ext>
            </a:extLst>
          </p:cNvPr>
          <p:cNvSpPr>
            <a:spLocks/>
          </p:cNvSpPr>
          <p:nvPr/>
        </p:nvSpPr>
        <p:spPr bwMode="auto">
          <a:xfrm>
            <a:off x="11673574" y="6331671"/>
            <a:ext cx="23793" cy="25045"/>
          </a:xfrm>
          <a:custGeom>
            <a:avLst/>
            <a:gdLst>
              <a:gd name="T0" fmla="*/ 16 w 46"/>
              <a:gd name="T1" fmla="*/ 45 h 47"/>
              <a:gd name="T2" fmla="*/ 23 w 46"/>
              <a:gd name="T3" fmla="*/ 45 h 47"/>
              <a:gd name="T4" fmla="*/ 44 w 46"/>
              <a:gd name="T5" fmla="*/ 23 h 47"/>
              <a:gd name="T6" fmla="*/ 44 w 46"/>
              <a:gd name="T7" fmla="*/ 16 h 47"/>
              <a:gd name="T8" fmla="*/ 30 w 46"/>
              <a:gd name="T9" fmla="*/ 2 h 47"/>
              <a:gd name="T10" fmla="*/ 23 w 46"/>
              <a:gd name="T11" fmla="*/ 2 h 47"/>
              <a:gd name="T12" fmla="*/ 2 w 46"/>
              <a:gd name="T13" fmla="*/ 24 h 47"/>
              <a:gd name="T14" fmla="*/ 2 w 46"/>
              <a:gd name="T15" fmla="*/ 31 h 47"/>
              <a:gd name="T16" fmla="*/ 16 w 46"/>
              <a:gd name="T17" fmla="*/ 45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6" h="47">
                <a:moveTo>
                  <a:pt x="16" y="45"/>
                </a:moveTo>
                <a:cubicBezTo>
                  <a:pt x="18" y="47"/>
                  <a:pt x="21" y="47"/>
                  <a:pt x="23" y="45"/>
                </a:cubicBezTo>
                <a:cubicBezTo>
                  <a:pt x="44" y="23"/>
                  <a:pt x="44" y="23"/>
                  <a:pt x="44" y="23"/>
                </a:cubicBezTo>
                <a:cubicBezTo>
                  <a:pt x="46" y="21"/>
                  <a:pt x="46" y="18"/>
                  <a:pt x="44" y="16"/>
                </a:cubicBezTo>
                <a:cubicBezTo>
                  <a:pt x="30" y="2"/>
                  <a:pt x="30" y="2"/>
                  <a:pt x="30" y="2"/>
                </a:cubicBezTo>
                <a:cubicBezTo>
                  <a:pt x="28" y="0"/>
                  <a:pt x="25" y="0"/>
                  <a:pt x="23" y="2"/>
                </a:cubicBezTo>
                <a:cubicBezTo>
                  <a:pt x="2" y="24"/>
                  <a:pt x="2" y="24"/>
                  <a:pt x="2" y="24"/>
                </a:cubicBezTo>
                <a:cubicBezTo>
                  <a:pt x="0" y="26"/>
                  <a:pt x="0" y="29"/>
                  <a:pt x="2" y="31"/>
                </a:cubicBezTo>
                <a:lnTo>
                  <a:pt x="16" y="45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Freeform 1481">
            <a:extLst>
              <a:ext uri="{FF2B5EF4-FFF2-40B4-BE49-F238E27FC236}">
                <a16:creationId xmlns:a16="http://schemas.microsoft.com/office/drawing/2014/main" id="{1FFDBE68-808D-4751-8DA7-2ABCC2C66B35}"/>
              </a:ext>
            </a:extLst>
          </p:cNvPr>
          <p:cNvSpPr>
            <a:spLocks/>
          </p:cNvSpPr>
          <p:nvPr/>
        </p:nvSpPr>
        <p:spPr bwMode="auto">
          <a:xfrm>
            <a:off x="11692358" y="6331671"/>
            <a:ext cx="5009" cy="12522"/>
          </a:xfrm>
          <a:custGeom>
            <a:avLst/>
            <a:gdLst>
              <a:gd name="T0" fmla="*/ 0 w 9"/>
              <a:gd name="T1" fmla="*/ 4 h 24"/>
              <a:gd name="T2" fmla="*/ 5 w 9"/>
              <a:gd name="T3" fmla="*/ 0 h 24"/>
              <a:gd name="T4" fmla="*/ 9 w 9"/>
              <a:gd name="T5" fmla="*/ 4 h 24"/>
              <a:gd name="T6" fmla="*/ 9 w 9"/>
              <a:gd name="T7" fmla="*/ 19 h 24"/>
              <a:gd name="T8" fmla="*/ 5 w 9"/>
              <a:gd name="T9" fmla="*/ 24 h 24"/>
              <a:gd name="T10" fmla="*/ 1 w 9"/>
              <a:gd name="T11" fmla="*/ 20 h 24"/>
              <a:gd name="T12" fmla="*/ 0 w 9"/>
              <a:gd name="T13" fmla="*/ 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" h="24">
                <a:moveTo>
                  <a:pt x="0" y="4"/>
                </a:moveTo>
                <a:cubicBezTo>
                  <a:pt x="0" y="2"/>
                  <a:pt x="2" y="0"/>
                  <a:pt x="5" y="0"/>
                </a:cubicBezTo>
                <a:cubicBezTo>
                  <a:pt x="7" y="0"/>
                  <a:pt x="9" y="2"/>
                  <a:pt x="9" y="4"/>
                </a:cubicBezTo>
                <a:cubicBezTo>
                  <a:pt x="9" y="19"/>
                  <a:pt x="9" y="19"/>
                  <a:pt x="9" y="19"/>
                </a:cubicBezTo>
                <a:cubicBezTo>
                  <a:pt x="9" y="22"/>
                  <a:pt x="8" y="24"/>
                  <a:pt x="5" y="24"/>
                </a:cubicBezTo>
                <a:cubicBezTo>
                  <a:pt x="3" y="24"/>
                  <a:pt x="1" y="22"/>
                  <a:pt x="1" y="20"/>
                </a:cubicBezTo>
                <a:lnTo>
                  <a:pt x="0" y="4"/>
                </a:lnTo>
                <a:close/>
              </a:path>
            </a:pathLst>
          </a:custGeom>
          <a:solidFill>
            <a:srgbClr val="80CA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1482">
            <a:extLst>
              <a:ext uri="{FF2B5EF4-FFF2-40B4-BE49-F238E27FC236}">
                <a16:creationId xmlns:a16="http://schemas.microsoft.com/office/drawing/2014/main" id="{7595A2EE-A8F0-4D87-8D83-B1E086A986D3}"/>
              </a:ext>
            </a:extLst>
          </p:cNvPr>
          <p:cNvSpPr>
            <a:spLocks/>
          </p:cNvSpPr>
          <p:nvPr/>
        </p:nvSpPr>
        <p:spPr bwMode="auto">
          <a:xfrm>
            <a:off x="11684845" y="6296609"/>
            <a:ext cx="116458" cy="190340"/>
          </a:xfrm>
          <a:custGeom>
            <a:avLst/>
            <a:gdLst>
              <a:gd name="T0" fmla="*/ 208 w 222"/>
              <a:gd name="T1" fmla="*/ 53 h 366"/>
              <a:gd name="T2" fmla="*/ 0 w 222"/>
              <a:gd name="T3" fmla="*/ 113 h 366"/>
              <a:gd name="T4" fmla="*/ 21 w 222"/>
              <a:gd name="T5" fmla="*/ 91 h 366"/>
              <a:gd name="T6" fmla="*/ 126 w 222"/>
              <a:gd name="T7" fmla="*/ 54 h 366"/>
              <a:gd name="T8" fmla="*/ 208 w 222"/>
              <a:gd name="T9" fmla="*/ 53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2" h="366">
                <a:moveTo>
                  <a:pt x="208" y="53"/>
                </a:moveTo>
                <a:cubicBezTo>
                  <a:pt x="222" y="366"/>
                  <a:pt x="112" y="295"/>
                  <a:pt x="0" y="113"/>
                </a:cubicBezTo>
                <a:cubicBezTo>
                  <a:pt x="21" y="91"/>
                  <a:pt x="21" y="91"/>
                  <a:pt x="21" y="91"/>
                </a:cubicBezTo>
                <a:cubicBezTo>
                  <a:pt x="139" y="224"/>
                  <a:pt x="140" y="255"/>
                  <a:pt x="126" y="54"/>
                </a:cubicBezTo>
                <a:cubicBezTo>
                  <a:pt x="122" y="0"/>
                  <a:pt x="207" y="19"/>
                  <a:pt x="208" y="5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Freeform 1483">
            <a:extLst>
              <a:ext uri="{FF2B5EF4-FFF2-40B4-BE49-F238E27FC236}">
                <a16:creationId xmlns:a16="http://schemas.microsoft.com/office/drawing/2014/main" id="{2B8D041B-8CEA-4306-B5C4-1C2E7003DA08}"/>
              </a:ext>
            </a:extLst>
          </p:cNvPr>
          <p:cNvSpPr>
            <a:spLocks/>
          </p:cNvSpPr>
          <p:nvPr/>
        </p:nvSpPr>
        <p:spPr bwMode="auto">
          <a:xfrm>
            <a:off x="11644773" y="6306627"/>
            <a:ext cx="121467" cy="121467"/>
          </a:xfrm>
          <a:custGeom>
            <a:avLst/>
            <a:gdLst>
              <a:gd name="T0" fmla="*/ 44 w 97"/>
              <a:gd name="T1" fmla="*/ 97 h 97"/>
              <a:gd name="T2" fmla="*/ 0 w 97"/>
              <a:gd name="T3" fmla="*/ 54 h 97"/>
              <a:gd name="T4" fmla="*/ 52 w 97"/>
              <a:gd name="T5" fmla="*/ 0 h 97"/>
              <a:gd name="T6" fmla="*/ 97 w 97"/>
              <a:gd name="T7" fmla="*/ 43 h 97"/>
              <a:gd name="T8" fmla="*/ 44 w 97"/>
              <a:gd name="T9" fmla="*/ 97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7" h="97">
                <a:moveTo>
                  <a:pt x="44" y="97"/>
                </a:moveTo>
                <a:lnTo>
                  <a:pt x="0" y="54"/>
                </a:lnTo>
                <a:lnTo>
                  <a:pt x="52" y="0"/>
                </a:lnTo>
                <a:lnTo>
                  <a:pt x="97" y="43"/>
                </a:lnTo>
                <a:lnTo>
                  <a:pt x="44" y="97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1484">
            <a:extLst>
              <a:ext uri="{FF2B5EF4-FFF2-40B4-BE49-F238E27FC236}">
                <a16:creationId xmlns:a16="http://schemas.microsoft.com/office/drawing/2014/main" id="{311C0FF4-61A4-42BF-B451-BE9E4A13EC29}"/>
              </a:ext>
            </a:extLst>
          </p:cNvPr>
          <p:cNvSpPr>
            <a:spLocks/>
          </p:cNvSpPr>
          <p:nvPr/>
        </p:nvSpPr>
        <p:spPr bwMode="auto">
          <a:xfrm>
            <a:off x="11656043" y="6317896"/>
            <a:ext cx="98927" cy="98927"/>
          </a:xfrm>
          <a:custGeom>
            <a:avLst/>
            <a:gdLst>
              <a:gd name="T0" fmla="*/ 0 w 79"/>
              <a:gd name="T1" fmla="*/ 45 h 79"/>
              <a:gd name="T2" fmla="*/ 43 w 79"/>
              <a:gd name="T3" fmla="*/ 0 h 79"/>
              <a:gd name="T4" fmla="*/ 79 w 79"/>
              <a:gd name="T5" fmla="*/ 35 h 79"/>
              <a:gd name="T6" fmla="*/ 35 w 79"/>
              <a:gd name="T7" fmla="*/ 79 h 79"/>
              <a:gd name="T8" fmla="*/ 0 w 79"/>
              <a:gd name="T9" fmla="*/ 45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9" h="79">
                <a:moveTo>
                  <a:pt x="0" y="45"/>
                </a:moveTo>
                <a:lnTo>
                  <a:pt x="43" y="0"/>
                </a:lnTo>
                <a:lnTo>
                  <a:pt x="79" y="35"/>
                </a:lnTo>
                <a:lnTo>
                  <a:pt x="35" y="79"/>
                </a:lnTo>
                <a:lnTo>
                  <a:pt x="0" y="4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Freeform 1485">
            <a:extLst>
              <a:ext uri="{FF2B5EF4-FFF2-40B4-BE49-F238E27FC236}">
                <a16:creationId xmlns:a16="http://schemas.microsoft.com/office/drawing/2014/main" id="{618B1CA0-1287-4176-B171-26140F2A232E}"/>
              </a:ext>
            </a:extLst>
          </p:cNvPr>
          <p:cNvSpPr>
            <a:spLocks/>
          </p:cNvSpPr>
          <p:nvPr/>
        </p:nvSpPr>
        <p:spPr bwMode="auto">
          <a:xfrm>
            <a:off x="11716150" y="6317896"/>
            <a:ext cx="37567" cy="37567"/>
          </a:xfrm>
          <a:custGeom>
            <a:avLst/>
            <a:gdLst>
              <a:gd name="T0" fmla="*/ 0 w 30"/>
              <a:gd name="T1" fmla="*/ 10 h 30"/>
              <a:gd name="T2" fmla="*/ 10 w 30"/>
              <a:gd name="T3" fmla="*/ 0 h 30"/>
              <a:gd name="T4" fmla="*/ 30 w 30"/>
              <a:gd name="T5" fmla="*/ 20 h 30"/>
              <a:gd name="T6" fmla="*/ 20 w 30"/>
              <a:gd name="T7" fmla="*/ 30 h 30"/>
              <a:gd name="T8" fmla="*/ 0 w 30"/>
              <a:gd name="T9" fmla="*/ 1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30">
                <a:moveTo>
                  <a:pt x="0" y="10"/>
                </a:moveTo>
                <a:lnTo>
                  <a:pt x="10" y="0"/>
                </a:lnTo>
                <a:lnTo>
                  <a:pt x="30" y="20"/>
                </a:lnTo>
                <a:lnTo>
                  <a:pt x="20" y="30"/>
                </a:lnTo>
                <a:lnTo>
                  <a:pt x="0" y="10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Freeform 1486">
            <a:extLst>
              <a:ext uri="{FF2B5EF4-FFF2-40B4-BE49-F238E27FC236}">
                <a16:creationId xmlns:a16="http://schemas.microsoft.com/office/drawing/2014/main" id="{5C81289E-0C66-449B-B9DA-6AE226D0BD1C}"/>
              </a:ext>
            </a:extLst>
          </p:cNvPr>
          <p:cNvSpPr>
            <a:spLocks/>
          </p:cNvSpPr>
          <p:nvPr/>
        </p:nvSpPr>
        <p:spPr bwMode="auto">
          <a:xfrm>
            <a:off x="11697367" y="6339185"/>
            <a:ext cx="36315" cy="36315"/>
          </a:xfrm>
          <a:custGeom>
            <a:avLst/>
            <a:gdLst>
              <a:gd name="T0" fmla="*/ 0 w 29"/>
              <a:gd name="T1" fmla="*/ 3 h 29"/>
              <a:gd name="T2" fmla="*/ 3 w 29"/>
              <a:gd name="T3" fmla="*/ 0 h 29"/>
              <a:gd name="T4" fmla="*/ 29 w 29"/>
              <a:gd name="T5" fmla="*/ 25 h 29"/>
              <a:gd name="T6" fmla="*/ 26 w 29"/>
              <a:gd name="T7" fmla="*/ 29 h 29"/>
              <a:gd name="T8" fmla="*/ 0 w 29"/>
              <a:gd name="T9" fmla="*/ 3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" h="29">
                <a:moveTo>
                  <a:pt x="0" y="3"/>
                </a:moveTo>
                <a:lnTo>
                  <a:pt x="3" y="0"/>
                </a:lnTo>
                <a:lnTo>
                  <a:pt x="29" y="25"/>
                </a:lnTo>
                <a:lnTo>
                  <a:pt x="26" y="29"/>
                </a:lnTo>
                <a:lnTo>
                  <a:pt x="0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1487">
            <a:extLst>
              <a:ext uri="{FF2B5EF4-FFF2-40B4-BE49-F238E27FC236}">
                <a16:creationId xmlns:a16="http://schemas.microsoft.com/office/drawing/2014/main" id="{3B74B045-A881-4602-935F-950207A438C4}"/>
              </a:ext>
            </a:extLst>
          </p:cNvPr>
          <p:cNvSpPr>
            <a:spLocks/>
          </p:cNvSpPr>
          <p:nvPr/>
        </p:nvSpPr>
        <p:spPr bwMode="auto">
          <a:xfrm>
            <a:off x="11684845" y="6351707"/>
            <a:ext cx="36315" cy="36315"/>
          </a:xfrm>
          <a:custGeom>
            <a:avLst/>
            <a:gdLst>
              <a:gd name="T0" fmla="*/ 0 w 29"/>
              <a:gd name="T1" fmla="*/ 3 h 29"/>
              <a:gd name="T2" fmla="*/ 3 w 29"/>
              <a:gd name="T3" fmla="*/ 0 h 29"/>
              <a:gd name="T4" fmla="*/ 29 w 29"/>
              <a:gd name="T5" fmla="*/ 26 h 29"/>
              <a:gd name="T6" fmla="*/ 26 w 29"/>
              <a:gd name="T7" fmla="*/ 29 h 29"/>
              <a:gd name="T8" fmla="*/ 0 w 29"/>
              <a:gd name="T9" fmla="*/ 3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" h="29">
                <a:moveTo>
                  <a:pt x="0" y="3"/>
                </a:moveTo>
                <a:lnTo>
                  <a:pt x="3" y="0"/>
                </a:lnTo>
                <a:lnTo>
                  <a:pt x="29" y="26"/>
                </a:lnTo>
                <a:lnTo>
                  <a:pt x="26" y="29"/>
                </a:lnTo>
                <a:lnTo>
                  <a:pt x="0" y="3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Freeform 1488">
            <a:extLst>
              <a:ext uri="{FF2B5EF4-FFF2-40B4-BE49-F238E27FC236}">
                <a16:creationId xmlns:a16="http://schemas.microsoft.com/office/drawing/2014/main" id="{F291FDE3-EB48-4FBE-817C-6B2008BF3304}"/>
              </a:ext>
            </a:extLst>
          </p:cNvPr>
          <p:cNvSpPr>
            <a:spLocks/>
          </p:cNvSpPr>
          <p:nvPr/>
        </p:nvSpPr>
        <p:spPr bwMode="auto">
          <a:xfrm>
            <a:off x="11672323" y="6364229"/>
            <a:ext cx="36315" cy="36315"/>
          </a:xfrm>
          <a:custGeom>
            <a:avLst/>
            <a:gdLst>
              <a:gd name="T0" fmla="*/ 0 w 29"/>
              <a:gd name="T1" fmla="*/ 4 h 29"/>
              <a:gd name="T2" fmla="*/ 3 w 29"/>
              <a:gd name="T3" fmla="*/ 0 h 29"/>
              <a:gd name="T4" fmla="*/ 29 w 29"/>
              <a:gd name="T5" fmla="*/ 26 h 29"/>
              <a:gd name="T6" fmla="*/ 26 w 29"/>
              <a:gd name="T7" fmla="*/ 29 h 29"/>
              <a:gd name="T8" fmla="*/ 0 w 29"/>
              <a:gd name="T9" fmla="*/ 4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" h="29">
                <a:moveTo>
                  <a:pt x="0" y="4"/>
                </a:moveTo>
                <a:lnTo>
                  <a:pt x="3" y="0"/>
                </a:lnTo>
                <a:lnTo>
                  <a:pt x="29" y="26"/>
                </a:lnTo>
                <a:lnTo>
                  <a:pt x="26" y="29"/>
                </a:lnTo>
                <a:lnTo>
                  <a:pt x="0" y="4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Freeform 1489">
            <a:extLst>
              <a:ext uri="{FF2B5EF4-FFF2-40B4-BE49-F238E27FC236}">
                <a16:creationId xmlns:a16="http://schemas.microsoft.com/office/drawing/2014/main" id="{9FE75377-79AE-43C3-84AE-72A4F30C3724}"/>
              </a:ext>
            </a:extLst>
          </p:cNvPr>
          <p:cNvSpPr>
            <a:spLocks/>
          </p:cNvSpPr>
          <p:nvPr/>
        </p:nvSpPr>
        <p:spPr bwMode="auto">
          <a:xfrm>
            <a:off x="11668566" y="6339185"/>
            <a:ext cx="10018" cy="10018"/>
          </a:xfrm>
          <a:custGeom>
            <a:avLst/>
            <a:gdLst>
              <a:gd name="T0" fmla="*/ 2 w 19"/>
              <a:gd name="T1" fmla="*/ 8 h 18"/>
              <a:gd name="T2" fmla="*/ 2 w 19"/>
              <a:gd name="T3" fmla="*/ 2 h 18"/>
              <a:gd name="T4" fmla="*/ 8 w 19"/>
              <a:gd name="T5" fmla="*/ 1 h 18"/>
              <a:gd name="T6" fmla="*/ 17 w 19"/>
              <a:gd name="T7" fmla="*/ 10 h 18"/>
              <a:gd name="T8" fmla="*/ 17 w 19"/>
              <a:gd name="T9" fmla="*/ 16 h 18"/>
              <a:gd name="T10" fmla="*/ 11 w 19"/>
              <a:gd name="T11" fmla="*/ 16 h 18"/>
              <a:gd name="T12" fmla="*/ 2 w 19"/>
              <a:gd name="T13" fmla="*/ 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" h="18">
                <a:moveTo>
                  <a:pt x="2" y="8"/>
                </a:moveTo>
                <a:cubicBezTo>
                  <a:pt x="0" y="6"/>
                  <a:pt x="0" y="3"/>
                  <a:pt x="2" y="2"/>
                </a:cubicBezTo>
                <a:cubicBezTo>
                  <a:pt x="3" y="0"/>
                  <a:pt x="6" y="0"/>
                  <a:pt x="8" y="1"/>
                </a:cubicBezTo>
                <a:cubicBezTo>
                  <a:pt x="17" y="10"/>
                  <a:pt x="17" y="10"/>
                  <a:pt x="17" y="10"/>
                </a:cubicBezTo>
                <a:cubicBezTo>
                  <a:pt x="19" y="12"/>
                  <a:pt x="19" y="15"/>
                  <a:pt x="17" y="16"/>
                </a:cubicBezTo>
                <a:cubicBezTo>
                  <a:pt x="15" y="18"/>
                  <a:pt x="12" y="18"/>
                  <a:pt x="11" y="16"/>
                </a:cubicBezTo>
                <a:lnTo>
                  <a:pt x="2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Freeform 1490">
            <a:extLst>
              <a:ext uri="{FF2B5EF4-FFF2-40B4-BE49-F238E27FC236}">
                <a16:creationId xmlns:a16="http://schemas.microsoft.com/office/drawing/2014/main" id="{FEEDD723-9642-473F-BE38-565F8626C4D2}"/>
              </a:ext>
            </a:extLst>
          </p:cNvPr>
          <p:cNvSpPr>
            <a:spLocks/>
          </p:cNvSpPr>
          <p:nvPr/>
        </p:nvSpPr>
        <p:spPr bwMode="auto">
          <a:xfrm>
            <a:off x="11679836" y="6327914"/>
            <a:ext cx="10018" cy="8766"/>
          </a:xfrm>
          <a:custGeom>
            <a:avLst/>
            <a:gdLst>
              <a:gd name="T0" fmla="*/ 2 w 19"/>
              <a:gd name="T1" fmla="*/ 8 h 18"/>
              <a:gd name="T2" fmla="*/ 2 w 19"/>
              <a:gd name="T3" fmla="*/ 2 h 18"/>
              <a:gd name="T4" fmla="*/ 8 w 19"/>
              <a:gd name="T5" fmla="*/ 1 h 18"/>
              <a:gd name="T6" fmla="*/ 17 w 19"/>
              <a:gd name="T7" fmla="*/ 10 h 18"/>
              <a:gd name="T8" fmla="*/ 17 w 19"/>
              <a:gd name="T9" fmla="*/ 16 h 18"/>
              <a:gd name="T10" fmla="*/ 11 w 19"/>
              <a:gd name="T11" fmla="*/ 17 h 18"/>
              <a:gd name="T12" fmla="*/ 2 w 19"/>
              <a:gd name="T13" fmla="*/ 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" h="18">
                <a:moveTo>
                  <a:pt x="2" y="8"/>
                </a:moveTo>
                <a:cubicBezTo>
                  <a:pt x="0" y="6"/>
                  <a:pt x="0" y="3"/>
                  <a:pt x="2" y="2"/>
                </a:cubicBezTo>
                <a:cubicBezTo>
                  <a:pt x="3" y="0"/>
                  <a:pt x="6" y="0"/>
                  <a:pt x="8" y="1"/>
                </a:cubicBezTo>
                <a:cubicBezTo>
                  <a:pt x="17" y="10"/>
                  <a:pt x="17" y="10"/>
                  <a:pt x="17" y="10"/>
                </a:cubicBezTo>
                <a:cubicBezTo>
                  <a:pt x="19" y="12"/>
                  <a:pt x="19" y="15"/>
                  <a:pt x="17" y="16"/>
                </a:cubicBezTo>
                <a:cubicBezTo>
                  <a:pt x="15" y="18"/>
                  <a:pt x="13" y="18"/>
                  <a:pt x="11" y="17"/>
                </a:cubicBezTo>
                <a:lnTo>
                  <a:pt x="2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1491">
            <a:extLst>
              <a:ext uri="{FF2B5EF4-FFF2-40B4-BE49-F238E27FC236}">
                <a16:creationId xmlns:a16="http://schemas.microsoft.com/office/drawing/2014/main" id="{F9338A43-33B6-4357-B625-1748518E8785}"/>
              </a:ext>
            </a:extLst>
          </p:cNvPr>
          <p:cNvSpPr>
            <a:spLocks/>
          </p:cNvSpPr>
          <p:nvPr/>
        </p:nvSpPr>
        <p:spPr bwMode="auto">
          <a:xfrm>
            <a:off x="11676079" y="6331671"/>
            <a:ext cx="10018" cy="10018"/>
          </a:xfrm>
          <a:custGeom>
            <a:avLst/>
            <a:gdLst>
              <a:gd name="T0" fmla="*/ 1 w 18"/>
              <a:gd name="T1" fmla="*/ 8 h 19"/>
              <a:gd name="T2" fmla="*/ 1 w 18"/>
              <a:gd name="T3" fmla="*/ 2 h 19"/>
              <a:gd name="T4" fmla="*/ 7 w 18"/>
              <a:gd name="T5" fmla="*/ 2 h 19"/>
              <a:gd name="T6" fmla="*/ 16 w 18"/>
              <a:gd name="T7" fmla="*/ 11 h 19"/>
              <a:gd name="T8" fmla="*/ 17 w 18"/>
              <a:gd name="T9" fmla="*/ 17 h 19"/>
              <a:gd name="T10" fmla="*/ 10 w 18"/>
              <a:gd name="T11" fmla="*/ 17 h 19"/>
              <a:gd name="T12" fmla="*/ 1 w 18"/>
              <a:gd name="T13" fmla="*/ 8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" h="19">
                <a:moveTo>
                  <a:pt x="1" y="8"/>
                </a:moveTo>
                <a:cubicBezTo>
                  <a:pt x="0" y="7"/>
                  <a:pt x="0" y="4"/>
                  <a:pt x="1" y="2"/>
                </a:cubicBezTo>
                <a:cubicBezTo>
                  <a:pt x="3" y="1"/>
                  <a:pt x="6" y="0"/>
                  <a:pt x="7" y="2"/>
                </a:cubicBezTo>
                <a:cubicBezTo>
                  <a:pt x="16" y="11"/>
                  <a:pt x="16" y="11"/>
                  <a:pt x="16" y="11"/>
                </a:cubicBezTo>
                <a:cubicBezTo>
                  <a:pt x="18" y="13"/>
                  <a:pt x="18" y="15"/>
                  <a:pt x="17" y="17"/>
                </a:cubicBezTo>
                <a:cubicBezTo>
                  <a:pt x="15" y="19"/>
                  <a:pt x="12" y="19"/>
                  <a:pt x="10" y="17"/>
                </a:cubicBezTo>
                <a:lnTo>
                  <a:pt x="1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1492">
            <a:extLst>
              <a:ext uri="{FF2B5EF4-FFF2-40B4-BE49-F238E27FC236}">
                <a16:creationId xmlns:a16="http://schemas.microsoft.com/office/drawing/2014/main" id="{E268C3C0-98D5-43B0-AF3F-2A95949C5032}"/>
              </a:ext>
            </a:extLst>
          </p:cNvPr>
          <p:cNvSpPr>
            <a:spLocks/>
          </p:cNvSpPr>
          <p:nvPr/>
        </p:nvSpPr>
        <p:spPr bwMode="auto">
          <a:xfrm>
            <a:off x="11672323" y="6335428"/>
            <a:ext cx="10018" cy="10018"/>
          </a:xfrm>
          <a:custGeom>
            <a:avLst/>
            <a:gdLst>
              <a:gd name="T0" fmla="*/ 2 w 19"/>
              <a:gd name="T1" fmla="*/ 8 h 18"/>
              <a:gd name="T2" fmla="*/ 2 w 19"/>
              <a:gd name="T3" fmla="*/ 2 h 18"/>
              <a:gd name="T4" fmla="*/ 8 w 19"/>
              <a:gd name="T5" fmla="*/ 2 h 18"/>
              <a:gd name="T6" fmla="*/ 17 w 19"/>
              <a:gd name="T7" fmla="*/ 11 h 18"/>
              <a:gd name="T8" fmla="*/ 17 w 19"/>
              <a:gd name="T9" fmla="*/ 17 h 18"/>
              <a:gd name="T10" fmla="*/ 11 w 19"/>
              <a:gd name="T11" fmla="*/ 17 h 18"/>
              <a:gd name="T12" fmla="*/ 2 w 19"/>
              <a:gd name="T13" fmla="*/ 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" h="18">
                <a:moveTo>
                  <a:pt x="2" y="8"/>
                </a:moveTo>
                <a:cubicBezTo>
                  <a:pt x="0" y="6"/>
                  <a:pt x="0" y="4"/>
                  <a:pt x="2" y="2"/>
                </a:cubicBezTo>
                <a:cubicBezTo>
                  <a:pt x="4" y="0"/>
                  <a:pt x="6" y="0"/>
                  <a:pt x="8" y="2"/>
                </a:cubicBezTo>
                <a:cubicBezTo>
                  <a:pt x="17" y="11"/>
                  <a:pt x="17" y="11"/>
                  <a:pt x="17" y="11"/>
                </a:cubicBezTo>
                <a:cubicBezTo>
                  <a:pt x="19" y="12"/>
                  <a:pt x="19" y="15"/>
                  <a:pt x="17" y="17"/>
                </a:cubicBezTo>
                <a:cubicBezTo>
                  <a:pt x="16" y="18"/>
                  <a:pt x="13" y="18"/>
                  <a:pt x="11" y="17"/>
                </a:cubicBezTo>
                <a:lnTo>
                  <a:pt x="2" y="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Freeform 1493">
            <a:extLst>
              <a:ext uri="{FF2B5EF4-FFF2-40B4-BE49-F238E27FC236}">
                <a16:creationId xmlns:a16="http://schemas.microsoft.com/office/drawing/2014/main" id="{53B5451E-4A1C-48CB-A59E-A1A2085B9908}"/>
              </a:ext>
            </a:extLst>
          </p:cNvPr>
          <p:cNvSpPr>
            <a:spLocks/>
          </p:cNvSpPr>
          <p:nvPr/>
        </p:nvSpPr>
        <p:spPr bwMode="auto">
          <a:xfrm>
            <a:off x="11729925" y="6697324"/>
            <a:ext cx="37567" cy="12522"/>
          </a:xfrm>
          <a:custGeom>
            <a:avLst/>
            <a:gdLst>
              <a:gd name="T0" fmla="*/ 42 w 73"/>
              <a:gd name="T1" fmla="*/ 1 h 25"/>
              <a:gd name="T2" fmla="*/ 18 w 73"/>
              <a:gd name="T3" fmla="*/ 9 h 25"/>
              <a:gd name="T4" fmla="*/ 14 w 73"/>
              <a:gd name="T5" fmla="*/ 21 h 25"/>
              <a:gd name="T6" fmla="*/ 52 w 73"/>
              <a:gd name="T7" fmla="*/ 16 h 25"/>
              <a:gd name="T8" fmla="*/ 52 w 73"/>
              <a:gd name="T9" fmla="*/ 21 h 25"/>
              <a:gd name="T10" fmla="*/ 73 w 73"/>
              <a:gd name="T11" fmla="*/ 21 h 25"/>
              <a:gd name="T12" fmla="*/ 70 w 73"/>
              <a:gd name="T13" fmla="*/ 0 h 25"/>
              <a:gd name="T14" fmla="*/ 42 w 73"/>
              <a:gd name="T15" fmla="*/ 1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3" h="25">
                <a:moveTo>
                  <a:pt x="42" y="1"/>
                </a:moveTo>
                <a:cubicBezTo>
                  <a:pt x="40" y="6"/>
                  <a:pt x="27" y="10"/>
                  <a:pt x="18" y="9"/>
                </a:cubicBezTo>
                <a:cubicBezTo>
                  <a:pt x="10" y="8"/>
                  <a:pt x="0" y="17"/>
                  <a:pt x="14" y="21"/>
                </a:cubicBezTo>
                <a:cubicBezTo>
                  <a:pt x="30" y="25"/>
                  <a:pt x="47" y="23"/>
                  <a:pt x="52" y="16"/>
                </a:cubicBezTo>
                <a:cubicBezTo>
                  <a:pt x="52" y="18"/>
                  <a:pt x="52" y="21"/>
                  <a:pt x="52" y="21"/>
                </a:cubicBezTo>
                <a:cubicBezTo>
                  <a:pt x="73" y="21"/>
                  <a:pt x="73" y="21"/>
                  <a:pt x="73" y="21"/>
                </a:cubicBezTo>
                <a:cubicBezTo>
                  <a:pt x="70" y="0"/>
                  <a:pt x="70" y="0"/>
                  <a:pt x="70" y="0"/>
                </a:cubicBezTo>
                <a:lnTo>
                  <a:pt x="42" y="1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Freeform 1494">
            <a:extLst>
              <a:ext uri="{FF2B5EF4-FFF2-40B4-BE49-F238E27FC236}">
                <a16:creationId xmlns:a16="http://schemas.microsoft.com/office/drawing/2014/main" id="{7DAE265E-8244-4CC3-ACA2-9CF8B01A5B3C}"/>
              </a:ext>
            </a:extLst>
          </p:cNvPr>
          <p:cNvSpPr>
            <a:spLocks/>
          </p:cNvSpPr>
          <p:nvPr/>
        </p:nvSpPr>
        <p:spPr bwMode="auto">
          <a:xfrm>
            <a:off x="11741195" y="6443120"/>
            <a:ext cx="71378" cy="249195"/>
          </a:xfrm>
          <a:custGeom>
            <a:avLst/>
            <a:gdLst>
              <a:gd name="T0" fmla="*/ 30 w 138"/>
              <a:gd name="T1" fmla="*/ 90 h 481"/>
              <a:gd name="T2" fmla="*/ 19 w 138"/>
              <a:gd name="T3" fmla="*/ 481 h 481"/>
              <a:gd name="T4" fmla="*/ 48 w 138"/>
              <a:gd name="T5" fmla="*/ 480 h 481"/>
              <a:gd name="T6" fmla="*/ 125 w 138"/>
              <a:gd name="T7" fmla="*/ 106 h 481"/>
              <a:gd name="T8" fmla="*/ 30 w 138"/>
              <a:gd name="T9" fmla="*/ 90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8" h="481">
                <a:moveTo>
                  <a:pt x="30" y="90"/>
                </a:moveTo>
                <a:cubicBezTo>
                  <a:pt x="38" y="192"/>
                  <a:pt x="0" y="331"/>
                  <a:pt x="19" y="481"/>
                </a:cubicBezTo>
                <a:cubicBezTo>
                  <a:pt x="27" y="481"/>
                  <a:pt x="19" y="481"/>
                  <a:pt x="48" y="480"/>
                </a:cubicBezTo>
                <a:cubicBezTo>
                  <a:pt x="51" y="347"/>
                  <a:pt x="104" y="244"/>
                  <a:pt x="125" y="106"/>
                </a:cubicBezTo>
                <a:cubicBezTo>
                  <a:pt x="138" y="16"/>
                  <a:pt x="23" y="0"/>
                  <a:pt x="30" y="9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Freeform 1495">
            <a:extLst>
              <a:ext uri="{FF2B5EF4-FFF2-40B4-BE49-F238E27FC236}">
                <a16:creationId xmlns:a16="http://schemas.microsoft.com/office/drawing/2014/main" id="{50B07405-B6F1-4E40-A8B8-8530333341DD}"/>
              </a:ext>
            </a:extLst>
          </p:cNvPr>
          <p:cNvSpPr>
            <a:spLocks/>
          </p:cNvSpPr>
          <p:nvPr/>
        </p:nvSpPr>
        <p:spPr bwMode="auto">
          <a:xfrm>
            <a:off x="11806311" y="6697324"/>
            <a:ext cx="37567" cy="12522"/>
          </a:xfrm>
          <a:custGeom>
            <a:avLst/>
            <a:gdLst>
              <a:gd name="T0" fmla="*/ 42 w 72"/>
              <a:gd name="T1" fmla="*/ 1 h 25"/>
              <a:gd name="T2" fmla="*/ 17 w 72"/>
              <a:gd name="T3" fmla="*/ 9 h 25"/>
              <a:gd name="T4" fmla="*/ 13 w 72"/>
              <a:gd name="T5" fmla="*/ 21 h 25"/>
              <a:gd name="T6" fmla="*/ 52 w 72"/>
              <a:gd name="T7" fmla="*/ 16 h 25"/>
              <a:gd name="T8" fmla="*/ 52 w 72"/>
              <a:gd name="T9" fmla="*/ 21 h 25"/>
              <a:gd name="T10" fmla="*/ 72 w 72"/>
              <a:gd name="T11" fmla="*/ 21 h 25"/>
              <a:gd name="T12" fmla="*/ 69 w 72"/>
              <a:gd name="T13" fmla="*/ 0 h 25"/>
              <a:gd name="T14" fmla="*/ 42 w 72"/>
              <a:gd name="T15" fmla="*/ 1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2" h="25">
                <a:moveTo>
                  <a:pt x="42" y="1"/>
                </a:moveTo>
                <a:cubicBezTo>
                  <a:pt x="40" y="6"/>
                  <a:pt x="27" y="10"/>
                  <a:pt x="17" y="9"/>
                </a:cubicBezTo>
                <a:cubicBezTo>
                  <a:pt x="10" y="8"/>
                  <a:pt x="0" y="17"/>
                  <a:pt x="13" y="21"/>
                </a:cubicBezTo>
                <a:cubicBezTo>
                  <a:pt x="30" y="25"/>
                  <a:pt x="47" y="23"/>
                  <a:pt x="52" y="16"/>
                </a:cubicBezTo>
                <a:cubicBezTo>
                  <a:pt x="52" y="18"/>
                  <a:pt x="52" y="21"/>
                  <a:pt x="52" y="21"/>
                </a:cubicBezTo>
                <a:cubicBezTo>
                  <a:pt x="72" y="21"/>
                  <a:pt x="72" y="21"/>
                  <a:pt x="72" y="21"/>
                </a:cubicBezTo>
                <a:cubicBezTo>
                  <a:pt x="69" y="0"/>
                  <a:pt x="69" y="0"/>
                  <a:pt x="69" y="0"/>
                </a:cubicBezTo>
                <a:lnTo>
                  <a:pt x="42" y="1"/>
                </a:ln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Freeform 1496">
            <a:extLst>
              <a:ext uri="{FF2B5EF4-FFF2-40B4-BE49-F238E27FC236}">
                <a16:creationId xmlns:a16="http://schemas.microsoft.com/office/drawing/2014/main" id="{ED77768E-19E2-4887-91A7-1238B2D8BDDF}"/>
              </a:ext>
            </a:extLst>
          </p:cNvPr>
          <p:cNvSpPr>
            <a:spLocks/>
          </p:cNvSpPr>
          <p:nvPr/>
        </p:nvSpPr>
        <p:spPr bwMode="auto">
          <a:xfrm>
            <a:off x="11797546" y="6443120"/>
            <a:ext cx="60107" cy="249195"/>
          </a:xfrm>
          <a:custGeom>
            <a:avLst/>
            <a:gdLst>
              <a:gd name="T0" fmla="*/ 7 w 115"/>
              <a:gd name="T1" fmla="*/ 90 h 481"/>
              <a:gd name="T2" fmla="*/ 56 w 115"/>
              <a:gd name="T3" fmla="*/ 481 h 481"/>
              <a:gd name="T4" fmla="*/ 84 w 115"/>
              <a:gd name="T5" fmla="*/ 480 h 481"/>
              <a:gd name="T6" fmla="*/ 101 w 115"/>
              <a:gd name="T7" fmla="*/ 106 h 481"/>
              <a:gd name="T8" fmla="*/ 7 w 115"/>
              <a:gd name="T9" fmla="*/ 90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5" h="481">
                <a:moveTo>
                  <a:pt x="7" y="90"/>
                </a:moveTo>
                <a:cubicBezTo>
                  <a:pt x="15" y="192"/>
                  <a:pt x="36" y="331"/>
                  <a:pt x="56" y="481"/>
                </a:cubicBezTo>
                <a:cubicBezTo>
                  <a:pt x="63" y="481"/>
                  <a:pt x="56" y="481"/>
                  <a:pt x="84" y="480"/>
                </a:cubicBezTo>
                <a:cubicBezTo>
                  <a:pt x="87" y="347"/>
                  <a:pt x="80" y="244"/>
                  <a:pt x="101" y="106"/>
                </a:cubicBezTo>
                <a:cubicBezTo>
                  <a:pt x="115" y="16"/>
                  <a:pt x="0" y="0"/>
                  <a:pt x="7" y="90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Freeform 1497">
            <a:extLst>
              <a:ext uri="{FF2B5EF4-FFF2-40B4-BE49-F238E27FC236}">
                <a16:creationId xmlns:a16="http://schemas.microsoft.com/office/drawing/2014/main" id="{BB403452-2C6B-482D-BC5A-CDE417ACC56B}"/>
              </a:ext>
            </a:extLst>
          </p:cNvPr>
          <p:cNvSpPr>
            <a:spLocks/>
          </p:cNvSpPr>
          <p:nvPr/>
        </p:nvSpPr>
        <p:spPr bwMode="auto">
          <a:xfrm>
            <a:off x="11748708" y="6241510"/>
            <a:ext cx="66369" cy="75134"/>
          </a:xfrm>
          <a:custGeom>
            <a:avLst/>
            <a:gdLst>
              <a:gd name="T0" fmla="*/ 15 w 128"/>
              <a:gd name="T1" fmla="*/ 74 h 144"/>
              <a:gd name="T2" fmla="*/ 11 w 128"/>
              <a:gd name="T3" fmla="*/ 67 h 144"/>
              <a:gd name="T4" fmla="*/ 10 w 128"/>
              <a:gd name="T5" fmla="*/ 59 h 144"/>
              <a:gd name="T6" fmla="*/ 0 w 128"/>
              <a:gd name="T7" fmla="*/ 61 h 144"/>
              <a:gd name="T8" fmla="*/ 6 w 128"/>
              <a:gd name="T9" fmla="*/ 34 h 144"/>
              <a:gd name="T10" fmla="*/ 40 w 128"/>
              <a:gd name="T11" fmla="*/ 4 h 144"/>
              <a:gd name="T12" fmla="*/ 79 w 128"/>
              <a:gd name="T13" fmla="*/ 29 h 144"/>
              <a:gd name="T14" fmla="*/ 116 w 128"/>
              <a:gd name="T15" fmla="*/ 118 h 144"/>
              <a:gd name="T16" fmla="*/ 23 w 128"/>
              <a:gd name="T17" fmla="*/ 118 h 144"/>
              <a:gd name="T18" fmla="*/ 17 w 128"/>
              <a:gd name="T19" fmla="*/ 84 h 144"/>
              <a:gd name="T20" fmla="*/ 15 w 128"/>
              <a:gd name="T21" fmla="*/ 74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8" h="144">
                <a:moveTo>
                  <a:pt x="15" y="74"/>
                </a:moveTo>
                <a:cubicBezTo>
                  <a:pt x="12" y="74"/>
                  <a:pt x="11" y="70"/>
                  <a:pt x="11" y="67"/>
                </a:cubicBezTo>
                <a:cubicBezTo>
                  <a:pt x="10" y="64"/>
                  <a:pt x="10" y="59"/>
                  <a:pt x="10" y="59"/>
                </a:cubicBezTo>
                <a:cubicBezTo>
                  <a:pt x="0" y="61"/>
                  <a:pt x="0" y="61"/>
                  <a:pt x="0" y="61"/>
                </a:cubicBezTo>
                <a:cubicBezTo>
                  <a:pt x="0" y="61"/>
                  <a:pt x="2" y="49"/>
                  <a:pt x="6" y="34"/>
                </a:cubicBezTo>
                <a:cubicBezTo>
                  <a:pt x="10" y="19"/>
                  <a:pt x="21" y="7"/>
                  <a:pt x="40" y="4"/>
                </a:cubicBezTo>
                <a:cubicBezTo>
                  <a:pt x="61" y="0"/>
                  <a:pt x="70" y="6"/>
                  <a:pt x="79" y="29"/>
                </a:cubicBezTo>
                <a:cubicBezTo>
                  <a:pt x="84" y="42"/>
                  <a:pt x="103" y="91"/>
                  <a:pt x="116" y="118"/>
                </a:cubicBezTo>
                <a:cubicBezTo>
                  <a:pt x="128" y="144"/>
                  <a:pt x="23" y="118"/>
                  <a:pt x="23" y="118"/>
                </a:cubicBezTo>
                <a:cubicBezTo>
                  <a:pt x="21" y="103"/>
                  <a:pt x="19" y="95"/>
                  <a:pt x="17" y="84"/>
                </a:cubicBezTo>
                <a:cubicBezTo>
                  <a:pt x="14" y="82"/>
                  <a:pt x="13" y="75"/>
                  <a:pt x="15" y="7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Freeform 1498">
            <a:extLst>
              <a:ext uri="{FF2B5EF4-FFF2-40B4-BE49-F238E27FC236}">
                <a16:creationId xmlns:a16="http://schemas.microsoft.com/office/drawing/2014/main" id="{F61388FA-BF96-4EB6-86DB-2E2EA6B5C09B}"/>
              </a:ext>
            </a:extLst>
          </p:cNvPr>
          <p:cNvSpPr>
            <a:spLocks/>
          </p:cNvSpPr>
          <p:nvPr/>
        </p:nvSpPr>
        <p:spPr bwMode="auto">
          <a:xfrm>
            <a:off x="11754970" y="6259042"/>
            <a:ext cx="5009" cy="5009"/>
          </a:xfrm>
          <a:custGeom>
            <a:avLst/>
            <a:gdLst>
              <a:gd name="T0" fmla="*/ 1 w 9"/>
              <a:gd name="T1" fmla="*/ 4 h 9"/>
              <a:gd name="T2" fmla="*/ 4 w 9"/>
              <a:gd name="T3" fmla="*/ 9 h 9"/>
              <a:gd name="T4" fmla="*/ 9 w 9"/>
              <a:gd name="T5" fmla="*/ 5 h 9"/>
              <a:gd name="T6" fmla="*/ 5 w 9"/>
              <a:gd name="T7" fmla="*/ 0 h 9"/>
              <a:gd name="T8" fmla="*/ 1 w 9"/>
              <a:gd name="T9" fmla="*/ 4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9">
                <a:moveTo>
                  <a:pt x="1" y="4"/>
                </a:moveTo>
                <a:cubicBezTo>
                  <a:pt x="0" y="6"/>
                  <a:pt x="2" y="8"/>
                  <a:pt x="4" y="9"/>
                </a:cubicBezTo>
                <a:cubicBezTo>
                  <a:pt x="7" y="9"/>
                  <a:pt x="9" y="7"/>
                  <a:pt x="9" y="5"/>
                </a:cubicBezTo>
                <a:cubicBezTo>
                  <a:pt x="9" y="3"/>
                  <a:pt x="8" y="0"/>
                  <a:pt x="5" y="0"/>
                </a:cubicBezTo>
                <a:cubicBezTo>
                  <a:pt x="3" y="0"/>
                  <a:pt x="1" y="2"/>
                  <a:pt x="1" y="4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Freeform 1499">
            <a:extLst>
              <a:ext uri="{FF2B5EF4-FFF2-40B4-BE49-F238E27FC236}">
                <a16:creationId xmlns:a16="http://schemas.microsoft.com/office/drawing/2014/main" id="{DAA5C3BB-DF53-4070-B640-646D70F22FC9}"/>
              </a:ext>
            </a:extLst>
          </p:cNvPr>
          <p:cNvSpPr>
            <a:spLocks/>
          </p:cNvSpPr>
          <p:nvPr/>
        </p:nvSpPr>
        <p:spPr bwMode="auto">
          <a:xfrm>
            <a:off x="11759979" y="6259042"/>
            <a:ext cx="5009" cy="3757"/>
          </a:xfrm>
          <a:custGeom>
            <a:avLst/>
            <a:gdLst>
              <a:gd name="T0" fmla="*/ 0 w 9"/>
              <a:gd name="T1" fmla="*/ 4 h 9"/>
              <a:gd name="T2" fmla="*/ 4 w 9"/>
              <a:gd name="T3" fmla="*/ 9 h 9"/>
              <a:gd name="T4" fmla="*/ 9 w 9"/>
              <a:gd name="T5" fmla="*/ 5 h 9"/>
              <a:gd name="T6" fmla="*/ 5 w 9"/>
              <a:gd name="T7" fmla="*/ 1 h 9"/>
              <a:gd name="T8" fmla="*/ 0 w 9"/>
              <a:gd name="T9" fmla="*/ 4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9">
                <a:moveTo>
                  <a:pt x="0" y="4"/>
                </a:moveTo>
                <a:cubicBezTo>
                  <a:pt x="0" y="7"/>
                  <a:pt x="2" y="9"/>
                  <a:pt x="4" y="9"/>
                </a:cubicBezTo>
                <a:cubicBezTo>
                  <a:pt x="6" y="9"/>
                  <a:pt x="8" y="8"/>
                  <a:pt x="9" y="5"/>
                </a:cubicBezTo>
                <a:cubicBezTo>
                  <a:pt x="9" y="3"/>
                  <a:pt x="7" y="1"/>
                  <a:pt x="5" y="1"/>
                </a:cubicBezTo>
                <a:cubicBezTo>
                  <a:pt x="3" y="0"/>
                  <a:pt x="0" y="2"/>
                  <a:pt x="0" y="4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Freeform 1500">
            <a:extLst>
              <a:ext uri="{FF2B5EF4-FFF2-40B4-BE49-F238E27FC236}">
                <a16:creationId xmlns:a16="http://schemas.microsoft.com/office/drawing/2014/main" id="{32D3F6F8-653B-46D6-939D-221E015F41C2}"/>
              </a:ext>
            </a:extLst>
          </p:cNvPr>
          <p:cNvSpPr>
            <a:spLocks/>
          </p:cNvSpPr>
          <p:nvPr/>
        </p:nvSpPr>
        <p:spPr bwMode="auto">
          <a:xfrm>
            <a:off x="11762483" y="6236502"/>
            <a:ext cx="28802" cy="20036"/>
          </a:xfrm>
          <a:custGeom>
            <a:avLst/>
            <a:gdLst>
              <a:gd name="T0" fmla="*/ 6 w 57"/>
              <a:gd name="T1" fmla="*/ 3 h 40"/>
              <a:gd name="T2" fmla="*/ 20 w 57"/>
              <a:gd name="T3" fmla="*/ 4 h 40"/>
              <a:gd name="T4" fmla="*/ 39 w 57"/>
              <a:gd name="T5" fmla="*/ 12 h 40"/>
              <a:gd name="T6" fmla="*/ 52 w 57"/>
              <a:gd name="T7" fmla="*/ 39 h 40"/>
              <a:gd name="T8" fmla="*/ 39 w 57"/>
              <a:gd name="T9" fmla="*/ 21 h 40"/>
              <a:gd name="T10" fmla="*/ 12 w 57"/>
              <a:gd name="T11" fmla="*/ 22 h 40"/>
              <a:gd name="T12" fmla="*/ 6 w 57"/>
              <a:gd name="T13" fmla="*/ 3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7" h="40">
                <a:moveTo>
                  <a:pt x="6" y="3"/>
                </a:moveTo>
                <a:cubicBezTo>
                  <a:pt x="6" y="7"/>
                  <a:pt x="13" y="8"/>
                  <a:pt x="20" y="4"/>
                </a:cubicBezTo>
                <a:cubicBezTo>
                  <a:pt x="28" y="0"/>
                  <a:pt x="37" y="5"/>
                  <a:pt x="39" y="12"/>
                </a:cubicBezTo>
                <a:cubicBezTo>
                  <a:pt x="51" y="11"/>
                  <a:pt x="57" y="31"/>
                  <a:pt x="52" y="39"/>
                </a:cubicBezTo>
                <a:cubicBezTo>
                  <a:pt x="47" y="40"/>
                  <a:pt x="38" y="26"/>
                  <a:pt x="39" y="21"/>
                </a:cubicBezTo>
                <a:cubicBezTo>
                  <a:pt x="36" y="22"/>
                  <a:pt x="19" y="25"/>
                  <a:pt x="12" y="22"/>
                </a:cubicBezTo>
                <a:cubicBezTo>
                  <a:pt x="5" y="20"/>
                  <a:pt x="0" y="10"/>
                  <a:pt x="6" y="3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Freeform 1501">
            <a:extLst>
              <a:ext uri="{FF2B5EF4-FFF2-40B4-BE49-F238E27FC236}">
                <a16:creationId xmlns:a16="http://schemas.microsoft.com/office/drawing/2014/main" id="{2A34F538-D9B3-4587-81A4-F1AEE42E6BDE}"/>
              </a:ext>
            </a:extLst>
          </p:cNvPr>
          <p:cNvSpPr>
            <a:spLocks/>
          </p:cNvSpPr>
          <p:nvPr/>
        </p:nvSpPr>
        <p:spPr bwMode="auto">
          <a:xfrm>
            <a:off x="11739943" y="6301618"/>
            <a:ext cx="118963" cy="212880"/>
          </a:xfrm>
          <a:custGeom>
            <a:avLst/>
            <a:gdLst>
              <a:gd name="T0" fmla="*/ 39 w 230"/>
              <a:gd name="T1" fmla="*/ 1 h 409"/>
              <a:gd name="T2" fmla="*/ 28 w 230"/>
              <a:gd name="T3" fmla="*/ 409 h 409"/>
              <a:gd name="T4" fmla="*/ 210 w 230"/>
              <a:gd name="T5" fmla="*/ 398 h 409"/>
              <a:gd name="T6" fmla="*/ 137 w 230"/>
              <a:gd name="T7" fmla="*/ 1 h 409"/>
              <a:gd name="T8" fmla="*/ 39 w 230"/>
              <a:gd name="T9" fmla="*/ 1 h 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0" h="409">
                <a:moveTo>
                  <a:pt x="39" y="1"/>
                </a:moveTo>
                <a:cubicBezTo>
                  <a:pt x="55" y="85"/>
                  <a:pt x="0" y="269"/>
                  <a:pt x="28" y="409"/>
                </a:cubicBezTo>
                <a:cubicBezTo>
                  <a:pt x="73" y="400"/>
                  <a:pt x="166" y="397"/>
                  <a:pt x="210" y="398"/>
                </a:cubicBezTo>
                <a:cubicBezTo>
                  <a:pt x="230" y="318"/>
                  <a:pt x="205" y="0"/>
                  <a:pt x="137" y="1"/>
                </a:cubicBezTo>
                <a:cubicBezTo>
                  <a:pt x="120" y="1"/>
                  <a:pt x="63" y="1"/>
                  <a:pt x="39" y="1"/>
                </a:cubicBezTo>
                <a:close/>
              </a:path>
            </a:pathLst>
          </a:custGeom>
          <a:solidFill>
            <a:srgbClr val="6329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Freeform 1502">
            <a:extLst>
              <a:ext uri="{FF2B5EF4-FFF2-40B4-BE49-F238E27FC236}">
                <a16:creationId xmlns:a16="http://schemas.microsoft.com/office/drawing/2014/main" id="{9CCAA2FD-A77B-454D-A2C7-F493C447DB78}"/>
              </a:ext>
            </a:extLst>
          </p:cNvPr>
          <p:cNvSpPr>
            <a:spLocks/>
          </p:cNvSpPr>
          <p:nvPr/>
        </p:nvSpPr>
        <p:spPr bwMode="auto">
          <a:xfrm>
            <a:off x="11766240" y="6302870"/>
            <a:ext cx="10018" cy="6262"/>
          </a:xfrm>
          <a:custGeom>
            <a:avLst/>
            <a:gdLst>
              <a:gd name="T0" fmla="*/ 0 w 19"/>
              <a:gd name="T1" fmla="*/ 13 h 13"/>
              <a:gd name="T2" fmla="*/ 3 w 19"/>
              <a:gd name="T3" fmla="*/ 0 h 13"/>
              <a:gd name="T4" fmla="*/ 18 w 19"/>
              <a:gd name="T5" fmla="*/ 0 h 13"/>
              <a:gd name="T6" fmla="*/ 19 w 19"/>
              <a:gd name="T7" fmla="*/ 13 h 13"/>
              <a:gd name="T8" fmla="*/ 0 w 19"/>
              <a:gd name="T9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" h="13">
                <a:moveTo>
                  <a:pt x="0" y="13"/>
                </a:moveTo>
                <a:cubicBezTo>
                  <a:pt x="3" y="0"/>
                  <a:pt x="3" y="0"/>
                  <a:pt x="3" y="0"/>
                </a:cubicBezTo>
                <a:cubicBezTo>
                  <a:pt x="8" y="0"/>
                  <a:pt x="13" y="0"/>
                  <a:pt x="18" y="0"/>
                </a:cubicBezTo>
                <a:cubicBezTo>
                  <a:pt x="19" y="13"/>
                  <a:pt x="19" y="13"/>
                  <a:pt x="19" y="13"/>
                </a:cubicBezTo>
                <a:lnTo>
                  <a:pt x="0" y="13"/>
                </a:ln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Freeform 1503">
            <a:extLst>
              <a:ext uri="{FF2B5EF4-FFF2-40B4-BE49-F238E27FC236}">
                <a16:creationId xmlns:a16="http://schemas.microsoft.com/office/drawing/2014/main" id="{D2E20A1B-DDA6-46E1-9745-98DDB2BE2FA0}"/>
              </a:ext>
            </a:extLst>
          </p:cNvPr>
          <p:cNvSpPr>
            <a:spLocks/>
          </p:cNvSpPr>
          <p:nvPr/>
        </p:nvSpPr>
        <p:spPr bwMode="auto">
          <a:xfrm>
            <a:off x="11759979" y="6304122"/>
            <a:ext cx="22540" cy="123972"/>
          </a:xfrm>
          <a:custGeom>
            <a:avLst/>
            <a:gdLst>
              <a:gd name="T0" fmla="*/ 27 w 42"/>
              <a:gd name="T1" fmla="*/ 11 h 237"/>
              <a:gd name="T2" fmla="*/ 15 w 42"/>
              <a:gd name="T3" fmla="*/ 10 h 237"/>
              <a:gd name="T4" fmla="*/ 0 w 42"/>
              <a:gd name="T5" fmla="*/ 217 h 237"/>
              <a:gd name="T6" fmla="*/ 23 w 42"/>
              <a:gd name="T7" fmla="*/ 237 h 237"/>
              <a:gd name="T8" fmla="*/ 42 w 42"/>
              <a:gd name="T9" fmla="*/ 213 h 237"/>
              <a:gd name="T10" fmla="*/ 27 w 42"/>
              <a:gd name="T11" fmla="*/ 11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237">
                <a:moveTo>
                  <a:pt x="27" y="11"/>
                </a:moveTo>
                <a:cubicBezTo>
                  <a:pt x="26" y="0"/>
                  <a:pt x="16" y="2"/>
                  <a:pt x="15" y="10"/>
                </a:cubicBezTo>
                <a:cubicBezTo>
                  <a:pt x="11" y="50"/>
                  <a:pt x="4" y="154"/>
                  <a:pt x="0" y="217"/>
                </a:cubicBezTo>
                <a:cubicBezTo>
                  <a:pt x="9" y="225"/>
                  <a:pt x="23" y="237"/>
                  <a:pt x="23" y="237"/>
                </a:cubicBezTo>
                <a:cubicBezTo>
                  <a:pt x="23" y="237"/>
                  <a:pt x="38" y="220"/>
                  <a:pt x="42" y="213"/>
                </a:cubicBezTo>
                <a:cubicBezTo>
                  <a:pt x="30" y="157"/>
                  <a:pt x="30" y="51"/>
                  <a:pt x="27" y="11"/>
                </a:cubicBezTo>
                <a:close/>
              </a:path>
            </a:pathLst>
          </a:custGeom>
          <a:solidFill>
            <a:srgbClr val="8557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Freeform 1504">
            <a:extLst>
              <a:ext uri="{FF2B5EF4-FFF2-40B4-BE49-F238E27FC236}">
                <a16:creationId xmlns:a16="http://schemas.microsoft.com/office/drawing/2014/main" id="{49C6F9F9-E270-47BF-AA54-3F21F004A308}"/>
              </a:ext>
            </a:extLst>
          </p:cNvPr>
          <p:cNvSpPr>
            <a:spLocks/>
          </p:cNvSpPr>
          <p:nvPr/>
        </p:nvSpPr>
        <p:spPr bwMode="auto">
          <a:xfrm>
            <a:off x="11738691" y="6302870"/>
            <a:ext cx="132737" cy="333094"/>
          </a:xfrm>
          <a:custGeom>
            <a:avLst/>
            <a:gdLst>
              <a:gd name="T0" fmla="*/ 83 w 256"/>
              <a:gd name="T1" fmla="*/ 0 h 640"/>
              <a:gd name="T2" fmla="*/ 50 w 256"/>
              <a:gd name="T3" fmla="*/ 149 h 640"/>
              <a:gd name="T4" fmla="*/ 45 w 256"/>
              <a:gd name="T5" fmla="*/ 1 h 640"/>
              <a:gd name="T6" fmla="*/ 22 w 256"/>
              <a:gd name="T7" fmla="*/ 0 h 640"/>
              <a:gd name="T8" fmla="*/ 10 w 256"/>
              <a:gd name="T9" fmla="*/ 405 h 640"/>
              <a:gd name="T10" fmla="*/ 6 w 256"/>
              <a:gd name="T11" fmla="*/ 635 h 640"/>
              <a:gd name="T12" fmla="*/ 87 w 256"/>
              <a:gd name="T13" fmla="*/ 640 h 640"/>
              <a:gd name="T14" fmla="*/ 99 w 256"/>
              <a:gd name="T15" fmla="*/ 544 h 640"/>
              <a:gd name="T16" fmla="*/ 106 w 256"/>
              <a:gd name="T17" fmla="*/ 640 h 640"/>
              <a:gd name="T18" fmla="*/ 256 w 256"/>
              <a:gd name="T19" fmla="*/ 629 h 640"/>
              <a:gd name="T20" fmla="*/ 227 w 256"/>
              <a:gd name="T21" fmla="*/ 334 h 640"/>
              <a:gd name="T22" fmla="*/ 158 w 256"/>
              <a:gd name="T23" fmla="*/ 0 h 640"/>
              <a:gd name="T24" fmla="*/ 83 w 256"/>
              <a:gd name="T25" fmla="*/ 0 h 6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56" h="640">
                <a:moveTo>
                  <a:pt x="83" y="0"/>
                </a:moveTo>
                <a:cubicBezTo>
                  <a:pt x="50" y="149"/>
                  <a:pt x="50" y="149"/>
                  <a:pt x="50" y="149"/>
                </a:cubicBezTo>
                <a:cubicBezTo>
                  <a:pt x="45" y="1"/>
                  <a:pt x="45" y="1"/>
                  <a:pt x="45" y="1"/>
                </a:cubicBezTo>
                <a:cubicBezTo>
                  <a:pt x="45" y="1"/>
                  <a:pt x="34" y="0"/>
                  <a:pt x="22" y="0"/>
                </a:cubicBezTo>
                <a:cubicBezTo>
                  <a:pt x="0" y="69"/>
                  <a:pt x="10" y="405"/>
                  <a:pt x="10" y="405"/>
                </a:cubicBezTo>
                <a:cubicBezTo>
                  <a:pt x="10" y="405"/>
                  <a:pt x="2" y="552"/>
                  <a:pt x="6" y="635"/>
                </a:cubicBezTo>
                <a:cubicBezTo>
                  <a:pt x="31" y="637"/>
                  <a:pt x="87" y="640"/>
                  <a:pt x="87" y="640"/>
                </a:cubicBezTo>
                <a:cubicBezTo>
                  <a:pt x="99" y="544"/>
                  <a:pt x="99" y="544"/>
                  <a:pt x="99" y="544"/>
                </a:cubicBezTo>
                <a:cubicBezTo>
                  <a:pt x="106" y="640"/>
                  <a:pt x="106" y="640"/>
                  <a:pt x="106" y="640"/>
                </a:cubicBezTo>
                <a:cubicBezTo>
                  <a:pt x="256" y="629"/>
                  <a:pt x="256" y="629"/>
                  <a:pt x="256" y="629"/>
                </a:cubicBezTo>
                <a:cubicBezTo>
                  <a:pt x="231" y="566"/>
                  <a:pt x="226" y="456"/>
                  <a:pt x="227" y="334"/>
                </a:cubicBezTo>
                <a:cubicBezTo>
                  <a:pt x="228" y="191"/>
                  <a:pt x="187" y="0"/>
                  <a:pt x="158" y="0"/>
                </a:cubicBezTo>
                <a:cubicBezTo>
                  <a:pt x="129" y="0"/>
                  <a:pt x="83" y="0"/>
                  <a:pt x="83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Freeform 1505">
            <a:extLst>
              <a:ext uri="{FF2B5EF4-FFF2-40B4-BE49-F238E27FC236}">
                <a16:creationId xmlns:a16="http://schemas.microsoft.com/office/drawing/2014/main" id="{483A4969-BBBB-4560-890E-D455DE47FF2F}"/>
              </a:ext>
            </a:extLst>
          </p:cNvPr>
          <p:cNvSpPr>
            <a:spLocks/>
          </p:cNvSpPr>
          <p:nvPr/>
        </p:nvSpPr>
        <p:spPr bwMode="auto">
          <a:xfrm>
            <a:off x="11674827" y="6406805"/>
            <a:ext cx="8766" cy="6262"/>
          </a:xfrm>
          <a:custGeom>
            <a:avLst/>
            <a:gdLst>
              <a:gd name="T0" fmla="*/ 16 w 16"/>
              <a:gd name="T1" fmla="*/ 6 h 12"/>
              <a:gd name="T2" fmla="*/ 6 w 16"/>
              <a:gd name="T3" fmla="*/ 1 h 12"/>
              <a:gd name="T4" fmla="*/ 1 w 16"/>
              <a:gd name="T5" fmla="*/ 2 h 12"/>
              <a:gd name="T6" fmla="*/ 3 w 16"/>
              <a:gd name="T7" fmla="*/ 7 h 12"/>
              <a:gd name="T8" fmla="*/ 13 w 16"/>
              <a:gd name="T9" fmla="*/ 12 h 12"/>
              <a:gd name="T10" fmla="*/ 16 w 16"/>
              <a:gd name="T11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" h="12">
                <a:moveTo>
                  <a:pt x="16" y="6"/>
                </a:moveTo>
                <a:cubicBezTo>
                  <a:pt x="6" y="1"/>
                  <a:pt x="6" y="1"/>
                  <a:pt x="6" y="1"/>
                </a:cubicBezTo>
                <a:cubicBezTo>
                  <a:pt x="4" y="0"/>
                  <a:pt x="2" y="0"/>
                  <a:pt x="1" y="2"/>
                </a:cubicBezTo>
                <a:cubicBezTo>
                  <a:pt x="0" y="4"/>
                  <a:pt x="1" y="6"/>
                  <a:pt x="3" y="7"/>
                </a:cubicBezTo>
                <a:cubicBezTo>
                  <a:pt x="13" y="12"/>
                  <a:pt x="13" y="12"/>
                  <a:pt x="13" y="12"/>
                </a:cubicBezTo>
                <a:lnTo>
                  <a:pt x="16" y="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" name="Freeform 1506">
            <a:extLst>
              <a:ext uri="{FF2B5EF4-FFF2-40B4-BE49-F238E27FC236}">
                <a16:creationId xmlns:a16="http://schemas.microsoft.com/office/drawing/2014/main" id="{8A8A00A1-D0CD-4CF1-8943-A8DF508CBE3C}"/>
              </a:ext>
            </a:extLst>
          </p:cNvPr>
          <p:cNvSpPr>
            <a:spLocks/>
          </p:cNvSpPr>
          <p:nvPr/>
        </p:nvSpPr>
        <p:spPr bwMode="auto">
          <a:xfrm>
            <a:off x="11661052" y="6409310"/>
            <a:ext cx="32558" cy="20036"/>
          </a:xfrm>
          <a:custGeom>
            <a:avLst/>
            <a:gdLst>
              <a:gd name="T0" fmla="*/ 43 w 63"/>
              <a:gd name="T1" fmla="*/ 0 h 38"/>
              <a:gd name="T2" fmla="*/ 2 w 63"/>
              <a:gd name="T3" fmla="*/ 13 h 38"/>
              <a:gd name="T4" fmla="*/ 0 w 63"/>
              <a:gd name="T5" fmla="*/ 17 h 38"/>
              <a:gd name="T6" fmla="*/ 5 w 63"/>
              <a:gd name="T7" fmla="*/ 20 h 38"/>
              <a:gd name="T8" fmla="*/ 24 w 63"/>
              <a:gd name="T9" fmla="*/ 13 h 38"/>
              <a:gd name="T10" fmla="*/ 25 w 63"/>
              <a:gd name="T11" fmla="*/ 14 h 38"/>
              <a:gd name="T12" fmla="*/ 25 w 63"/>
              <a:gd name="T13" fmla="*/ 14 h 38"/>
              <a:gd name="T14" fmla="*/ 19 w 63"/>
              <a:gd name="T15" fmla="*/ 16 h 38"/>
              <a:gd name="T16" fmla="*/ 17 w 63"/>
              <a:gd name="T17" fmla="*/ 21 h 38"/>
              <a:gd name="T18" fmla="*/ 21 w 63"/>
              <a:gd name="T19" fmla="*/ 23 h 38"/>
              <a:gd name="T20" fmla="*/ 27 w 63"/>
              <a:gd name="T21" fmla="*/ 21 h 38"/>
              <a:gd name="T22" fmla="*/ 27 w 63"/>
              <a:gd name="T23" fmla="*/ 21 h 38"/>
              <a:gd name="T24" fmla="*/ 27 w 63"/>
              <a:gd name="T25" fmla="*/ 22 h 38"/>
              <a:gd name="T26" fmla="*/ 24 w 63"/>
              <a:gd name="T27" fmla="*/ 23 h 38"/>
              <a:gd name="T28" fmla="*/ 22 w 63"/>
              <a:gd name="T29" fmla="*/ 27 h 38"/>
              <a:gd name="T30" fmla="*/ 26 w 63"/>
              <a:gd name="T31" fmla="*/ 30 h 38"/>
              <a:gd name="T32" fmla="*/ 29 w 63"/>
              <a:gd name="T33" fmla="*/ 29 h 38"/>
              <a:gd name="T34" fmla="*/ 30 w 63"/>
              <a:gd name="T35" fmla="*/ 29 h 38"/>
              <a:gd name="T36" fmla="*/ 30 w 63"/>
              <a:gd name="T37" fmla="*/ 30 h 38"/>
              <a:gd name="T38" fmla="*/ 27 w 63"/>
              <a:gd name="T39" fmla="*/ 30 h 38"/>
              <a:gd name="T40" fmla="*/ 25 w 63"/>
              <a:gd name="T41" fmla="*/ 35 h 38"/>
              <a:gd name="T42" fmla="*/ 29 w 63"/>
              <a:gd name="T43" fmla="*/ 37 h 38"/>
              <a:gd name="T44" fmla="*/ 49 w 63"/>
              <a:gd name="T45" fmla="*/ 31 h 38"/>
              <a:gd name="T46" fmla="*/ 52 w 63"/>
              <a:gd name="T47" fmla="*/ 32 h 38"/>
              <a:gd name="T48" fmla="*/ 63 w 63"/>
              <a:gd name="T49" fmla="*/ 10 h 38"/>
              <a:gd name="T50" fmla="*/ 43 w 63"/>
              <a:gd name="T51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63" h="38">
                <a:moveTo>
                  <a:pt x="43" y="0"/>
                </a:moveTo>
                <a:cubicBezTo>
                  <a:pt x="2" y="13"/>
                  <a:pt x="2" y="13"/>
                  <a:pt x="2" y="13"/>
                </a:cubicBezTo>
                <a:cubicBezTo>
                  <a:pt x="1" y="13"/>
                  <a:pt x="0" y="15"/>
                  <a:pt x="0" y="17"/>
                </a:cubicBezTo>
                <a:cubicBezTo>
                  <a:pt x="1" y="19"/>
                  <a:pt x="3" y="20"/>
                  <a:pt x="5" y="20"/>
                </a:cubicBezTo>
                <a:cubicBezTo>
                  <a:pt x="24" y="13"/>
                  <a:pt x="24" y="13"/>
                  <a:pt x="24" y="13"/>
                </a:cubicBezTo>
                <a:cubicBezTo>
                  <a:pt x="25" y="13"/>
                  <a:pt x="25" y="13"/>
                  <a:pt x="25" y="14"/>
                </a:cubicBezTo>
                <a:cubicBezTo>
                  <a:pt x="25" y="14"/>
                  <a:pt x="25" y="14"/>
                  <a:pt x="25" y="14"/>
                </a:cubicBezTo>
                <a:cubicBezTo>
                  <a:pt x="19" y="16"/>
                  <a:pt x="19" y="16"/>
                  <a:pt x="19" y="16"/>
                </a:cubicBezTo>
                <a:cubicBezTo>
                  <a:pt x="17" y="17"/>
                  <a:pt x="16" y="19"/>
                  <a:pt x="17" y="21"/>
                </a:cubicBezTo>
                <a:cubicBezTo>
                  <a:pt x="17" y="22"/>
                  <a:pt x="19" y="23"/>
                  <a:pt x="21" y="23"/>
                </a:cubicBezTo>
                <a:cubicBezTo>
                  <a:pt x="27" y="21"/>
                  <a:pt x="27" y="21"/>
                  <a:pt x="27" y="21"/>
                </a:cubicBezTo>
                <a:cubicBezTo>
                  <a:pt x="27" y="21"/>
                  <a:pt x="27" y="21"/>
                  <a:pt x="27" y="21"/>
                </a:cubicBezTo>
                <a:cubicBezTo>
                  <a:pt x="27" y="22"/>
                  <a:pt x="27" y="22"/>
                  <a:pt x="27" y="22"/>
                </a:cubicBezTo>
                <a:cubicBezTo>
                  <a:pt x="24" y="23"/>
                  <a:pt x="24" y="23"/>
                  <a:pt x="24" y="23"/>
                </a:cubicBezTo>
                <a:cubicBezTo>
                  <a:pt x="22" y="24"/>
                  <a:pt x="21" y="26"/>
                  <a:pt x="22" y="27"/>
                </a:cubicBezTo>
                <a:cubicBezTo>
                  <a:pt x="22" y="29"/>
                  <a:pt x="24" y="30"/>
                  <a:pt x="26" y="30"/>
                </a:cubicBezTo>
                <a:cubicBezTo>
                  <a:pt x="29" y="29"/>
                  <a:pt x="29" y="29"/>
                  <a:pt x="29" y="29"/>
                </a:cubicBezTo>
                <a:cubicBezTo>
                  <a:pt x="29" y="29"/>
                  <a:pt x="30" y="29"/>
                  <a:pt x="30" y="29"/>
                </a:cubicBezTo>
                <a:cubicBezTo>
                  <a:pt x="30" y="29"/>
                  <a:pt x="30" y="30"/>
                  <a:pt x="30" y="30"/>
                </a:cubicBezTo>
                <a:cubicBezTo>
                  <a:pt x="27" y="30"/>
                  <a:pt x="27" y="30"/>
                  <a:pt x="27" y="30"/>
                </a:cubicBezTo>
                <a:cubicBezTo>
                  <a:pt x="25" y="31"/>
                  <a:pt x="24" y="33"/>
                  <a:pt x="25" y="35"/>
                </a:cubicBezTo>
                <a:cubicBezTo>
                  <a:pt x="26" y="37"/>
                  <a:pt x="28" y="38"/>
                  <a:pt x="29" y="37"/>
                </a:cubicBezTo>
                <a:cubicBezTo>
                  <a:pt x="49" y="31"/>
                  <a:pt x="49" y="31"/>
                  <a:pt x="49" y="31"/>
                </a:cubicBezTo>
                <a:cubicBezTo>
                  <a:pt x="52" y="32"/>
                  <a:pt x="52" y="32"/>
                  <a:pt x="52" y="32"/>
                </a:cubicBezTo>
                <a:cubicBezTo>
                  <a:pt x="63" y="10"/>
                  <a:pt x="63" y="10"/>
                  <a:pt x="63" y="10"/>
                </a:cubicBezTo>
                <a:lnTo>
                  <a:pt x="4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Freeform 1507">
            <a:extLst>
              <a:ext uri="{FF2B5EF4-FFF2-40B4-BE49-F238E27FC236}">
                <a16:creationId xmlns:a16="http://schemas.microsoft.com/office/drawing/2014/main" id="{C8E4A0C2-4FBE-48AA-8AAA-6E23F037F832}"/>
              </a:ext>
            </a:extLst>
          </p:cNvPr>
          <p:cNvSpPr>
            <a:spLocks/>
          </p:cNvSpPr>
          <p:nvPr/>
        </p:nvSpPr>
        <p:spPr bwMode="auto">
          <a:xfrm>
            <a:off x="11724916" y="6310383"/>
            <a:ext cx="108945" cy="128980"/>
          </a:xfrm>
          <a:custGeom>
            <a:avLst/>
            <a:gdLst>
              <a:gd name="T0" fmla="*/ 206 w 210"/>
              <a:gd name="T1" fmla="*/ 34 h 247"/>
              <a:gd name="T2" fmla="*/ 132 w 210"/>
              <a:gd name="T3" fmla="*/ 26 h 247"/>
              <a:gd name="T4" fmla="*/ 0 w 210"/>
              <a:gd name="T5" fmla="*/ 192 h 247"/>
              <a:gd name="T6" fmla="*/ 35 w 210"/>
              <a:gd name="T7" fmla="*/ 224 h 247"/>
              <a:gd name="T8" fmla="*/ 35 w 210"/>
              <a:gd name="T9" fmla="*/ 245 h 247"/>
              <a:gd name="T10" fmla="*/ 206 w 210"/>
              <a:gd name="T11" fmla="*/ 34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0" h="247">
                <a:moveTo>
                  <a:pt x="206" y="34"/>
                </a:moveTo>
                <a:cubicBezTo>
                  <a:pt x="210" y="3"/>
                  <a:pt x="134" y="0"/>
                  <a:pt x="132" y="26"/>
                </a:cubicBezTo>
                <a:cubicBezTo>
                  <a:pt x="125" y="166"/>
                  <a:pt x="104" y="183"/>
                  <a:pt x="0" y="192"/>
                </a:cubicBezTo>
                <a:cubicBezTo>
                  <a:pt x="12" y="205"/>
                  <a:pt x="24" y="216"/>
                  <a:pt x="35" y="224"/>
                </a:cubicBezTo>
                <a:cubicBezTo>
                  <a:pt x="35" y="231"/>
                  <a:pt x="35" y="238"/>
                  <a:pt x="35" y="245"/>
                </a:cubicBezTo>
                <a:cubicBezTo>
                  <a:pt x="168" y="247"/>
                  <a:pt x="192" y="174"/>
                  <a:pt x="206" y="34"/>
                </a:cubicBezTo>
                <a:close/>
              </a:path>
            </a:pathLst>
          </a:custGeom>
          <a:solidFill>
            <a:srgbClr val="0094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Freeform 1508">
            <a:extLst>
              <a:ext uri="{FF2B5EF4-FFF2-40B4-BE49-F238E27FC236}">
                <a16:creationId xmlns:a16="http://schemas.microsoft.com/office/drawing/2014/main" id="{9D7B48AE-0F72-4ACA-A058-F5C805571839}"/>
              </a:ext>
            </a:extLst>
          </p:cNvPr>
          <p:cNvSpPr>
            <a:spLocks/>
          </p:cNvSpPr>
          <p:nvPr/>
        </p:nvSpPr>
        <p:spPr bwMode="auto">
          <a:xfrm>
            <a:off x="11689854" y="6302870"/>
            <a:ext cx="144007" cy="149016"/>
          </a:xfrm>
          <a:custGeom>
            <a:avLst/>
            <a:gdLst>
              <a:gd name="T0" fmla="*/ 201 w 279"/>
              <a:gd name="T1" fmla="*/ 42 h 286"/>
              <a:gd name="T2" fmla="*/ 274 w 279"/>
              <a:gd name="T3" fmla="*/ 49 h 286"/>
              <a:gd name="T4" fmla="*/ 0 w 279"/>
              <a:gd name="T5" fmla="*/ 245 h 286"/>
              <a:gd name="T6" fmla="*/ 15 w 279"/>
              <a:gd name="T7" fmla="*/ 214 h 286"/>
              <a:gd name="T8" fmla="*/ 201 w 279"/>
              <a:gd name="T9" fmla="*/ 42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9" h="286">
                <a:moveTo>
                  <a:pt x="201" y="42"/>
                </a:moveTo>
                <a:cubicBezTo>
                  <a:pt x="203" y="0"/>
                  <a:pt x="279" y="3"/>
                  <a:pt x="274" y="49"/>
                </a:cubicBezTo>
                <a:cubicBezTo>
                  <a:pt x="258" y="213"/>
                  <a:pt x="225" y="286"/>
                  <a:pt x="0" y="245"/>
                </a:cubicBezTo>
                <a:cubicBezTo>
                  <a:pt x="15" y="214"/>
                  <a:pt x="15" y="214"/>
                  <a:pt x="15" y="214"/>
                </a:cubicBezTo>
                <a:cubicBezTo>
                  <a:pt x="167" y="204"/>
                  <a:pt x="192" y="206"/>
                  <a:pt x="201" y="4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94" name="Rectangle 1493">
            <a:extLst>
              <a:ext uri="{FF2B5EF4-FFF2-40B4-BE49-F238E27FC236}">
                <a16:creationId xmlns:a16="http://schemas.microsoft.com/office/drawing/2014/main" id="{469ACDDF-A9E4-474D-92CC-C799C77AA484}"/>
              </a:ext>
            </a:extLst>
          </p:cNvPr>
          <p:cNvSpPr>
            <a:spLocks/>
          </p:cNvSpPr>
          <p:nvPr/>
        </p:nvSpPr>
        <p:spPr>
          <a:xfrm>
            <a:off x="0" y="1454221"/>
            <a:ext cx="6350848" cy="4356521"/>
          </a:xfrm>
          <a:prstGeom prst="rect">
            <a:avLst/>
          </a:prstGeom>
          <a:gradFill flip="none" rotWithShape="1">
            <a:gsLst>
              <a:gs pos="0">
                <a:srgbClr val="80CAD9"/>
              </a:gs>
              <a:gs pos="100000">
                <a:srgbClr val="CCEAF0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8FEF00-866B-4B87-A1B8-569800CC586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50204" y="1941824"/>
            <a:ext cx="6607102" cy="37959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marL="192024" lvl="1" indent="-192024" defTabSz="1193860">
              <a:spcBef>
                <a:spcPts val="950"/>
              </a:spcBef>
              <a:buClr>
                <a:srgbClr val="017DBB"/>
              </a:buClr>
              <a:buFont typeface="Wingdings" panose="05000000000000000000" pitchFamily="2" charset="2"/>
              <a:buChar char="§"/>
              <a:defRPr/>
            </a:pPr>
            <a:r>
              <a:rPr lang="en-US" sz="1200" b="1" dirty="0">
                <a:solidFill>
                  <a:srgbClr val="017DBB"/>
                </a:solidFill>
              </a:rPr>
              <a:t>Prioritize impact and empowerment over consensus</a:t>
            </a:r>
          </a:p>
          <a:p>
            <a:pPr marL="192024" lvl="1" indent="-192024" defTabSz="1193860">
              <a:spcBef>
                <a:spcPts val="950"/>
              </a:spcBef>
              <a:buClr>
                <a:srgbClr val="017DBB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Focus on </a:t>
            </a:r>
            <a:r>
              <a:rPr lang="en-US" sz="1200" b="1" dirty="0">
                <a:solidFill>
                  <a:srgbClr val="017DBB"/>
                </a:solidFill>
              </a:rPr>
              <a:t>products that align to Enbridge’s digital strategy</a:t>
            </a:r>
          </a:p>
          <a:p>
            <a:pPr marL="192024" lvl="1" indent="-192024" defTabSz="1193860">
              <a:spcBef>
                <a:spcPts val="950"/>
              </a:spcBef>
              <a:buClr>
                <a:srgbClr val="017DBB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Take a </a:t>
            </a:r>
            <a:r>
              <a:rPr lang="en-US" sz="1200" b="1" dirty="0">
                <a:solidFill>
                  <a:srgbClr val="017DBB"/>
                </a:solidFill>
              </a:rPr>
              <a:t>user-centric approach </a:t>
            </a:r>
            <a:r>
              <a:rPr lang="en-US" sz="1200" dirty="0">
                <a:solidFill>
                  <a:srgbClr val="000000"/>
                </a:solidFill>
              </a:rPr>
              <a:t>to everything we do</a:t>
            </a:r>
          </a:p>
          <a:p>
            <a:pPr marL="192024" lvl="1" indent="-192024" defTabSz="1193860">
              <a:spcBef>
                <a:spcPts val="950"/>
              </a:spcBef>
              <a:buClr>
                <a:srgbClr val="017DBB"/>
              </a:buClr>
              <a:buFont typeface="Wingdings" panose="05000000000000000000" pitchFamily="2" charset="2"/>
              <a:buChar char="§"/>
              <a:defRPr/>
            </a:pPr>
            <a:r>
              <a:rPr lang="en-US" sz="1200" b="1" dirty="0">
                <a:solidFill>
                  <a:srgbClr val="017DBB"/>
                </a:solidFill>
              </a:rPr>
              <a:t>Embed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b="1" dirty="0">
                <a:solidFill>
                  <a:srgbClr val="017DBB"/>
                </a:solidFill>
              </a:rPr>
              <a:t>business outcomes as objectives </a:t>
            </a:r>
            <a:r>
              <a:rPr lang="en-US" sz="1200" dirty="0">
                <a:solidFill>
                  <a:srgbClr val="000000"/>
                </a:solidFill>
              </a:rPr>
              <a:t>and </a:t>
            </a:r>
            <a:r>
              <a:rPr lang="en-US" sz="1200" b="1" dirty="0">
                <a:solidFill>
                  <a:srgbClr val="017DBB"/>
                </a:solidFill>
              </a:rPr>
              <a:t>support adoption </a:t>
            </a:r>
            <a:r>
              <a:rPr lang="en-US" sz="1200" dirty="0">
                <a:solidFill>
                  <a:srgbClr val="000000"/>
                </a:solidFill>
              </a:rPr>
              <a:t>of the digital tools and ways of working</a:t>
            </a:r>
          </a:p>
          <a:p>
            <a:pPr marL="192024" lvl="1" indent="-192024" defTabSz="1193860">
              <a:spcBef>
                <a:spcPts val="950"/>
              </a:spcBef>
              <a:buClr>
                <a:srgbClr val="017DBB"/>
              </a:buClr>
              <a:buFont typeface="Wingdings" panose="05000000000000000000" pitchFamily="2" charset="2"/>
              <a:buChar char="§"/>
              <a:defRPr/>
            </a:pPr>
            <a:r>
              <a:rPr lang="en-US" sz="1200" b="1" dirty="0">
                <a:solidFill>
                  <a:srgbClr val="017DBB"/>
                </a:solidFill>
              </a:rPr>
              <a:t>Accelerate existing priorities </a:t>
            </a:r>
            <a:r>
              <a:rPr lang="en-US" sz="1200" dirty="0">
                <a:solidFill>
                  <a:srgbClr val="000000"/>
                </a:solidFill>
              </a:rPr>
              <a:t>and </a:t>
            </a:r>
            <a:r>
              <a:rPr lang="en-US" sz="1200" b="1" dirty="0">
                <a:solidFill>
                  <a:srgbClr val="017DBB"/>
                </a:solidFill>
              </a:rPr>
              <a:t>develop robust prioritization framework </a:t>
            </a:r>
            <a:r>
              <a:rPr lang="en-US" sz="1200" dirty="0">
                <a:solidFill>
                  <a:srgbClr val="000000"/>
                </a:solidFill>
              </a:rPr>
              <a:t>for the future to ensure tight alignment with business leads, setting a high bar to “cash the check” and capture value across reliability, safety, and other outcomes</a:t>
            </a:r>
            <a:endParaRPr lang="en-US" sz="1200" b="1" dirty="0">
              <a:solidFill>
                <a:srgbClr val="017DBB"/>
              </a:solidFill>
            </a:endParaRPr>
          </a:p>
          <a:p>
            <a:pPr marL="192024" lvl="1" indent="-192024" defTabSz="1193860">
              <a:spcBef>
                <a:spcPts val="950"/>
              </a:spcBef>
              <a:buClr>
                <a:srgbClr val="017DBB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Set up a </a:t>
            </a:r>
            <a:r>
              <a:rPr lang="en-US" sz="1200" b="1" dirty="0">
                <a:solidFill>
                  <a:srgbClr val="017DBB"/>
                </a:solidFill>
              </a:rPr>
              <a:t>dynamic and scalable framework, pilot good ideas, and quickly scale </a:t>
            </a:r>
            <a:r>
              <a:rPr lang="en-US" sz="1200" dirty="0">
                <a:solidFill>
                  <a:srgbClr val="000000"/>
                </a:solidFill>
              </a:rPr>
              <a:t>what works</a:t>
            </a:r>
          </a:p>
          <a:p>
            <a:pPr marL="192024" lvl="1" indent="-192024" defTabSz="1193860">
              <a:spcBef>
                <a:spcPts val="950"/>
              </a:spcBef>
              <a:buClr>
                <a:srgbClr val="017DBB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Develop </a:t>
            </a:r>
            <a:r>
              <a:rPr lang="en-US" sz="1200" b="1" dirty="0">
                <a:solidFill>
                  <a:srgbClr val="017DBB"/>
                </a:solidFill>
              </a:rPr>
              <a:t>consistent practices, standards, systems, and culture</a:t>
            </a:r>
            <a:r>
              <a:rPr lang="en-US" sz="1200" dirty="0">
                <a:solidFill>
                  <a:srgbClr val="000000"/>
                </a:solidFill>
              </a:rPr>
              <a:t> across Digital Lab locations to be successful over the expected life cycle</a:t>
            </a:r>
            <a:endParaRPr lang="en-US" sz="1200" b="1" dirty="0">
              <a:solidFill>
                <a:srgbClr val="017DBB"/>
              </a:solidFill>
            </a:endParaRPr>
          </a:p>
          <a:p>
            <a:pPr marL="192024" lvl="1" indent="-192024" defTabSz="1193860">
              <a:spcBef>
                <a:spcPts val="950"/>
              </a:spcBef>
              <a:buClr>
                <a:srgbClr val="017DBB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Ensure </a:t>
            </a:r>
            <a:r>
              <a:rPr lang="en-US" sz="1200" b="1" dirty="0">
                <a:solidFill>
                  <a:srgbClr val="017DBB"/>
                </a:solidFill>
              </a:rPr>
              <a:t>everyone builds significant new capabilities </a:t>
            </a:r>
            <a:r>
              <a:rPr lang="en-US" sz="1200" dirty="0">
                <a:solidFill>
                  <a:srgbClr val="000000"/>
                </a:solidFill>
              </a:rPr>
              <a:t>in digital, new technology stack, and analytics through active coaching and mentorship</a:t>
            </a:r>
          </a:p>
          <a:p>
            <a:pPr marL="192024" lvl="1" indent="-192024" defTabSz="1193860">
              <a:spcBef>
                <a:spcPts val="950"/>
              </a:spcBef>
              <a:buClr>
                <a:srgbClr val="017DBB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The Technology + Innovation Lab will be a </a:t>
            </a:r>
            <a:r>
              <a:rPr lang="en-US" sz="1200" b="1" dirty="0">
                <a:solidFill>
                  <a:srgbClr val="017DBB"/>
                </a:solidFill>
              </a:rPr>
              <a:t>showcase for Enbridge, </a:t>
            </a:r>
            <a:r>
              <a:rPr lang="en-US" sz="1200" dirty="0">
                <a:solidFill>
                  <a:srgbClr val="000000"/>
                </a:solidFill>
              </a:rPr>
              <a:t>leveraging the full Enbridge ecosyste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09EE27-2132-4EFA-B376-D2E28B7A504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50204" y="1590983"/>
            <a:ext cx="695271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marL="0" lvl="1" indent="0" defTabSz="1193860">
              <a:spcBef>
                <a:spcPts val="950"/>
              </a:spcBef>
              <a:buClr>
                <a:srgbClr val="017DBB"/>
              </a:buClr>
              <a:buNone/>
              <a:defRPr/>
            </a:pPr>
            <a:r>
              <a:rPr lang="en-US" dirty="0">
                <a:solidFill>
                  <a:schemeClr val="accent4">
                    <a:lumMod val="75000"/>
                  </a:schemeClr>
                </a:solidFill>
                <a:latin typeface="Georgia" panose="02040502050405020303" pitchFamily="18" charset="0"/>
              </a:rPr>
              <a:t>GUIDING PRINCIPLES FOR THE TECHNOLOGY + INNOVATION LAB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EF9BA58-1478-40CB-91F1-C60EA0E9A954}"/>
              </a:ext>
            </a:extLst>
          </p:cNvPr>
          <p:cNvCxnSpPr/>
          <p:nvPr/>
        </p:nvCxnSpPr>
        <p:spPr>
          <a:xfrm>
            <a:off x="0" y="1447346"/>
            <a:ext cx="12190747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1" name="Straight Connector 1490">
            <a:extLst>
              <a:ext uri="{FF2B5EF4-FFF2-40B4-BE49-F238E27FC236}">
                <a16:creationId xmlns:a16="http://schemas.microsoft.com/office/drawing/2014/main" id="{0CF04D51-A5EA-4C64-830C-F5EF5756DFBA}"/>
              </a:ext>
            </a:extLst>
          </p:cNvPr>
          <p:cNvCxnSpPr/>
          <p:nvPr/>
        </p:nvCxnSpPr>
        <p:spPr>
          <a:xfrm>
            <a:off x="0" y="298987"/>
            <a:ext cx="12190747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53890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A288F9-7E33-42A7-BAF7-7CB3E24818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520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8983" name="think-cell Slide" r:id="rId8" imgW="631" imgH="631" progId="TCLayout.ActiveDocument.1">
                  <p:embed/>
                </p:oleObj>
              </mc:Choice>
              <mc:Fallback>
                <p:oleObj name="think-cell Slide" r:id="rId8" imgW="631" imgH="6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A288F9-7E33-42A7-BAF7-7CB3E2481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572C527-A87F-4E78-9CD7-37973E78875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CA" sz="21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4B4FF9-6222-4D4B-9278-2E986A5A39E2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19108" y="513351"/>
            <a:ext cx="9886427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pPr>
              <a:tabLst/>
            </a:pPr>
            <a:r>
              <a:rPr lang="en-CA" sz="2100" dirty="0"/>
              <a:t>The Lab applies these guiding principles in delivering innovative and impactful advanced-technology products through agile ways of working</a:t>
            </a:r>
            <a:endParaRPr lang="en-US" sz="21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2750193-FA24-4232-B045-0B457925F840}"/>
              </a:ext>
            </a:extLst>
          </p:cNvPr>
          <p:cNvSpPr txBox="1">
            <a:spLocks/>
          </p:cNvSpPr>
          <p:nvPr/>
        </p:nvSpPr>
        <p:spPr>
          <a:xfrm>
            <a:off x="419107" y="1686366"/>
            <a:ext cx="11353802" cy="391646"/>
          </a:xfrm>
          <a:prstGeom prst="rect">
            <a:avLst/>
          </a:prstGeom>
          <a:solidFill>
            <a:schemeClr val="accent1"/>
          </a:solidFill>
          <a:ln>
            <a:solidFill>
              <a:srgbClr val="FFFFFF"/>
            </a:solidFill>
          </a:ln>
          <a:effectLst/>
        </p:spPr>
        <p:txBody>
          <a:bodyPr vert="horz" wrap="square" lIns="72009" tIns="72009" rIns="72009" bIns="72009" rtlCol="0" anchor="ctr" anchorCtr="0">
            <a:no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lvl="1" indent="0" algn="ctr">
              <a:buNone/>
            </a:pPr>
            <a:r>
              <a:rPr lang="en-US" b="1" dirty="0">
                <a:latin typeface="+mj-lt"/>
              </a:rPr>
              <a:t>Scope of the Technology + Innovation Lab</a:t>
            </a:r>
          </a:p>
        </p:txBody>
      </p:sp>
      <p:sp>
        <p:nvSpPr>
          <p:cNvPr id="12" name="Rectangle 7">
            <a:extLst>
              <a:ext uri="{FF2B5EF4-FFF2-40B4-BE49-F238E27FC236}">
                <a16:creationId xmlns:a16="http://schemas.microsoft.com/office/drawing/2014/main" id="{95FA840D-BCD9-4903-B3F2-74C1EEA7E1D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210314" y="2727828"/>
            <a:ext cx="5562595" cy="302903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spcBef>
                <a:spcPts val="500"/>
              </a:spcBef>
              <a:buClr>
                <a:srgbClr val="000000"/>
              </a:buClr>
              <a:buNone/>
              <a:defRPr/>
            </a:pPr>
            <a:r>
              <a:rPr lang="en-US" sz="1600" b="1" dirty="0">
                <a:solidFill>
                  <a:srgbClr val="000000"/>
                </a:solidFill>
              </a:rPr>
              <a:t>The Lab will have multiple operational elements around the products it builds</a:t>
            </a:r>
            <a:r>
              <a:rPr lang="en-US" sz="1600" dirty="0">
                <a:solidFill>
                  <a:srgbClr val="000000"/>
                </a:solidFill>
              </a:rPr>
              <a:t>:</a:t>
            </a:r>
          </a:p>
          <a:p>
            <a:pPr lvl="1">
              <a:spcBef>
                <a:spcPts val="500"/>
              </a:spcBef>
              <a:buClr>
                <a:srgbClr val="000000"/>
              </a:buClr>
              <a:defRPr/>
            </a:pPr>
            <a:r>
              <a:rPr lang="en-US" sz="1600" dirty="0">
                <a:solidFill>
                  <a:srgbClr val="000000"/>
                </a:solidFill>
              </a:rPr>
              <a:t>Rapid delivery (&lt;= 12 weeks to MVP) through agile teams of technology products</a:t>
            </a:r>
          </a:p>
          <a:p>
            <a:pPr lvl="1">
              <a:spcBef>
                <a:spcPts val="500"/>
              </a:spcBef>
              <a:buClr>
                <a:srgbClr val="000000"/>
              </a:buClr>
              <a:defRPr/>
            </a:pPr>
            <a:r>
              <a:rPr lang="en-US" sz="1600" dirty="0">
                <a:solidFill>
                  <a:srgbClr val="000000"/>
                </a:solidFill>
              </a:rPr>
              <a:t>Change management on delivered digital products</a:t>
            </a:r>
          </a:p>
          <a:p>
            <a:pPr lvl="1">
              <a:spcBef>
                <a:spcPts val="500"/>
              </a:spcBef>
              <a:buClr>
                <a:srgbClr val="000000"/>
              </a:buClr>
              <a:defRPr/>
            </a:pPr>
            <a:r>
              <a:rPr lang="en-US" sz="1600" dirty="0">
                <a:solidFill>
                  <a:srgbClr val="000000"/>
                </a:solidFill>
              </a:rPr>
              <a:t>Technical standards regarding advanced analytics and other digital areas as defined by TWG</a:t>
            </a:r>
          </a:p>
          <a:p>
            <a:pPr lvl="1">
              <a:spcBef>
                <a:spcPts val="500"/>
              </a:spcBef>
              <a:buClr>
                <a:srgbClr val="000000"/>
              </a:buClr>
              <a:defRPr/>
            </a:pPr>
            <a:r>
              <a:rPr lang="en-US" sz="1600" dirty="0">
                <a:solidFill>
                  <a:srgbClr val="000000"/>
                </a:solidFill>
              </a:rPr>
              <a:t>Permanent teams will operate against their respective strategic areas</a:t>
            </a:r>
          </a:p>
          <a:p>
            <a:pPr lvl="1">
              <a:spcBef>
                <a:spcPts val="500"/>
              </a:spcBef>
              <a:buClr>
                <a:srgbClr val="000000"/>
              </a:buClr>
              <a:defRPr/>
            </a:pPr>
            <a:r>
              <a:rPr lang="en-US" sz="1600" dirty="0">
                <a:solidFill>
                  <a:srgbClr val="000000"/>
                </a:solidFill>
              </a:rPr>
              <a:t>Infrastructure and operations support as part of a Core Foundations team (roll-out TBD)</a:t>
            </a:r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id="{5BBB17A4-2449-4174-9712-5BADE8DC8DC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19107" y="2727828"/>
            <a:ext cx="5416882" cy="2226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-69648">
              <a:spcBef>
                <a:spcPts val="500"/>
              </a:spcBef>
              <a:buClr>
                <a:srgbClr val="000000"/>
              </a:buClr>
              <a:buNone/>
              <a:defRPr/>
            </a:pPr>
            <a:r>
              <a:rPr lang="en-US" sz="1600" b="1" dirty="0">
                <a:solidFill>
                  <a:srgbClr val="000000"/>
                </a:solidFill>
              </a:rPr>
              <a:t>The Lab’s operations will focus on technology products that meet certain critical criteria</a:t>
            </a:r>
            <a:r>
              <a:rPr lang="en-US" sz="1600" dirty="0">
                <a:solidFill>
                  <a:srgbClr val="000000"/>
                </a:solidFill>
              </a:rPr>
              <a:t>:</a:t>
            </a:r>
          </a:p>
          <a:p>
            <a:pPr lvl="1">
              <a:spcBef>
                <a:spcPts val="500"/>
              </a:spcBef>
              <a:buClr>
                <a:srgbClr val="000000"/>
              </a:buClr>
              <a:defRPr/>
            </a:pPr>
            <a:r>
              <a:rPr lang="en-US" sz="1600" dirty="0">
                <a:solidFill>
                  <a:srgbClr val="000000"/>
                </a:solidFill>
              </a:rPr>
              <a:t>Aligned to digital strategy</a:t>
            </a:r>
          </a:p>
          <a:p>
            <a:pPr lvl="1">
              <a:spcBef>
                <a:spcPts val="500"/>
              </a:spcBef>
              <a:buClr>
                <a:srgbClr val="000000"/>
              </a:buClr>
              <a:defRPr/>
            </a:pPr>
            <a:r>
              <a:rPr lang="en-US" sz="1600" dirty="0">
                <a:solidFill>
                  <a:srgbClr val="000000"/>
                </a:solidFill>
              </a:rPr>
              <a:t>Incorporating advanced analytics or related advanced technologies</a:t>
            </a:r>
          </a:p>
          <a:p>
            <a:pPr lvl="1">
              <a:spcBef>
                <a:spcPts val="500"/>
              </a:spcBef>
              <a:buClr>
                <a:srgbClr val="000000"/>
              </a:buClr>
              <a:defRPr/>
            </a:pPr>
            <a:r>
              <a:rPr lang="en-US" sz="1600" dirty="0">
                <a:solidFill>
                  <a:srgbClr val="000000"/>
                </a:solidFill>
              </a:rPr>
              <a:t>Impacting business areas well-positioned for disruption</a:t>
            </a:r>
          </a:p>
          <a:p>
            <a:pPr lvl="1">
              <a:spcBef>
                <a:spcPts val="500"/>
              </a:spcBef>
              <a:buClr>
                <a:srgbClr val="000000"/>
              </a:buClr>
              <a:defRPr/>
            </a:pPr>
            <a:r>
              <a:rPr lang="en-US" sz="1600" dirty="0">
                <a:solidFill>
                  <a:srgbClr val="000000"/>
                </a:solidFill>
              </a:rPr>
              <a:t>Above a threshold of technical feasibility (achievable within a 12-week time period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DF37721-8D8F-4902-86B1-658D13DD3BF2}"/>
              </a:ext>
            </a:extLst>
          </p:cNvPr>
          <p:cNvSpPr txBox="1">
            <a:spLocks/>
          </p:cNvSpPr>
          <p:nvPr/>
        </p:nvSpPr>
        <p:spPr>
          <a:xfrm>
            <a:off x="6206096" y="2209922"/>
            <a:ext cx="5566813" cy="391646"/>
          </a:xfrm>
          <a:prstGeom prst="rect">
            <a:avLst/>
          </a:prstGeom>
          <a:solidFill>
            <a:schemeClr val="accent3"/>
          </a:solidFill>
          <a:ln>
            <a:solidFill>
              <a:srgbClr val="FFFFFF"/>
            </a:solidFill>
          </a:ln>
          <a:effectLst/>
        </p:spPr>
        <p:txBody>
          <a:bodyPr vert="horz" wrap="square" lIns="72009" tIns="72009" rIns="72009" bIns="72009" rtlCol="0" anchor="ctr" anchorCtr="0">
            <a:no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lvl="1" indent="0" algn="ctr">
              <a:buNone/>
            </a:pPr>
            <a:r>
              <a:rPr lang="en-US" b="1" dirty="0">
                <a:solidFill>
                  <a:schemeClr val="bg1"/>
                </a:solidFill>
                <a:latin typeface="+mj-lt"/>
              </a:rPr>
              <a:t>Operat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F61C398-7DC7-45EF-9FB4-1F339AF60EF2}"/>
              </a:ext>
            </a:extLst>
          </p:cNvPr>
          <p:cNvSpPr txBox="1">
            <a:spLocks/>
          </p:cNvSpPr>
          <p:nvPr/>
        </p:nvSpPr>
        <p:spPr>
          <a:xfrm>
            <a:off x="419107" y="2209922"/>
            <a:ext cx="5566813" cy="391646"/>
          </a:xfrm>
          <a:prstGeom prst="rect">
            <a:avLst/>
          </a:prstGeom>
          <a:solidFill>
            <a:schemeClr val="accent3"/>
          </a:solidFill>
          <a:ln>
            <a:solidFill>
              <a:srgbClr val="FFFFFF"/>
            </a:solidFill>
          </a:ln>
          <a:effectLst/>
        </p:spPr>
        <p:txBody>
          <a:bodyPr vert="horz" wrap="square" lIns="72009" tIns="72009" rIns="72009" bIns="72009" rtlCol="0" anchor="ctr" anchorCtr="0">
            <a:no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lvl="1" indent="0" algn="ctr">
              <a:buNone/>
            </a:pPr>
            <a:r>
              <a:rPr lang="en-US" b="1" dirty="0">
                <a:solidFill>
                  <a:schemeClr val="bg1"/>
                </a:solidFill>
                <a:latin typeface="+mj-lt"/>
              </a:rPr>
              <a:t>Conten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EA1402C-BAC6-49BE-840F-B55513567142}"/>
              </a:ext>
            </a:extLst>
          </p:cNvPr>
          <p:cNvCxnSpPr>
            <a:cxnSpLocks/>
          </p:cNvCxnSpPr>
          <p:nvPr/>
        </p:nvCxnSpPr>
        <p:spPr>
          <a:xfrm>
            <a:off x="6096008" y="2727828"/>
            <a:ext cx="0" cy="302903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69278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>
            <a:extLst>
              <a:ext uri="{FF2B5EF4-FFF2-40B4-BE49-F238E27FC236}">
                <a16:creationId xmlns:a16="http://schemas.microsoft.com/office/drawing/2014/main" id="{E7C4372B-15E3-485D-9570-907C22C35B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7488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0006" name="think-cell Slide" r:id="rId14" imgW="631" imgH="631" progId="TCLayout.ActiveDocument.1">
                  <p:embed/>
                </p:oleObj>
              </mc:Choice>
              <mc:Fallback>
                <p:oleObj name="think-cell Slide" r:id="rId14" imgW="631" imgH="631" progId="TCLayout.ActiveDocument.1">
                  <p:embed/>
                  <p:pic>
                    <p:nvPicPr>
                      <p:cNvPr id="80" name="Object 79" hidden="1">
                        <a:extLst>
                          <a:ext uri="{FF2B5EF4-FFF2-40B4-BE49-F238E27FC236}">
                            <a16:creationId xmlns:a16="http://schemas.microsoft.com/office/drawing/2014/main" id="{E7C4372B-15E3-485D-9570-907C22C35B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id="{EE3BDFFD-6A97-484C-820B-95515E60AB3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68131" fontAlgn="auto">
              <a:defRPr/>
            </a:pPr>
            <a:endParaRPr kumimoji="0" lang="en-US" sz="2800" b="1" u="none" strike="noStrike" kern="1200" cap="none" spc="0" normalizeH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7A038E-765B-40B4-9E55-4D56990138A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19108" y="513351"/>
            <a:ext cx="9886427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pPr>
              <a:tabLst/>
            </a:pPr>
            <a:r>
              <a:rPr lang="en-US" dirty="0"/>
              <a:t>The Lab will take high-impact ideas and build, scale, and sustain products to bring them to life 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C83A5CA-596B-4BE3-94CF-2CFF0BEECE7F}"/>
              </a:ext>
            </a:extLst>
          </p:cNvPr>
          <p:cNvGrpSpPr/>
          <p:nvPr/>
        </p:nvGrpSpPr>
        <p:grpSpPr>
          <a:xfrm>
            <a:off x="9644590" y="1570229"/>
            <a:ext cx="1141162" cy="214926"/>
            <a:chOff x="10868471" y="951537"/>
            <a:chExt cx="1141162" cy="214926"/>
          </a:xfrm>
        </p:grpSpPr>
        <p:sp>
          <p:nvSpPr>
            <p:cNvPr id="9" name="Tick2 14">
              <a:extLst>
                <a:ext uri="{FF2B5EF4-FFF2-40B4-BE49-F238E27FC236}">
                  <a16:creationId xmlns:a16="http://schemas.microsoft.com/office/drawing/2014/main" id="{8C0A31F5-AE7F-454C-9A2A-7C50C4AD18B6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10868471" y="951537"/>
              <a:ext cx="226551" cy="214926"/>
            </a:xfrm>
            <a:custGeom>
              <a:avLst/>
              <a:gdLst/>
              <a:ahLst/>
              <a:cxnLst/>
              <a:rect l="0" t="0" r="0" b="0"/>
              <a:pathLst>
                <a:path w="429015" h="407000">
                  <a:moveTo>
                    <a:pt x="418148" y="0"/>
                  </a:moveTo>
                  <a:lnTo>
                    <a:pt x="418148" y="0"/>
                  </a:lnTo>
                  <a:lnTo>
                    <a:pt x="429014" y="15381"/>
                  </a:lnTo>
                  <a:lnTo>
                    <a:pt x="429014" y="15381"/>
                  </a:lnTo>
                  <a:lnTo>
                    <a:pt x="420687" y="21873"/>
                  </a:lnTo>
                  <a:lnTo>
                    <a:pt x="412360" y="28647"/>
                  </a:lnTo>
                  <a:lnTo>
                    <a:pt x="403613" y="36127"/>
                  </a:lnTo>
                  <a:lnTo>
                    <a:pt x="395003" y="43606"/>
                  </a:lnTo>
                  <a:lnTo>
                    <a:pt x="386113" y="51791"/>
                  </a:lnTo>
                  <a:lnTo>
                    <a:pt x="377222" y="60400"/>
                  </a:lnTo>
                  <a:lnTo>
                    <a:pt x="368331" y="69291"/>
                  </a:lnTo>
                  <a:lnTo>
                    <a:pt x="359158" y="78605"/>
                  </a:lnTo>
                  <a:lnTo>
                    <a:pt x="349845" y="88483"/>
                  </a:lnTo>
                  <a:lnTo>
                    <a:pt x="340530" y="98644"/>
                  </a:lnTo>
                  <a:lnTo>
                    <a:pt x="331075" y="109369"/>
                  </a:lnTo>
                  <a:lnTo>
                    <a:pt x="321337" y="120376"/>
                  </a:lnTo>
                  <a:lnTo>
                    <a:pt x="311741" y="131808"/>
                  </a:lnTo>
                  <a:lnTo>
                    <a:pt x="301863" y="143663"/>
                  </a:lnTo>
                  <a:lnTo>
                    <a:pt x="291702" y="156083"/>
                  </a:lnTo>
                  <a:lnTo>
                    <a:pt x="281682" y="168783"/>
                  </a:lnTo>
                  <a:lnTo>
                    <a:pt x="281682" y="168783"/>
                  </a:lnTo>
                  <a:lnTo>
                    <a:pt x="271803" y="181625"/>
                  </a:lnTo>
                  <a:lnTo>
                    <a:pt x="262207" y="194326"/>
                  </a:lnTo>
                  <a:lnTo>
                    <a:pt x="252609" y="207168"/>
                  </a:lnTo>
                  <a:lnTo>
                    <a:pt x="243718" y="219588"/>
                  </a:lnTo>
                  <a:lnTo>
                    <a:pt x="234829" y="232147"/>
                  </a:lnTo>
                  <a:lnTo>
                    <a:pt x="226502" y="244566"/>
                  </a:lnTo>
                  <a:lnTo>
                    <a:pt x="218176" y="256703"/>
                  </a:lnTo>
                  <a:lnTo>
                    <a:pt x="210273" y="268840"/>
                  </a:lnTo>
                  <a:lnTo>
                    <a:pt x="202794" y="280976"/>
                  </a:lnTo>
                  <a:lnTo>
                    <a:pt x="195456" y="292971"/>
                  </a:lnTo>
                  <a:lnTo>
                    <a:pt x="188540" y="304685"/>
                  </a:lnTo>
                  <a:lnTo>
                    <a:pt x="181907" y="316398"/>
                  </a:lnTo>
                  <a:lnTo>
                    <a:pt x="175416" y="327969"/>
                  </a:lnTo>
                  <a:lnTo>
                    <a:pt x="169348" y="339401"/>
                  </a:lnTo>
                  <a:lnTo>
                    <a:pt x="163703" y="350832"/>
                  </a:lnTo>
                  <a:lnTo>
                    <a:pt x="158058" y="362263"/>
                  </a:lnTo>
                  <a:lnTo>
                    <a:pt x="135196" y="377645"/>
                  </a:lnTo>
                  <a:lnTo>
                    <a:pt x="135196" y="377645"/>
                  </a:lnTo>
                  <a:lnTo>
                    <a:pt x="122071" y="386817"/>
                  </a:lnTo>
                  <a:lnTo>
                    <a:pt x="111205" y="394862"/>
                  </a:lnTo>
                  <a:lnTo>
                    <a:pt x="102738" y="401495"/>
                  </a:lnTo>
                  <a:lnTo>
                    <a:pt x="99351" y="404600"/>
                  </a:lnTo>
                  <a:lnTo>
                    <a:pt x="96387" y="406999"/>
                  </a:lnTo>
                  <a:lnTo>
                    <a:pt x="96387" y="406999"/>
                  </a:lnTo>
                  <a:lnTo>
                    <a:pt x="95258" y="403048"/>
                  </a:lnTo>
                  <a:lnTo>
                    <a:pt x="93988" y="398673"/>
                  </a:lnTo>
                  <a:lnTo>
                    <a:pt x="90178" y="387806"/>
                  </a:lnTo>
                  <a:lnTo>
                    <a:pt x="85096" y="374682"/>
                  </a:lnTo>
                  <a:lnTo>
                    <a:pt x="79028" y="359299"/>
                  </a:lnTo>
                  <a:lnTo>
                    <a:pt x="70279" y="339260"/>
                  </a:lnTo>
                  <a:lnTo>
                    <a:pt x="70279" y="339260"/>
                  </a:lnTo>
                  <a:lnTo>
                    <a:pt x="65622" y="328816"/>
                  </a:lnTo>
                  <a:lnTo>
                    <a:pt x="61106" y="319079"/>
                  </a:lnTo>
                  <a:lnTo>
                    <a:pt x="56590" y="310047"/>
                  </a:lnTo>
                  <a:lnTo>
                    <a:pt x="52357" y="301580"/>
                  </a:lnTo>
                  <a:lnTo>
                    <a:pt x="47982" y="294100"/>
                  </a:lnTo>
                  <a:lnTo>
                    <a:pt x="43889" y="287044"/>
                  </a:lnTo>
                  <a:lnTo>
                    <a:pt x="39656" y="280976"/>
                  </a:lnTo>
                  <a:lnTo>
                    <a:pt x="35704" y="275190"/>
                  </a:lnTo>
                  <a:lnTo>
                    <a:pt x="35704" y="275190"/>
                  </a:lnTo>
                  <a:lnTo>
                    <a:pt x="31753" y="270250"/>
                  </a:lnTo>
                  <a:lnTo>
                    <a:pt x="27518" y="266018"/>
                  </a:lnTo>
                  <a:lnTo>
                    <a:pt x="23144" y="261783"/>
                  </a:lnTo>
                  <a:lnTo>
                    <a:pt x="18769" y="258114"/>
                  </a:lnTo>
                  <a:lnTo>
                    <a:pt x="14253" y="255009"/>
                  </a:lnTo>
                  <a:lnTo>
                    <a:pt x="9737" y="252045"/>
                  </a:lnTo>
                  <a:lnTo>
                    <a:pt x="4939" y="249787"/>
                  </a:lnTo>
                  <a:lnTo>
                    <a:pt x="0" y="247953"/>
                  </a:lnTo>
                  <a:lnTo>
                    <a:pt x="0" y="247953"/>
                  </a:lnTo>
                  <a:lnTo>
                    <a:pt x="4234" y="243578"/>
                  </a:lnTo>
                  <a:lnTo>
                    <a:pt x="8326" y="239627"/>
                  </a:lnTo>
                  <a:lnTo>
                    <a:pt x="12279" y="235957"/>
                  </a:lnTo>
                  <a:lnTo>
                    <a:pt x="16370" y="232288"/>
                  </a:lnTo>
                  <a:lnTo>
                    <a:pt x="20322" y="229325"/>
                  </a:lnTo>
                  <a:lnTo>
                    <a:pt x="24273" y="226502"/>
                  </a:lnTo>
                  <a:lnTo>
                    <a:pt x="28084" y="223821"/>
                  </a:lnTo>
                  <a:lnTo>
                    <a:pt x="32034" y="221281"/>
                  </a:lnTo>
                  <a:lnTo>
                    <a:pt x="35845" y="219445"/>
                  </a:lnTo>
                  <a:lnTo>
                    <a:pt x="39656" y="217611"/>
                  </a:lnTo>
                  <a:lnTo>
                    <a:pt x="43325" y="216060"/>
                  </a:lnTo>
                  <a:lnTo>
                    <a:pt x="46853" y="214931"/>
                  </a:lnTo>
                  <a:lnTo>
                    <a:pt x="50663" y="213942"/>
                  </a:lnTo>
                  <a:lnTo>
                    <a:pt x="54332" y="213238"/>
                  </a:lnTo>
                  <a:lnTo>
                    <a:pt x="57719" y="212813"/>
                  </a:lnTo>
                  <a:lnTo>
                    <a:pt x="61247" y="212672"/>
                  </a:lnTo>
                  <a:lnTo>
                    <a:pt x="61247" y="212672"/>
                  </a:lnTo>
                  <a:lnTo>
                    <a:pt x="62659" y="212672"/>
                  </a:lnTo>
                  <a:lnTo>
                    <a:pt x="64212" y="212813"/>
                  </a:lnTo>
                  <a:lnTo>
                    <a:pt x="65622" y="213238"/>
                  </a:lnTo>
                  <a:lnTo>
                    <a:pt x="67176" y="213520"/>
                  </a:lnTo>
                  <a:lnTo>
                    <a:pt x="70420" y="214931"/>
                  </a:lnTo>
                  <a:lnTo>
                    <a:pt x="73526" y="216624"/>
                  </a:lnTo>
                  <a:lnTo>
                    <a:pt x="76631" y="218882"/>
                  </a:lnTo>
                  <a:lnTo>
                    <a:pt x="79876" y="221703"/>
                  </a:lnTo>
                  <a:lnTo>
                    <a:pt x="83120" y="224950"/>
                  </a:lnTo>
                  <a:lnTo>
                    <a:pt x="86368" y="228760"/>
                  </a:lnTo>
                  <a:lnTo>
                    <a:pt x="89754" y="233135"/>
                  </a:lnTo>
                  <a:lnTo>
                    <a:pt x="93000" y="237792"/>
                  </a:lnTo>
                  <a:lnTo>
                    <a:pt x="96387" y="243155"/>
                  </a:lnTo>
                  <a:lnTo>
                    <a:pt x="99915" y="248800"/>
                  </a:lnTo>
                  <a:lnTo>
                    <a:pt x="103443" y="255291"/>
                  </a:lnTo>
                  <a:lnTo>
                    <a:pt x="106830" y="262206"/>
                  </a:lnTo>
                  <a:lnTo>
                    <a:pt x="110499" y="269405"/>
                  </a:lnTo>
                  <a:lnTo>
                    <a:pt x="114027" y="277164"/>
                  </a:lnTo>
                  <a:lnTo>
                    <a:pt x="123765" y="298757"/>
                  </a:lnTo>
                  <a:lnTo>
                    <a:pt x="123765" y="298757"/>
                  </a:lnTo>
                  <a:lnTo>
                    <a:pt x="130397" y="287750"/>
                  </a:lnTo>
                  <a:lnTo>
                    <a:pt x="137313" y="277025"/>
                  </a:lnTo>
                  <a:lnTo>
                    <a:pt x="144510" y="266018"/>
                  </a:lnTo>
                  <a:lnTo>
                    <a:pt x="151707" y="255150"/>
                  </a:lnTo>
                  <a:lnTo>
                    <a:pt x="159328" y="244284"/>
                  </a:lnTo>
                  <a:lnTo>
                    <a:pt x="167090" y="233558"/>
                  </a:lnTo>
                  <a:lnTo>
                    <a:pt x="175275" y="222692"/>
                  </a:lnTo>
                  <a:lnTo>
                    <a:pt x="183319" y="212109"/>
                  </a:lnTo>
                  <a:lnTo>
                    <a:pt x="191928" y="201382"/>
                  </a:lnTo>
                  <a:lnTo>
                    <a:pt x="200676" y="190657"/>
                  </a:lnTo>
                  <a:lnTo>
                    <a:pt x="209568" y="180214"/>
                  </a:lnTo>
                  <a:lnTo>
                    <a:pt x="218882" y="169487"/>
                  </a:lnTo>
                  <a:lnTo>
                    <a:pt x="228337" y="159045"/>
                  </a:lnTo>
                  <a:lnTo>
                    <a:pt x="237792" y="148461"/>
                  </a:lnTo>
                  <a:lnTo>
                    <a:pt x="247952" y="138018"/>
                  </a:lnTo>
                  <a:lnTo>
                    <a:pt x="257973" y="127575"/>
                  </a:lnTo>
                  <a:lnTo>
                    <a:pt x="257973" y="127575"/>
                  </a:lnTo>
                  <a:lnTo>
                    <a:pt x="268275" y="117273"/>
                  </a:lnTo>
                  <a:lnTo>
                    <a:pt x="278436" y="107395"/>
                  </a:lnTo>
                  <a:lnTo>
                    <a:pt x="288597" y="97798"/>
                  </a:lnTo>
                  <a:lnTo>
                    <a:pt x="298757" y="88483"/>
                  </a:lnTo>
                  <a:lnTo>
                    <a:pt x="308918" y="79593"/>
                  </a:lnTo>
                  <a:lnTo>
                    <a:pt x="318938" y="70843"/>
                  </a:lnTo>
                  <a:lnTo>
                    <a:pt x="328958" y="62235"/>
                  </a:lnTo>
                  <a:lnTo>
                    <a:pt x="338979" y="54050"/>
                  </a:lnTo>
                  <a:lnTo>
                    <a:pt x="349138" y="46287"/>
                  </a:lnTo>
                  <a:lnTo>
                    <a:pt x="359016" y="38667"/>
                  </a:lnTo>
                  <a:lnTo>
                    <a:pt x="368896" y="31470"/>
                  </a:lnTo>
                  <a:lnTo>
                    <a:pt x="378915" y="24696"/>
                  </a:lnTo>
                  <a:lnTo>
                    <a:pt x="388794" y="18063"/>
                  </a:lnTo>
                  <a:lnTo>
                    <a:pt x="398673" y="11712"/>
                  </a:lnTo>
                  <a:lnTo>
                    <a:pt x="408268" y="5643"/>
                  </a:lnTo>
                  <a:lnTo>
                    <a:pt x="418148" y="0"/>
                  </a:lnTo>
                  <a:close/>
                </a:path>
              </a:pathLst>
            </a:custGeom>
            <a:solidFill>
              <a:srgbClr val="FFB81E"/>
            </a:solidFill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6813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9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63CDA35-59CF-4D2F-A75B-05D6D3D5E680}"/>
                </a:ext>
              </a:extLst>
            </p:cNvPr>
            <p:cNvSpPr txBox="1"/>
            <p:nvPr/>
          </p:nvSpPr>
          <p:spPr>
            <a:xfrm>
              <a:off x="11182784" y="965974"/>
              <a:ext cx="826849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81012" lvl="2" indent="-28575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/>
                </a:rPr>
                <a:t>Owned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9EB2C1F-08AD-4F22-BE62-E1D72FF37C96}"/>
              </a:ext>
            </a:extLst>
          </p:cNvPr>
          <p:cNvGrpSpPr/>
          <p:nvPr/>
        </p:nvGrpSpPr>
        <p:grpSpPr>
          <a:xfrm>
            <a:off x="10868471" y="1570229"/>
            <a:ext cx="1141162" cy="214926"/>
            <a:chOff x="10868471" y="1179831"/>
            <a:chExt cx="1141162" cy="214926"/>
          </a:xfrm>
        </p:grpSpPr>
        <p:sp>
          <p:nvSpPr>
            <p:cNvPr id="10" name="Tick2 14">
              <a:extLst>
                <a:ext uri="{FF2B5EF4-FFF2-40B4-BE49-F238E27FC236}">
                  <a16:creationId xmlns:a16="http://schemas.microsoft.com/office/drawing/2014/main" id="{AC2E3DAA-EC68-4B8F-B5A3-EA5556BE54AD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10868471" y="1179831"/>
              <a:ext cx="226551" cy="214926"/>
            </a:xfrm>
            <a:custGeom>
              <a:avLst/>
              <a:gdLst/>
              <a:ahLst/>
              <a:cxnLst/>
              <a:rect l="0" t="0" r="0" b="0"/>
              <a:pathLst>
                <a:path w="429015" h="407000">
                  <a:moveTo>
                    <a:pt x="418148" y="0"/>
                  </a:moveTo>
                  <a:lnTo>
                    <a:pt x="418148" y="0"/>
                  </a:lnTo>
                  <a:lnTo>
                    <a:pt x="429014" y="15381"/>
                  </a:lnTo>
                  <a:lnTo>
                    <a:pt x="429014" y="15381"/>
                  </a:lnTo>
                  <a:lnTo>
                    <a:pt x="420687" y="21873"/>
                  </a:lnTo>
                  <a:lnTo>
                    <a:pt x="412360" y="28647"/>
                  </a:lnTo>
                  <a:lnTo>
                    <a:pt x="403613" y="36127"/>
                  </a:lnTo>
                  <a:lnTo>
                    <a:pt x="395003" y="43606"/>
                  </a:lnTo>
                  <a:lnTo>
                    <a:pt x="386113" y="51791"/>
                  </a:lnTo>
                  <a:lnTo>
                    <a:pt x="377222" y="60400"/>
                  </a:lnTo>
                  <a:lnTo>
                    <a:pt x="368331" y="69291"/>
                  </a:lnTo>
                  <a:lnTo>
                    <a:pt x="359158" y="78605"/>
                  </a:lnTo>
                  <a:lnTo>
                    <a:pt x="349845" y="88483"/>
                  </a:lnTo>
                  <a:lnTo>
                    <a:pt x="340530" y="98644"/>
                  </a:lnTo>
                  <a:lnTo>
                    <a:pt x="331075" y="109369"/>
                  </a:lnTo>
                  <a:lnTo>
                    <a:pt x="321337" y="120376"/>
                  </a:lnTo>
                  <a:lnTo>
                    <a:pt x="311741" y="131808"/>
                  </a:lnTo>
                  <a:lnTo>
                    <a:pt x="301863" y="143663"/>
                  </a:lnTo>
                  <a:lnTo>
                    <a:pt x="291702" y="156083"/>
                  </a:lnTo>
                  <a:lnTo>
                    <a:pt x="281682" y="168783"/>
                  </a:lnTo>
                  <a:lnTo>
                    <a:pt x="281682" y="168783"/>
                  </a:lnTo>
                  <a:lnTo>
                    <a:pt x="271803" y="181625"/>
                  </a:lnTo>
                  <a:lnTo>
                    <a:pt x="262207" y="194326"/>
                  </a:lnTo>
                  <a:lnTo>
                    <a:pt x="252609" y="207168"/>
                  </a:lnTo>
                  <a:lnTo>
                    <a:pt x="243718" y="219588"/>
                  </a:lnTo>
                  <a:lnTo>
                    <a:pt x="234829" y="232147"/>
                  </a:lnTo>
                  <a:lnTo>
                    <a:pt x="226502" y="244566"/>
                  </a:lnTo>
                  <a:lnTo>
                    <a:pt x="218176" y="256703"/>
                  </a:lnTo>
                  <a:lnTo>
                    <a:pt x="210273" y="268840"/>
                  </a:lnTo>
                  <a:lnTo>
                    <a:pt x="202794" y="280976"/>
                  </a:lnTo>
                  <a:lnTo>
                    <a:pt x="195456" y="292971"/>
                  </a:lnTo>
                  <a:lnTo>
                    <a:pt x="188540" y="304685"/>
                  </a:lnTo>
                  <a:lnTo>
                    <a:pt x="181907" y="316398"/>
                  </a:lnTo>
                  <a:lnTo>
                    <a:pt x="175416" y="327969"/>
                  </a:lnTo>
                  <a:lnTo>
                    <a:pt x="169348" y="339401"/>
                  </a:lnTo>
                  <a:lnTo>
                    <a:pt x="163703" y="350832"/>
                  </a:lnTo>
                  <a:lnTo>
                    <a:pt x="158058" y="362263"/>
                  </a:lnTo>
                  <a:lnTo>
                    <a:pt x="135196" y="377645"/>
                  </a:lnTo>
                  <a:lnTo>
                    <a:pt x="135196" y="377645"/>
                  </a:lnTo>
                  <a:lnTo>
                    <a:pt x="122071" y="386817"/>
                  </a:lnTo>
                  <a:lnTo>
                    <a:pt x="111205" y="394862"/>
                  </a:lnTo>
                  <a:lnTo>
                    <a:pt x="102738" y="401495"/>
                  </a:lnTo>
                  <a:lnTo>
                    <a:pt x="99351" y="404600"/>
                  </a:lnTo>
                  <a:lnTo>
                    <a:pt x="96387" y="406999"/>
                  </a:lnTo>
                  <a:lnTo>
                    <a:pt x="96387" y="406999"/>
                  </a:lnTo>
                  <a:lnTo>
                    <a:pt x="95258" y="403048"/>
                  </a:lnTo>
                  <a:lnTo>
                    <a:pt x="93988" y="398673"/>
                  </a:lnTo>
                  <a:lnTo>
                    <a:pt x="90178" y="387806"/>
                  </a:lnTo>
                  <a:lnTo>
                    <a:pt x="85096" y="374682"/>
                  </a:lnTo>
                  <a:lnTo>
                    <a:pt x="79028" y="359299"/>
                  </a:lnTo>
                  <a:lnTo>
                    <a:pt x="70279" y="339260"/>
                  </a:lnTo>
                  <a:lnTo>
                    <a:pt x="70279" y="339260"/>
                  </a:lnTo>
                  <a:lnTo>
                    <a:pt x="65622" y="328816"/>
                  </a:lnTo>
                  <a:lnTo>
                    <a:pt x="61106" y="319079"/>
                  </a:lnTo>
                  <a:lnTo>
                    <a:pt x="56590" y="310047"/>
                  </a:lnTo>
                  <a:lnTo>
                    <a:pt x="52357" y="301580"/>
                  </a:lnTo>
                  <a:lnTo>
                    <a:pt x="47982" y="294100"/>
                  </a:lnTo>
                  <a:lnTo>
                    <a:pt x="43889" y="287044"/>
                  </a:lnTo>
                  <a:lnTo>
                    <a:pt x="39656" y="280976"/>
                  </a:lnTo>
                  <a:lnTo>
                    <a:pt x="35704" y="275190"/>
                  </a:lnTo>
                  <a:lnTo>
                    <a:pt x="35704" y="275190"/>
                  </a:lnTo>
                  <a:lnTo>
                    <a:pt x="31753" y="270250"/>
                  </a:lnTo>
                  <a:lnTo>
                    <a:pt x="27518" y="266018"/>
                  </a:lnTo>
                  <a:lnTo>
                    <a:pt x="23144" y="261783"/>
                  </a:lnTo>
                  <a:lnTo>
                    <a:pt x="18769" y="258114"/>
                  </a:lnTo>
                  <a:lnTo>
                    <a:pt x="14253" y="255009"/>
                  </a:lnTo>
                  <a:lnTo>
                    <a:pt x="9737" y="252045"/>
                  </a:lnTo>
                  <a:lnTo>
                    <a:pt x="4939" y="249787"/>
                  </a:lnTo>
                  <a:lnTo>
                    <a:pt x="0" y="247953"/>
                  </a:lnTo>
                  <a:lnTo>
                    <a:pt x="0" y="247953"/>
                  </a:lnTo>
                  <a:lnTo>
                    <a:pt x="4234" y="243578"/>
                  </a:lnTo>
                  <a:lnTo>
                    <a:pt x="8326" y="239627"/>
                  </a:lnTo>
                  <a:lnTo>
                    <a:pt x="12279" y="235957"/>
                  </a:lnTo>
                  <a:lnTo>
                    <a:pt x="16370" y="232288"/>
                  </a:lnTo>
                  <a:lnTo>
                    <a:pt x="20322" y="229325"/>
                  </a:lnTo>
                  <a:lnTo>
                    <a:pt x="24273" y="226502"/>
                  </a:lnTo>
                  <a:lnTo>
                    <a:pt x="28084" y="223821"/>
                  </a:lnTo>
                  <a:lnTo>
                    <a:pt x="32034" y="221281"/>
                  </a:lnTo>
                  <a:lnTo>
                    <a:pt x="35845" y="219445"/>
                  </a:lnTo>
                  <a:lnTo>
                    <a:pt x="39656" y="217611"/>
                  </a:lnTo>
                  <a:lnTo>
                    <a:pt x="43325" y="216060"/>
                  </a:lnTo>
                  <a:lnTo>
                    <a:pt x="46853" y="214931"/>
                  </a:lnTo>
                  <a:lnTo>
                    <a:pt x="50663" y="213942"/>
                  </a:lnTo>
                  <a:lnTo>
                    <a:pt x="54332" y="213238"/>
                  </a:lnTo>
                  <a:lnTo>
                    <a:pt x="57719" y="212813"/>
                  </a:lnTo>
                  <a:lnTo>
                    <a:pt x="61247" y="212672"/>
                  </a:lnTo>
                  <a:lnTo>
                    <a:pt x="61247" y="212672"/>
                  </a:lnTo>
                  <a:lnTo>
                    <a:pt x="62659" y="212672"/>
                  </a:lnTo>
                  <a:lnTo>
                    <a:pt x="64212" y="212813"/>
                  </a:lnTo>
                  <a:lnTo>
                    <a:pt x="65622" y="213238"/>
                  </a:lnTo>
                  <a:lnTo>
                    <a:pt x="67176" y="213520"/>
                  </a:lnTo>
                  <a:lnTo>
                    <a:pt x="70420" y="214931"/>
                  </a:lnTo>
                  <a:lnTo>
                    <a:pt x="73526" y="216624"/>
                  </a:lnTo>
                  <a:lnTo>
                    <a:pt x="76631" y="218882"/>
                  </a:lnTo>
                  <a:lnTo>
                    <a:pt x="79876" y="221703"/>
                  </a:lnTo>
                  <a:lnTo>
                    <a:pt x="83120" y="224950"/>
                  </a:lnTo>
                  <a:lnTo>
                    <a:pt x="86368" y="228760"/>
                  </a:lnTo>
                  <a:lnTo>
                    <a:pt x="89754" y="233135"/>
                  </a:lnTo>
                  <a:lnTo>
                    <a:pt x="93000" y="237792"/>
                  </a:lnTo>
                  <a:lnTo>
                    <a:pt x="96387" y="243155"/>
                  </a:lnTo>
                  <a:lnTo>
                    <a:pt x="99915" y="248800"/>
                  </a:lnTo>
                  <a:lnTo>
                    <a:pt x="103443" y="255291"/>
                  </a:lnTo>
                  <a:lnTo>
                    <a:pt x="106830" y="262206"/>
                  </a:lnTo>
                  <a:lnTo>
                    <a:pt x="110499" y="269405"/>
                  </a:lnTo>
                  <a:lnTo>
                    <a:pt x="114027" y="277164"/>
                  </a:lnTo>
                  <a:lnTo>
                    <a:pt x="123765" y="298757"/>
                  </a:lnTo>
                  <a:lnTo>
                    <a:pt x="123765" y="298757"/>
                  </a:lnTo>
                  <a:lnTo>
                    <a:pt x="130397" y="287750"/>
                  </a:lnTo>
                  <a:lnTo>
                    <a:pt x="137313" y="277025"/>
                  </a:lnTo>
                  <a:lnTo>
                    <a:pt x="144510" y="266018"/>
                  </a:lnTo>
                  <a:lnTo>
                    <a:pt x="151707" y="255150"/>
                  </a:lnTo>
                  <a:lnTo>
                    <a:pt x="159328" y="244284"/>
                  </a:lnTo>
                  <a:lnTo>
                    <a:pt x="167090" y="233558"/>
                  </a:lnTo>
                  <a:lnTo>
                    <a:pt x="175275" y="222692"/>
                  </a:lnTo>
                  <a:lnTo>
                    <a:pt x="183319" y="212109"/>
                  </a:lnTo>
                  <a:lnTo>
                    <a:pt x="191928" y="201382"/>
                  </a:lnTo>
                  <a:lnTo>
                    <a:pt x="200676" y="190657"/>
                  </a:lnTo>
                  <a:lnTo>
                    <a:pt x="209568" y="180214"/>
                  </a:lnTo>
                  <a:lnTo>
                    <a:pt x="218882" y="169487"/>
                  </a:lnTo>
                  <a:lnTo>
                    <a:pt x="228337" y="159045"/>
                  </a:lnTo>
                  <a:lnTo>
                    <a:pt x="237792" y="148461"/>
                  </a:lnTo>
                  <a:lnTo>
                    <a:pt x="247952" y="138018"/>
                  </a:lnTo>
                  <a:lnTo>
                    <a:pt x="257973" y="127575"/>
                  </a:lnTo>
                  <a:lnTo>
                    <a:pt x="257973" y="127575"/>
                  </a:lnTo>
                  <a:lnTo>
                    <a:pt x="268275" y="117273"/>
                  </a:lnTo>
                  <a:lnTo>
                    <a:pt x="278436" y="107395"/>
                  </a:lnTo>
                  <a:lnTo>
                    <a:pt x="288597" y="97798"/>
                  </a:lnTo>
                  <a:lnTo>
                    <a:pt x="298757" y="88483"/>
                  </a:lnTo>
                  <a:lnTo>
                    <a:pt x="308918" y="79593"/>
                  </a:lnTo>
                  <a:lnTo>
                    <a:pt x="318938" y="70843"/>
                  </a:lnTo>
                  <a:lnTo>
                    <a:pt x="328958" y="62235"/>
                  </a:lnTo>
                  <a:lnTo>
                    <a:pt x="338979" y="54050"/>
                  </a:lnTo>
                  <a:lnTo>
                    <a:pt x="349138" y="46287"/>
                  </a:lnTo>
                  <a:lnTo>
                    <a:pt x="359016" y="38667"/>
                  </a:lnTo>
                  <a:lnTo>
                    <a:pt x="368896" y="31470"/>
                  </a:lnTo>
                  <a:lnTo>
                    <a:pt x="378915" y="24696"/>
                  </a:lnTo>
                  <a:lnTo>
                    <a:pt x="388794" y="18063"/>
                  </a:lnTo>
                  <a:lnTo>
                    <a:pt x="398673" y="11712"/>
                  </a:lnTo>
                  <a:lnTo>
                    <a:pt x="408268" y="5643"/>
                  </a:lnTo>
                  <a:lnTo>
                    <a:pt x="418148" y="0"/>
                  </a:lnTo>
                  <a:close/>
                </a:path>
              </a:pathLst>
            </a:custGeom>
            <a:noFill/>
            <a:ln w="12700" cap="flat" cmpd="sng" algn="ctr">
              <a:solidFill>
                <a:srgbClr val="FFB81E"/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6813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9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2D3F0F1-A920-412D-911B-CA4B55841A25}"/>
                </a:ext>
              </a:extLst>
            </p:cNvPr>
            <p:cNvSpPr txBox="1"/>
            <p:nvPr/>
          </p:nvSpPr>
          <p:spPr>
            <a:xfrm>
              <a:off x="11182784" y="1202535"/>
              <a:ext cx="826849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81012" lvl="2" indent="-28575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/>
                </a:rPr>
                <a:t>Involved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BC6E3BA8-8908-4D9D-913E-BE81F6FFE3C7}"/>
              </a:ext>
            </a:extLst>
          </p:cNvPr>
          <p:cNvSpPr/>
          <p:nvPr/>
        </p:nvSpPr>
        <p:spPr>
          <a:xfrm>
            <a:off x="3566956" y="2745990"/>
            <a:ext cx="1120370" cy="109715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81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</a:rPr>
              <a:t>Pre-discover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A49B17F-5494-41E2-B4C8-2BC4847980C3}"/>
              </a:ext>
            </a:extLst>
          </p:cNvPr>
          <p:cNvSpPr/>
          <p:nvPr/>
        </p:nvSpPr>
        <p:spPr>
          <a:xfrm>
            <a:off x="4982813" y="2745990"/>
            <a:ext cx="1120370" cy="109715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81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</a:rPr>
              <a:t>Discover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CE56F58-051B-4D69-A8CA-D1CF967F3E9A}"/>
              </a:ext>
            </a:extLst>
          </p:cNvPr>
          <p:cNvSpPr/>
          <p:nvPr/>
        </p:nvSpPr>
        <p:spPr>
          <a:xfrm>
            <a:off x="6398670" y="2745990"/>
            <a:ext cx="1120370" cy="109715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81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</a:rPr>
              <a:t>MVP buil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9CD5E81-88AE-4B31-A75F-2137F63411EC}"/>
              </a:ext>
            </a:extLst>
          </p:cNvPr>
          <p:cNvSpPr/>
          <p:nvPr/>
        </p:nvSpPr>
        <p:spPr>
          <a:xfrm>
            <a:off x="7814527" y="2745990"/>
            <a:ext cx="1120370" cy="109715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81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</a:rPr>
              <a:t>Sca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A4E24B1-CB27-416A-8D6D-7AD246F22B0B}"/>
              </a:ext>
            </a:extLst>
          </p:cNvPr>
          <p:cNvCxnSpPr>
            <a:cxnSpLocks/>
            <a:stCxn id="5" idx="3"/>
            <a:endCxn id="6" idx="1"/>
          </p:cNvCxnSpPr>
          <p:nvPr/>
        </p:nvCxnSpPr>
        <p:spPr>
          <a:xfrm>
            <a:off x="4687326" y="3294566"/>
            <a:ext cx="295487" cy="0"/>
          </a:xfrm>
          <a:prstGeom prst="line">
            <a:avLst/>
          </a:prstGeom>
          <a:ln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A903F9E-F5BB-4328-9A7E-AE53849FD234}"/>
              </a:ext>
            </a:extLst>
          </p:cNvPr>
          <p:cNvCxnSpPr>
            <a:cxnSpLocks/>
            <a:stCxn id="6" idx="3"/>
            <a:endCxn id="7" idx="1"/>
          </p:cNvCxnSpPr>
          <p:nvPr/>
        </p:nvCxnSpPr>
        <p:spPr>
          <a:xfrm>
            <a:off x="6103183" y="3294566"/>
            <a:ext cx="295487" cy="0"/>
          </a:xfrm>
          <a:prstGeom prst="line">
            <a:avLst/>
          </a:prstGeom>
          <a:ln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8D60D2B-D643-4464-8822-2B2E64019D5B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7519040" y="3294566"/>
            <a:ext cx="295487" cy="0"/>
          </a:xfrm>
          <a:prstGeom prst="line">
            <a:avLst/>
          </a:prstGeom>
          <a:ln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ck2 14">
            <a:extLst>
              <a:ext uri="{FF2B5EF4-FFF2-40B4-BE49-F238E27FC236}">
                <a16:creationId xmlns:a16="http://schemas.microsoft.com/office/drawing/2014/main" id="{5290BFDB-3220-4AE1-A303-5BB931B6554D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2510608" y="5208130"/>
            <a:ext cx="401349" cy="380755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noFill/>
          <a:ln w="12700" cap="flat" cmpd="sng" algn="ctr">
            <a:solidFill>
              <a:srgbClr val="FFB81E"/>
            </a:solidFill>
            <a:prstDash val="dash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81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4C82429-3912-4867-B5CA-210F2A41254D}"/>
              </a:ext>
            </a:extLst>
          </p:cNvPr>
          <p:cNvSpPr/>
          <p:nvPr/>
        </p:nvSpPr>
        <p:spPr>
          <a:xfrm>
            <a:off x="9230384" y="2745990"/>
            <a:ext cx="1120370" cy="109715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81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</a:rPr>
              <a:t>Sustai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8C0513C-AA5D-4230-8D4B-5B9BFC7C99E0}"/>
              </a:ext>
            </a:extLst>
          </p:cNvPr>
          <p:cNvSpPr/>
          <p:nvPr/>
        </p:nvSpPr>
        <p:spPr>
          <a:xfrm>
            <a:off x="2151099" y="2745990"/>
            <a:ext cx="1120370" cy="109715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81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</a:rPr>
              <a:t>Ideat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4AA8CAD-4023-49AC-B7C7-9170FB97DF44}"/>
              </a:ext>
            </a:extLst>
          </p:cNvPr>
          <p:cNvSpPr/>
          <p:nvPr/>
        </p:nvSpPr>
        <p:spPr>
          <a:xfrm>
            <a:off x="10646240" y="2745990"/>
            <a:ext cx="1120370" cy="109715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81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</a:rPr>
              <a:t>Retire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60CF7684-7351-4820-93A1-FFB30A5EE9B7}"/>
              </a:ext>
            </a:extLst>
          </p:cNvPr>
          <p:cNvCxnSpPr>
            <a:cxnSpLocks/>
            <a:stCxn id="8" idx="3"/>
            <a:endCxn id="28" idx="1"/>
          </p:cNvCxnSpPr>
          <p:nvPr/>
        </p:nvCxnSpPr>
        <p:spPr>
          <a:xfrm>
            <a:off x="8934897" y="3294566"/>
            <a:ext cx="295487" cy="0"/>
          </a:xfrm>
          <a:prstGeom prst="line">
            <a:avLst/>
          </a:prstGeom>
          <a:ln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415647D7-14F1-437F-B1A8-D5FEB471832C}"/>
              </a:ext>
            </a:extLst>
          </p:cNvPr>
          <p:cNvCxnSpPr>
            <a:cxnSpLocks/>
            <a:stCxn id="28" idx="3"/>
            <a:endCxn id="29" idx="1"/>
          </p:cNvCxnSpPr>
          <p:nvPr/>
        </p:nvCxnSpPr>
        <p:spPr>
          <a:xfrm>
            <a:off x="10350754" y="3294566"/>
            <a:ext cx="295486" cy="0"/>
          </a:xfrm>
          <a:prstGeom prst="line">
            <a:avLst/>
          </a:prstGeom>
          <a:ln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56882AD2-7957-4CD5-9D22-4540BA769FC5}"/>
              </a:ext>
            </a:extLst>
          </p:cNvPr>
          <p:cNvSpPr txBox="1"/>
          <p:nvPr/>
        </p:nvSpPr>
        <p:spPr>
          <a:xfrm>
            <a:off x="395668" y="3971032"/>
            <a:ext cx="1530773" cy="830996"/>
          </a:xfrm>
          <a:prstGeom prst="rect">
            <a:avLst/>
          </a:prstGeom>
          <a:solidFill>
            <a:schemeClr val="accent1"/>
          </a:solidFill>
          <a:ln>
            <a:solidFill>
              <a:srgbClr val="FFFFFF"/>
            </a:solidFill>
          </a:ln>
          <a:effectLst/>
        </p:spPr>
        <p:txBody>
          <a:bodyPr vert="horz" wrap="square" lIns="72009" tIns="72009" rIns="72009" bIns="72009" rtlCol="0" anchor="ctr" anchorCtr="0">
            <a:no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marR="0" lvl="0" indent="0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Output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7AAA9A8-A2AF-42DD-92BD-25EC8124027A}"/>
              </a:ext>
            </a:extLst>
          </p:cNvPr>
          <p:cNvSpPr txBox="1"/>
          <p:nvPr/>
        </p:nvSpPr>
        <p:spPr>
          <a:xfrm>
            <a:off x="395668" y="5043084"/>
            <a:ext cx="1530773" cy="743295"/>
          </a:xfrm>
          <a:prstGeom prst="rect">
            <a:avLst/>
          </a:prstGeom>
          <a:solidFill>
            <a:schemeClr val="accent1"/>
          </a:solidFill>
          <a:ln>
            <a:solidFill>
              <a:srgbClr val="FFFFFF"/>
            </a:solidFill>
          </a:ln>
          <a:effectLst/>
        </p:spPr>
        <p:txBody>
          <a:bodyPr vert="horz" wrap="square" lIns="72009" tIns="72009" rIns="72009" bIns="72009" rtlCol="0" anchor="ctr" anchorCtr="0">
            <a:no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marR="0" lvl="0" indent="0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Technology + Innovation Lab scop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5D52977-CB44-4A81-8D5B-7573A1594B26}"/>
              </a:ext>
            </a:extLst>
          </p:cNvPr>
          <p:cNvSpPr txBox="1"/>
          <p:nvPr/>
        </p:nvSpPr>
        <p:spPr>
          <a:xfrm>
            <a:off x="2136237" y="3971032"/>
            <a:ext cx="1150093" cy="461665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marR="0" lvl="0" indent="0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Prioritized idea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0D2CA53-AA4E-4856-884D-7092E4562E47}"/>
              </a:ext>
            </a:extLst>
          </p:cNvPr>
          <p:cNvSpPr txBox="1"/>
          <p:nvPr/>
        </p:nvSpPr>
        <p:spPr>
          <a:xfrm>
            <a:off x="3552094" y="3971032"/>
            <a:ext cx="1150093" cy="646331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marR="0" lvl="0" indent="0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Simple business case for funding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0D18135-4CB1-4B5F-9375-83DA2518A6D5}"/>
              </a:ext>
            </a:extLst>
          </p:cNvPr>
          <p:cNvSpPr txBox="1"/>
          <p:nvPr/>
        </p:nvSpPr>
        <p:spPr>
          <a:xfrm>
            <a:off x="6383808" y="3971032"/>
            <a:ext cx="1150093" cy="461665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marR="0" lvl="0" indent="0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MVP in the field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153A0BC-1001-42D6-8C21-FF5451C9E91E}"/>
              </a:ext>
            </a:extLst>
          </p:cNvPr>
          <p:cNvSpPr txBox="1"/>
          <p:nvPr/>
        </p:nvSpPr>
        <p:spPr>
          <a:xfrm>
            <a:off x="7814527" y="3971032"/>
            <a:ext cx="1150093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marR="0" lvl="0" indent="0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Product with substantially complete feature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3CFDE45-22F4-4B6A-9A84-E364CA6E8DD2}"/>
              </a:ext>
            </a:extLst>
          </p:cNvPr>
          <p:cNvSpPr txBox="1"/>
          <p:nvPr/>
        </p:nvSpPr>
        <p:spPr>
          <a:xfrm>
            <a:off x="9226466" y="3971032"/>
            <a:ext cx="1150093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marR="0" lvl="0" indent="0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Updates and support to products in the field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8273778-792D-48C1-BEF8-BB44F89E4B0D}"/>
              </a:ext>
            </a:extLst>
          </p:cNvPr>
          <p:cNvSpPr txBox="1"/>
          <p:nvPr/>
        </p:nvSpPr>
        <p:spPr>
          <a:xfrm>
            <a:off x="10646240" y="3971032"/>
            <a:ext cx="1150093" cy="646331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marR="0" lvl="0" indent="0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End of product in the field</a:t>
            </a:r>
          </a:p>
        </p:txBody>
      </p:sp>
      <p:sp>
        <p:nvSpPr>
          <p:cNvPr id="65" name="Tick2 14">
            <a:extLst>
              <a:ext uri="{FF2B5EF4-FFF2-40B4-BE49-F238E27FC236}">
                <a16:creationId xmlns:a16="http://schemas.microsoft.com/office/drawing/2014/main" id="{252CFD7C-8C20-435A-816C-E24981DB79DD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9589894" y="5208130"/>
            <a:ext cx="401349" cy="380755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noFill/>
          <a:ln w="12700" cap="flat" cmpd="sng" algn="ctr">
            <a:solidFill>
              <a:srgbClr val="FFB81E"/>
            </a:solidFill>
            <a:prstDash val="dash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81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6" name="Tick2 14">
            <a:extLst>
              <a:ext uri="{FF2B5EF4-FFF2-40B4-BE49-F238E27FC236}">
                <a16:creationId xmlns:a16="http://schemas.microsoft.com/office/drawing/2014/main" id="{64D9B45B-9F0C-4DDC-844A-ECACDBE59B6D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5342322" y="5208130"/>
            <a:ext cx="401349" cy="380755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rgbClr val="FFB81E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81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7" name="Tick2 14">
            <a:extLst>
              <a:ext uri="{FF2B5EF4-FFF2-40B4-BE49-F238E27FC236}">
                <a16:creationId xmlns:a16="http://schemas.microsoft.com/office/drawing/2014/main" id="{B78BADF0-0023-47F7-A0B9-363E345FC4C1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6758180" y="5208130"/>
            <a:ext cx="401349" cy="380755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rgbClr val="FFB81E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81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B1CB95A8-2180-4DEC-886F-66AD6C570E5E}"/>
              </a:ext>
            </a:extLst>
          </p:cNvPr>
          <p:cNvCxnSpPr>
            <a:cxnSpLocks/>
          </p:cNvCxnSpPr>
          <p:nvPr/>
        </p:nvCxnSpPr>
        <p:spPr>
          <a:xfrm>
            <a:off x="2151099" y="4926497"/>
            <a:ext cx="9615511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tangle 78">
            <a:extLst>
              <a:ext uri="{FF2B5EF4-FFF2-40B4-BE49-F238E27FC236}">
                <a16:creationId xmlns:a16="http://schemas.microsoft.com/office/drawing/2014/main" id="{A8E90CAC-B60A-4D9B-8F56-AE62BEE9AF17}"/>
              </a:ext>
            </a:extLst>
          </p:cNvPr>
          <p:cNvSpPr/>
          <p:nvPr/>
        </p:nvSpPr>
        <p:spPr>
          <a:xfrm>
            <a:off x="2136237" y="1995563"/>
            <a:ext cx="9630373" cy="265506"/>
          </a:xfrm>
          <a:prstGeom prst="rect">
            <a:avLst/>
          </a:prstGeom>
          <a:solidFill>
            <a:srgbClr val="FFB81E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8681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cs typeface="Arial"/>
              </a:rPr>
              <a:t>Product lifecycle</a:t>
            </a: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FADBCA75-1DD5-4331-BED0-E0D06835449F}"/>
              </a:ext>
            </a:extLst>
          </p:cNvPr>
          <p:cNvCxnSpPr>
            <a:stCxn id="5" idx="0"/>
            <a:endCxn id="4" idx="0"/>
          </p:cNvCxnSpPr>
          <p:nvPr/>
        </p:nvCxnSpPr>
        <p:spPr>
          <a:xfrm rot="16200000" flipV="1">
            <a:off x="3419213" y="2038061"/>
            <a:ext cx="12700" cy="1415857"/>
          </a:xfrm>
          <a:prstGeom prst="bentConnector3">
            <a:avLst>
              <a:gd name="adj1" fmla="val 1800000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ctor: Elbow 50">
            <a:extLst>
              <a:ext uri="{FF2B5EF4-FFF2-40B4-BE49-F238E27FC236}">
                <a16:creationId xmlns:a16="http://schemas.microsoft.com/office/drawing/2014/main" id="{EC2D2131-C56E-4F30-B0FD-BCB8269A7659}"/>
              </a:ext>
            </a:extLst>
          </p:cNvPr>
          <p:cNvCxnSpPr>
            <a:cxnSpLocks/>
            <a:stCxn id="6" idx="0"/>
            <a:endCxn id="4" idx="0"/>
          </p:cNvCxnSpPr>
          <p:nvPr/>
        </p:nvCxnSpPr>
        <p:spPr>
          <a:xfrm rot="16200000" flipV="1">
            <a:off x="4127141" y="1330133"/>
            <a:ext cx="12700" cy="2831714"/>
          </a:xfrm>
          <a:prstGeom prst="bentConnector3">
            <a:avLst>
              <a:gd name="adj1" fmla="val 1800000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9E8C6BAE-7B98-4CE6-BC6C-A87A7467A285}"/>
              </a:ext>
            </a:extLst>
          </p:cNvPr>
          <p:cNvCxnSpPr>
            <a:cxnSpLocks/>
            <a:stCxn id="7" idx="0"/>
            <a:endCxn id="4" idx="0"/>
          </p:cNvCxnSpPr>
          <p:nvPr/>
        </p:nvCxnSpPr>
        <p:spPr>
          <a:xfrm rot="16200000" flipV="1">
            <a:off x="4835070" y="622204"/>
            <a:ext cx="12700" cy="4247571"/>
          </a:xfrm>
          <a:prstGeom prst="bentConnector3">
            <a:avLst>
              <a:gd name="adj1" fmla="val 1800000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28A324B9-9A40-46D1-B72E-6E09BB41F6DC}"/>
              </a:ext>
            </a:extLst>
          </p:cNvPr>
          <p:cNvCxnSpPr>
            <a:cxnSpLocks/>
            <a:stCxn id="8" idx="0"/>
            <a:endCxn id="4" idx="0"/>
          </p:cNvCxnSpPr>
          <p:nvPr/>
        </p:nvCxnSpPr>
        <p:spPr>
          <a:xfrm rot="16200000" flipV="1">
            <a:off x="5542998" y="-85724"/>
            <a:ext cx="12700" cy="5663428"/>
          </a:xfrm>
          <a:prstGeom prst="bentConnector3">
            <a:avLst>
              <a:gd name="adj1" fmla="val 1800000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438C5465-F706-48AA-9AC9-DBF52740466D}"/>
              </a:ext>
            </a:extLst>
          </p:cNvPr>
          <p:cNvSpPr txBox="1"/>
          <p:nvPr/>
        </p:nvSpPr>
        <p:spPr>
          <a:xfrm>
            <a:off x="3552094" y="5088880"/>
            <a:ext cx="1150093" cy="646331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marR="0" lvl="0" indent="0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Business-led, Lab-supported</a:t>
            </a:r>
          </a:p>
        </p:txBody>
      </p:sp>
      <p:cxnSp>
        <p:nvCxnSpPr>
          <p:cNvPr id="83" name="Connector: Elbow 82">
            <a:extLst>
              <a:ext uri="{FF2B5EF4-FFF2-40B4-BE49-F238E27FC236}">
                <a16:creationId xmlns:a16="http://schemas.microsoft.com/office/drawing/2014/main" id="{DD3BBDD4-2219-4D0E-819A-CE4BC5265EA6}"/>
              </a:ext>
            </a:extLst>
          </p:cNvPr>
          <p:cNvCxnSpPr>
            <a:cxnSpLocks/>
            <a:stCxn id="28" idx="0"/>
            <a:endCxn id="4" idx="0"/>
          </p:cNvCxnSpPr>
          <p:nvPr/>
        </p:nvCxnSpPr>
        <p:spPr>
          <a:xfrm rot="16200000" flipV="1">
            <a:off x="6250927" y="-793653"/>
            <a:ext cx="12700" cy="7079285"/>
          </a:xfrm>
          <a:prstGeom prst="bentConnector3">
            <a:avLst>
              <a:gd name="adj1" fmla="val 1800000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852EACEB-B156-4028-8487-8F9FD005522E}"/>
              </a:ext>
            </a:extLst>
          </p:cNvPr>
          <p:cNvCxnSpPr>
            <a:cxnSpLocks/>
            <a:stCxn id="29" idx="0"/>
            <a:endCxn id="4" idx="0"/>
          </p:cNvCxnSpPr>
          <p:nvPr/>
        </p:nvCxnSpPr>
        <p:spPr>
          <a:xfrm rot="16200000" flipV="1">
            <a:off x="6958855" y="-1501581"/>
            <a:ext cx="12700" cy="8495141"/>
          </a:xfrm>
          <a:prstGeom prst="bentConnector3">
            <a:avLst>
              <a:gd name="adj1" fmla="val 1800000"/>
            </a:avLst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ick2 14">
            <a:extLst>
              <a:ext uri="{FF2B5EF4-FFF2-40B4-BE49-F238E27FC236}">
                <a16:creationId xmlns:a16="http://schemas.microsoft.com/office/drawing/2014/main" id="{23CEC5D2-D145-43FE-8535-C471B8CF84B1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10996713" y="5208130"/>
            <a:ext cx="401349" cy="380755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noFill/>
          <a:ln w="12700" cap="flat" cmpd="sng" algn="ctr">
            <a:solidFill>
              <a:srgbClr val="FFB81E"/>
            </a:solidFill>
            <a:prstDash val="dash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81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56" name="Tick2 14">
            <a:extLst>
              <a:ext uri="{FF2B5EF4-FFF2-40B4-BE49-F238E27FC236}">
                <a16:creationId xmlns:a16="http://schemas.microsoft.com/office/drawing/2014/main" id="{19CC8211-708C-499A-9B96-E86A1A3CD84E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8164999" y="5208130"/>
            <a:ext cx="401349" cy="380755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rgbClr val="FFB81E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81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" name="Speech Bubble: Rectangle 2">
            <a:extLst>
              <a:ext uri="{FF2B5EF4-FFF2-40B4-BE49-F238E27FC236}">
                <a16:creationId xmlns:a16="http://schemas.microsoft.com/office/drawing/2014/main" id="{E8589E3B-F571-4118-889A-5D53A18C5661}"/>
              </a:ext>
            </a:extLst>
          </p:cNvPr>
          <p:cNvSpPr/>
          <p:nvPr/>
        </p:nvSpPr>
        <p:spPr>
          <a:xfrm>
            <a:off x="9114539" y="5815755"/>
            <a:ext cx="2158409" cy="675725"/>
          </a:xfrm>
          <a:prstGeom prst="wedgeRectCallout">
            <a:avLst>
              <a:gd name="adj1" fmla="val -22311"/>
              <a:gd name="adj2" fmla="val -76444"/>
            </a:avLst>
          </a:prstGeom>
          <a:solidFill>
            <a:srgbClr val="017DBB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52388" marR="0" lvl="0" indent="0" algn="l" defTabSz="8681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Exact amount and form of sustain support TBD after initial product shipment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B2B1076-1747-454B-870C-B9ABD6E1E4F7}"/>
              </a:ext>
            </a:extLst>
          </p:cNvPr>
          <p:cNvCxnSpPr>
            <a:cxnSpLocks/>
            <a:stCxn id="4" idx="3"/>
            <a:endCxn id="5" idx="1"/>
          </p:cNvCxnSpPr>
          <p:nvPr/>
        </p:nvCxnSpPr>
        <p:spPr>
          <a:xfrm>
            <a:off x="3271469" y="3294566"/>
            <a:ext cx="295487" cy="0"/>
          </a:xfrm>
          <a:prstGeom prst="line">
            <a:avLst/>
          </a:prstGeom>
          <a:ln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93F4833D-3507-44E7-BD95-3FBDB31256FA}"/>
              </a:ext>
            </a:extLst>
          </p:cNvPr>
          <p:cNvSpPr txBox="1">
            <a:spLocks/>
          </p:cNvSpPr>
          <p:nvPr/>
        </p:nvSpPr>
        <p:spPr>
          <a:xfrm>
            <a:off x="5013543" y="3959976"/>
            <a:ext cx="1120370" cy="923330"/>
          </a:xfrm>
          <a:prstGeom prst="rect">
            <a:avLst/>
          </a:prstGeom>
          <a:effectLst/>
        </p:spPr>
        <p:txBody>
          <a:bodyPr vert="horz" wrap="square" lIns="0" tIns="0" rIns="0" bIns="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marR="0" lvl="0" indent="0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prstClr val="black"/>
              </a:buClr>
              <a:buSzPts val="2400"/>
              <a:buFont typeface="Verdana" pitchFamily="34" charset="0"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MVP with high-level architecture, refined business case, and KPIs</a:t>
            </a:r>
          </a:p>
        </p:txBody>
      </p:sp>
    </p:spTree>
    <p:extLst>
      <p:ext uri="{BB962C8B-B14F-4D97-AF65-F5344CB8AC3E}">
        <p14:creationId xmlns:p14="http://schemas.microsoft.com/office/powerpoint/2010/main" val="4165861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0875DE3-0361-41C6-8666-0E1B7FAABD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5435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956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0875DE3-0361-41C6-8666-0E1B7FAAB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99A1ECD7-2EA3-4EAB-9C18-2CC41DA98B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6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9955EDF-9CDE-430C-AF4B-9620602DBBF3}"/>
              </a:ext>
            </a:extLst>
          </p:cNvPr>
          <p:cNvSpPr txBox="1">
            <a:spLocks/>
          </p:cNvSpPr>
          <p:nvPr/>
        </p:nvSpPr>
        <p:spPr>
          <a:xfrm>
            <a:off x="9127026" y="6324138"/>
            <a:ext cx="2743162" cy="365120"/>
          </a:xfrm>
          <a:prstGeom prst="rect">
            <a:avLst/>
          </a:prstGeom>
        </p:spPr>
        <p:txBody>
          <a:bodyPr vert="horz" lIns="86817" tIns="43408" rIns="86817" bIns="43408" rtlCol="0" anchor="ctr"/>
          <a:lstStyle>
            <a:defPPr>
              <a:defRPr lang="en-US"/>
            </a:defPPr>
            <a:lvl1pPr marL="0" algn="r" defTabSz="902667" rtl="0" eaLnBrk="1" latinLnBrk="0" hangingPunct="1">
              <a:defRPr sz="11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1338" algn="l" defTabSz="90266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2667" algn="l" defTabSz="90266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53976" algn="l" defTabSz="90266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5306" algn="l" defTabSz="90266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6631" algn="l" defTabSz="90266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07948" algn="l" defTabSz="90266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59269" algn="l" defTabSz="90266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10583" algn="l" defTabSz="90266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56992" fontAlgn="auto">
              <a:spcBef>
                <a:spcPts val="0"/>
              </a:spcBef>
              <a:spcAft>
                <a:spcPts val="0"/>
              </a:spcAft>
              <a:defRPr/>
            </a:pPr>
            <a:fld id="{50A71C89-2D7F-4DE3-B686-B567B7CE4AF9}" type="slidenum">
              <a:rPr lang="en-US" sz="1050" b="1">
                <a:solidFill>
                  <a:prstClr val="black"/>
                </a:solidFill>
                <a:latin typeface="Arial"/>
              </a:rPr>
              <a:pPr defTabSz="856992" fontAlgn="auto">
                <a:spcBef>
                  <a:spcPts val="0"/>
                </a:spcBef>
                <a:spcAft>
                  <a:spcPts val="0"/>
                </a:spcAft>
                <a:defRPr/>
              </a:pPr>
              <a:t>7</a:t>
            </a:fld>
            <a:endParaRPr lang="en-US" sz="105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633A7D1C-C910-433D-AE79-A2486386F485}"/>
              </a:ext>
            </a:extLst>
          </p:cNvPr>
          <p:cNvSpPr>
            <a:spLocks/>
          </p:cNvSpPr>
          <p:nvPr/>
        </p:nvSpPr>
        <p:spPr>
          <a:xfrm>
            <a:off x="266414" y="1738289"/>
            <a:ext cx="2595135" cy="2394518"/>
          </a:xfrm>
          <a:prstGeom prst="rect">
            <a:avLst/>
          </a:prstGeom>
          <a:solidFill>
            <a:srgbClr val="FFB81E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16">
              <a:defRPr/>
            </a:pPr>
            <a:endParaRPr lang="en-US" sz="16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7E88F712-94B9-41A1-97B3-8D256BDF157E}"/>
              </a:ext>
            </a:extLst>
          </p:cNvPr>
          <p:cNvSpPr/>
          <p:nvPr/>
        </p:nvSpPr>
        <p:spPr>
          <a:xfrm>
            <a:off x="4706437" y="3262673"/>
            <a:ext cx="2545154" cy="1769027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rgbClr val="FFB81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316">
              <a:defRPr/>
            </a:pPr>
            <a:endParaRPr lang="en-US" sz="16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8423C00-7704-4841-AC65-7CE6E5DED730}"/>
              </a:ext>
            </a:extLst>
          </p:cNvPr>
          <p:cNvSpPr/>
          <p:nvPr/>
        </p:nvSpPr>
        <p:spPr>
          <a:xfrm>
            <a:off x="6789737" y="6247295"/>
            <a:ext cx="1980694" cy="351708"/>
          </a:xfrm>
          <a:prstGeom prst="rect">
            <a:avLst/>
          </a:prstGeom>
          <a:solidFill>
            <a:srgbClr val="FFB81E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16">
              <a:defRPr/>
            </a:pPr>
            <a:r>
              <a:rPr lang="en-CA" sz="1050" b="1" kern="0" dirty="0">
                <a:solidFill>
                  <a:srgbClr val="000000"/>
                </a:solidFill>
                <a:latin typeface="Arial"/>
              </a:rPr>
              <a:t>BUSINESS UNITS</a:t>
            </a:r>
          </a:p>
        </p:txBody>
      </p:sp>
      <p:cxnSp>
        <p:nvCxnSpPr>
          <p:cNvPr id="87" name="Connector: Elbow 86">
            <a:extLst>
              <a:ext uri="{FF2B5EF4-FFF2-40B4-BE49-F238E27FC236}">
                <a16:creationId xmlns:a16="http://schemas.microsoft.com/office/drawing/2014/main" id="{F01F76C1-8A96-499C-946E-BEA62078B752}"/>
              </a:ext>
            </a:extLst>
          </p:cNvPr>
          <p:cNvCxnSpPr>
            <a:cxnSpLocks/>
            <a:stCxn id="84" idx="4"/>
          </p:cNvCxnSpPr>
          <p:nvPr/>
        </p:nvCxnSpPr>
        <p:spPr>
          <a:xfrm rot="5400000">
            <a:off x="3695974" y="4093084"/>
            <a:ext cx="1344424" cy="3221656"/>
          </a:xfrm>
          <a:prstGeom prst="bentConnector2">
            <a:avLst/>
          </a:prstGeom>
          <a:noFill/>
          <a:ln w="19050" cap="flat" cmpd="sng" algn="ctr">
            <a:solidFill>
              <a:srgbClr val="017DBB"/>
            </a:solidFill>
            <a:prstDash val="solid"/>
            <a:headEnd type="triangle" w="lg" len="lg"/>
            <a:tailEnd type="none" w="lg" len="lg"/>
          </a:ln>
          <a:effectLst/>
        </p:spPr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83A07F83-3D38-440A-AF19-A55B925ABB09}"/>
              </a:ext>
            </a:extLst>
          </p:cNvPr>
          <p:cNvSpPr/>
          <p:nvPr/>
        </p:nvSpPr>
        <p:spPr>
          <a:xfrm>
            <a:off x="3437393" y="6080027"/>
            <a:ext cx="1958697" cy="542454"/>
          </a:xfrm>
          <a:prstGeom prst="rect">
            <a:avLst/>
          </a:prstGeom>
          <a:solidFill>
            <a:srgbClr val="FFFFFF"/>
          </a:solidFill>
          <a:ln w="19050" cap="flat" cmpd="sng" algn="ctr">
            <a:solidFill>
              <a:srgbClr val="017DBB"/>
            </a:solidFill>
            <a:prstDash val="solid"/>
            <a:headEnd type="triangle" w="lg" len="lg"/>
            <a:tailEnd type="triangle" w="lg" len="lg"/>
          </a:ln>
          <a:effectLst/>
        </p:spPr>
        <p:txBody>
          <a:bodyPr rtlCol="0" anchor="ctr"/>
          <a:lstStyle/>
          <a:p>
            <a:pPr algn="ctr" defTabSz="914316">
              <a:defRPr/>
            </a:pPr>
            <a:r>
              <a:rPr lang="en-CA" sz="1050" kern="0" dirty="0">
                <a:solidFill>
                  <a:srgbClr val="000000"/>
                </a:solidFill>
                <a:latin typeface="Arial"/>
              </a:rPr>
              <a:t>Prioritized LP initiatives from ‘Excellerate’ program + GTM ‘Shark Tank’</a:t>
            </a:r>
          </a:p>
        </p:txBody>
      </p:sp>
      <p:cxnSp>
        <p:nvCxnSpPr>
          <p:cNvPr id="89" name="Connector: Elbow 88">
            <a:extLst>
              <a:ext uri="{FF2B5EF4-FFF2-40B4-BE49-F238E27FC236}">
                <a16:creationId xmlns:a16="http://schemas.microsoft.com/office/drawing/2014/main" id="{680F8A66-357C-4253-AA13-F6B3DDA7A554}"/>
              </a:ext>
            </a:extLst>
          </p:cNvPr>
          <p:cNvCxnSpPr>
            <a:cxnSpLocks/>
            <a:stCxn id="84" idx="1"/>
            <a:endCxn id="127" idx="3"/>
          </p:cNvCxnSpPr>
          <p:nvPr/>
        </p:nvCxnSpPr>
        <p:spPr>
          <a:xfrm rot="16200000" flipV="1">
            <a:off x="3744370" y="2186944"/>
            <a:ext cx="368766" cy="2300827"/>
          </a:xfrm>
          <a:prstGeom prst="bentConnector2">
            <a:avLst/>
          </a:prstGeom>
          <a:noFill/>
          <a:ln w="19050" cap="flat" cmpd="sng" algn="ctr">
            <a:solidFill>
              <a:srgbClr val="017DBB"/>
            </a:solidFill>
            <a:prstDash val="solid"/>
            <a:headEnd type="triangle" w="lg" len="lg"/>
            <a:tailEnd type="none" w="lg" len="lg"/>
          </a:ln>
          <a:effectLst/>
        </p:spPr>
      </p:cxnSp>
      <p:sp>
        <p:nvSpPr>
          <p:cNvPr id="90" name="Rectangle 89">
            <a:extLst>
              <a:ext uri="{FF2B5EF4-FFF2-40B4-BE49-F238E27FC236}">
                <a16:creationId xmlns:a16="http://schemas.microsoft.com/office/drawing/2014/main" id="{7F414274-0423-4987-9867-FB2F77BE4741}"/>
              </a:ext>
            </a:extLst>
          </p:cNvPr>
          <p:cNvSpPr/>
          <p:nvPr/>
        </p:nvSpPr>
        <p:spPr>
          <a:xfrm>
            <a:off x="3222203" y="2954001"/>
            <a:ext cx="1413100" cy="389986"/>
          </a:xfrm>
          <a:prstGeom prst="rect">
            <a:avLst/>
          </a:prstGeom>
          <a:solidFill>
            <a:srgbClr val="FFFFFF"/>
          </a:solidFill>
          <a:ln w="19050" cap="flat" cmpd="sng" algn="ctr">
            <a:solidFill>
              <a:srgbClr val="017DBB"/>
            </a:solidFill>
            <a:prstDash val="solid"/>
            <a:headEnd type="triangle" w="lg" len="lg"/>
            <a:tailEnd type="triangle" w="lg" len="lg"/>
          </a:ln>
          <a:effectLst/>
        </p:spPr>
        <p:txBody>
          <a:bodyPr rtlCol="0" anchor="ctr"/>
          <a:lstStyle/>
          <a:p>
            <a:pPr algn="ctr" defTabSz="914316">
              <a:defRPr/>
            </a:pPr>
            <a:r>
              <a:rPr lang="en-CA" sz="1050" kern="0" dirty="0">
                <a:solidFill>
                  <a:srgbClr val="000000"/>
                </a:solidFill>
                <a:latin typeface="Arial"/>
              </a:rPr>
              <a:t>Lab strategy steer + PLC governance</a:t>
            </a:r>
          </a:p>
        </p:txBody>
      </p:sp>
      <p:cxnSp>
        <p:nvCxnSpPr>
          <p:cNvPr id="91" name="Connector: Elbow 90">
            <a:extLst>
              <a:ext uri="{FF2B5EF4-FFF2-40B4-BE49-F238E27FC236}">
                <a16:creationId xmlns:a16="http://schemas.microsoft.com/office/drawing/2014/main" id="{4FD6764A-8DDF-4805-853A-CF795AED1033}"/>
              </a:ext>
            </a:extLst>
          </p:cNvPr>
          <p:cNvCxnSpPr>
            <a:cxnSpLocks/>
            <a:stCxn id="102" idx="1"/>
            <a:endCxn id="84" idx="7"/>
          </p:cNvCxnSpPr>
          <p:nvPr/>
        </p:nvCxnSpPr>
        <p:spPr>
          <a:xfrm rot="10800000">
            <a:off x="6878863" y="3521743"/>
            <a:ext cx="2288736" cy="704755"/>
          </a:xfrm>
          <a:prstGeom prst="bentConnector4">
            <a:avLst>
              <a:gd name="adj1" fmla="val 41857"/>
              <a:gd name="adj2" fmla="val 132436"/>
            </a:avLst>
          </a:prstGeom>
          <a:noFill/>
          <a:ln w="19050" cap="flat" cmpd="sng" algn="ctr">
            <a:solidFill>
              <a:srgbClr val="017DBB"/>
            </a:solidFill>
            <a:prstDash val="solid"/>
            <a:headEnd type="triangle" w="lg" len="lg"/>
            <a:tailEnd type="triangle" w="lg" len="lg"/>
          </a:ln>
          <a:effectLst/>
        </p:spPr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A1109DC8-38DF-4343-B8DE-708650B088E8}"/>
              </a:ext>
            </a:extLst>
          </p:cNvPr>
          <p:cNvSpPr/>
          <p:nvPr/>
        </p:nvSpPr>
        <p:spPr>
          <a:xfrm>
            <a:off x="7120113" y="3101449"/>
            <a:ext cx="825821" cy="389116"/>
          </a:xfrm>
          <a:prstGeom prst="rect">
            <a:avLst/>
          </a:prstGeom>
          <a:solidFill>
            <a:srgbClr val="FFFFFF"/>
          </a:solidFill>
          <a:ln w="19050" cap="flat" cmpd="sng" algn="ctr">
            <a:solidFill>
              <a:srgbClr val="017DBB"/>
            </a:solidFill>
            <a:prstDash val="solid"/>
            <a:headEnd type="triangle" w="lg" len="lg"/>
            <a:tailEnd type="triangle" w="lg" len="lg"/>
          </a:ln>
          <a:effectLst/>
        </p:spPr>
        <p:txBody>
          <a:bodyPr rtlCol="0" anchor="ctr"/>
          <a:lstStyle/>
          <a:p>
            <a:pPr algn="ctr" defTabSz="914316">
              <a:defRPr/>
            </a:pPr>
            <a:r>
              <a:rPr lang="en-CA" sz="1050" kern="0" dirty="0">
                <a:solidFill>
                  <a:srgbClr val="000000"/>
                </a:solidFill>
                <a:latin typeface="Arial"/>
              </a:rPr>
              <a:t>Functional support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D75C0D7F-C449-4D9D-B0ED-242CAC097BA0}"/>
              </a:ext>
            </a:extLst>
          </p:cNvPr>
          <p:cNvSpPr/>
          <p:nvPr/>
        </p:nvSpPr>
        <p:spPr>
          <a:xfrm>
            <a:off x="7893241" y="4012259"/>
            <a:ext cx="1011203" cy="497124"/>
          </a:xfrm>
          <a:prstGeom prst="rect">
            <a:avLst/>
          </a:prstGeom>
          <a:solidFill>
            <a:srgbClr val="FFFFFF"/>
          </a:solidFill>
          <a:ln w="19050" cap="flat" cmpd="sng" algn="ctr">
            <a:solidFill>
              <a:srgbClr val="017DBB"/>
            </a:solidFill>
            <a:prstDash val="solid"/>
            <a:headEnd type="triangle" w="lg" len="lg"/>
            <a:tailEnd type="triangle" w="lg" len="lg"/>
          </a:ln>
          <a:effectLst/>
        </p:spPr>
        <p:txBody>
          <a:bodyPr rtlCol="0" anchor="ctr"/>
          <a:lstStyle/>
          <a:p>
            <a:pPr algn="ctr" defTabSz="914316">
              <a:defRPr/>
            </a:pPr>
            <a:r>
              <a:rPr lang="en-CA" sz="1050" kern="0" dirty="0">
                <a:solidFill>
                  <a:srgbClr val="000000"/>
                </a:solidFill>
                <a:latin typeface="Arial"/>
              </a:rPr>
              <a:t>Observation of enterprise processes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7E0E287F-B8A0-4A9A-BD62-1C4DA076BAE4}"/>
              </a:ext>
            </a:extLst>
          </p:cNvPr>
          <p:cNvSpPr/>
          <p:nvPr/>
        </p:nvSpPr>
        <p:spPr>
          <a:xfrm>
            <a:off x="8089461" y="1868656"/>
            <a:ext cx="150452" cy="155640"/>
          </a:xfrm>
          <a:prstGeom prst="rect">
            <a:avLst/>
          </a:prstGeom>
          <a:solidFill>
            <a:srgbClr val="3CDCC0"/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 defTabSz="914316">
              <a:defRPr/>
            </a:pPr>
            <a:endParaRPr lang="en-US" sz="11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88ED003B-5693-4DD8-91A2-D0D675E27A88}"/>
              </a:ext>
            </a:extLst>
          </p:cNvPr>
          <p:cNvSpPr txBox="1"/>
          <p:nvPr/>
        </p:nvSpPr>
        <p:spPr>
          <a:xfrm>
            <a:off x="8221736" y="1817310"/>
            <a:ext cx="1008453" cy="261608"/>
          </a:xfrm>
          <a:prstGeom prst="rect">
            <a:avLst/>
          </a:prstGeom>
          <a:effectLst/>
        </p:spPr>
        <p:txBody>
          <a:bodyPr vert="horz" wrap="square" lIns="91438" tIns="45719" rIns="91438" bIns="45719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 defTabSz="980985">
              <a:buClr>
                <a:srgbClr val="000000"/>
              </a:buClr>
              <a:buNone/>
              <a:defRPr/>
            </a:pPr>
            <a:r>
              <a:rPr lang="en-US" altLang="zh-CN" sz="1100" kern="0">
                <a:solidFill>
                  <a:srgbClr val="000000"/>
                </a:solidFill>
                <a:latin typeface="Arial" panose="020B0604020202020204"/>
                <a:ea typeface="黑体" panose="02010609060101010101" pitchFamily="49" charset="-122"/>
              </a:rPr>
              <a:t>Leadership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BE4A82FF-E12F-4F28-97E8-22A1BF7D38AB}"/>
              </a:ext>
            </a:extLst>
          </p:cNvPr>
          <p:cNvGrpSpPr/>
          <p:nvPr/>
        </p:nvGrpSpPr>
        <p:grpSpPr>
          <a:xfrm>
            <a:off x="6278362" y="1817310"/>
            <a:ext cx="1757018" cy="261608"/>
            <a:chOff x="8757255" y="1160037"/>
            <a:chExt cx="1757042" cy="261611"/>
          </a:xfrm>
        </p:grpSpPr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30549E33-4F85-4033-9190-C6243B78DDBB}"/>
                </a:ext>
              </a:extLst>
            </p:cNvPr>
            <p:cNvSpPr/>
            <p:nvPr/>
          </p:nvSpPr>
          <p:spPr>
            <a:xfrm>
              <a:off x="8757255" y="1211384"/>
              <a:ext cx="150454" cy="155642"/>
            </a:xfrm>
            <a:prstGeom prst="rect">
              <a:avLst/>
            </a:prstGeom>
            <a:solidFill>
              <a:srgbClr val="555555"/>
            </a:solidFill>
            <a:ln w="1905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 defTabSz="914316">
                <a:defRPr/>
              </a:pPr>
              <a:endParaRPr lang="en-US" sz="1100" b="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CF1AD1B5-3E27-405C-83E5-C16EEF105355}"/>
                </a:ext>
              </a:extLst>
            </p:cNvPr>
            <p:cNvSpPr txBox="1"/>
            <p:nvPr/>
          </p:nvSpPr>
          <p:spPr>
            <a:xfrm>
              <a:off x="8889532" y="1160037"/>
              <a:ext cx="1624765" cy="261611"/>
            </a:xfrm>
            <a:prstGeom prst="rect">
              <a:avLst/>
            </a:prstGeom>
            <a:effectLst/>
          </p:spPr>
          <p:txBody>
            <a:bodyPr vert="horz" wrap="square" lIns="91438" tIns="45719" rIns="91438" bIns="45719" rtlCol="0">
              <a:spAutoFit/>
            </a:bodyPr>
            <a:lstStyle>
              <a:lvl1pPr marL="271463" marR="0" lvl="0" indent="-271463" defTabSz="981075" fontAlgn="base">
                <a:lnSpc>
                  <a:spcPct val="100000"/>
                </a:lnSpc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ts val="2400"/>
                <a:buFont typeface="Verdana" pitchFamily="34" charset="0"/>
                <a:buChar char="•"/>
                <a:defRPr kumimoji="0" lang="en-US" altLang="zh-CN" sz="2400" b="0" i="0" u="none" strike="noStrike" cap="none" spc="0" normalizeH="0" baseline="0" noProof="1">
                  <a:ln>
                    <a:noFill/>
                  </a:ln>
                  <a:uLnTx/>
                  <a:uFillTx/>
                </a:defRPr>
              </a:lvl1pPr>
              <a:lvl2pPr marL="574675" marR="0" lvl="1" indent="-119063" defTabSz="981075" fontAlgn="base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ts val="2200"/>
                <a:buFont typeface="Verdana"/>
                <a:buChar char="-"/>
                <a:defRPr lang="en-CA" altLang="zh-CN" sz="1600" baseline="0" noProof="1"/>
              </a:lvl2pPr>
              <a:lvl3pPr marL="1052513" marR="0" lvl="2" indent="-287338" defTabSz="981075" fontAlgn="base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ts val="2200"/>
                <a:buFont typeface="Marlett" pitchFamily="2" charset="2"/>
                <a:buChar char="8"/>
                <a:defRPr lang="zh-CN" altLang="en-US" sz="1600" noProof="1"/>
              </a:lvl3pPr>
              <a:lvl4pPr marL="1453896" marR="0" lvl="3" indent="-210312" defTabSz="981334" fontAlgn="auto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Verdana" pitchFamily="34" charset="0"/>
                <a:buChar char="-"/>
                <a:defRPr lang="en-CA" altLang="zh-CN" sz="1600"/>
              </a:lvl4pPr>
              <a:lvl5pPr marL="2208002" lvl="4" indent="-245334" defTabSz="981334">
                <a:spcBef>
                  <a:spcPct val="20000"/>
                </a:spcBef>
                <a:buFont typeface="Arial" pitchFamily="34" charset="0"/>
                <a:buChar char="»"/>
                <a:defRPr sz="1600">
                  <a:latin typeface="Verdana" pitchFamily="34" charset="0"/>
                </a:defRPr>
              </a:lvl5pPr>
              <a:lvl6pPr marL="2698669" indent="-245334" defTabSz="981334">
                <a:spcBef>
                  <a:spcPct val="20000"/>
                </a:spcBef>
                <a:buFont typeface="Arial" pitchFamily="34" charset="0"/>
                <a:buChar char="•"/>
                <a:defRPr sz="2100"/>
              </a:lvl6pPr>
              <a:lvl7pPr marL="3189336" indent="-245334" defTabSz="981334">
                <a:spcBef>
                  <a:spcPct val="20000"/>
                </a:spcBef>
                <a:buFont typeface="Arial" pitchFamily="34" charset="0"/>
                <a:buChar char="•"/>
                <a:defRPr sz="2100"/>
              </a:lvl7pPr>
              <a:lvl8pPr marL="3680003" indent="-245334" defTabSz="981334">
                <a:spcBef>
                  <a:spcPct val="20000"/>
                </a:spcBef>
                <a:buFont typeface="Arial" pitchFamily="34" charset="0"/>
                <a:buChar char="•"/>
                <a:defRPr sz="2100"/>
              </a:lvl8pPr>
              <a:lvl9pPr marL="4170670" indent="-245334" defTabSz="981334">
                <a:spcBef>
                  <a:spcPct val="20000"/>
                </a:spcBef>
                <a:buFont typeface="Arial" pitchFamily="34" charset="0"/>
                <a:buChar char="•"/>
                <a:defRPr sz="2100"/>
              </a:lvl9pPr>
            </a:lstStyle>
            <a:p>
              <a:pPr marL="0" indent="0" defTabSz="980985">
                <a:buClr>
                  <a:srgbClr val="000000"/>
                </a:buClr>
                <a:buNone/>
                <a:defRPr/>
              </a:pPr>
              <a:r>
                <a:rPr lang="en-US" altLang="zh-CN" sz="1100" kern="0">
                  <a:solidFill>
                    <a:srgbClr val="000000"/>
                  </a:solidFill>
                  <a:latin typeface="Arial" panose="020B0604020202020204"/>
                  <a:ea typeface="黑体" panose="02010609060101010101" pitchFamily="49" charset="-122"/>
                </a:rPr>
                <a:t>TIS-wide Governance</a:t>
              </a:r>
            </a:p>
          </p:txBody>
        </p:sp>
      </p:grpSp>
      <p:sp>
        <p:nvSpPr>
          <p:cNvPr id="102" name="Rectangle 101">
            <a:extLst>
              <a:ext uri="{FF2B5EF4-FFF2-40B4-BE49-F238E27FC236}">
                <a16:creationId xmlns:a16="http://schemas.microsoft.com/office/drawing/2014/main" id="{3BA791BD-273A-4152-BF39-F0C79D2986C6}"/>
              </a:ext>
            </a:extLst>
          </p:cNvPr>
          <p:cNvSpPr>
            <a:spLocks/>
          </p:cNvSpPr>
          <p:nvPr/>
        </p:nvSpPr>
        <p:spPr>
          <a:xfrm>
            <a:off x="9167596" y="1738289"/>
            <a:ext cx="2862579" cy="4976415"/>
          </a:xfrm>
          <a:prstGeom prst="rect">
            <a:avLst/>
          </a:prstGeom>
          <a:solidFill>
            <a:srgbClr val="FFB81E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16">
              <a:defRPr/>
            </a:pPr>
            <a:endParaRPr lang="en-US" sz="16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26E1E59A-F623-4686-BE6E-44C3FF183C70}"/>
              </a:ext>
            </a:extLst>
          </p:cNvPr>
          <p:cNvSpPr txBox="1"/>
          <p:nvPr/>
        </p:nvSpPr>
        <p:spPr>
          <a:xfrm>
            <a:off x="9292782" y="1853787"/>
            <a:ext cx="2612208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algn="ctr" defTabSz="913990">
              <a:buClr>
                <a:srgbClr val="000000"/>
              </a:buClr>
              <a:defRPr/>
            </a:pPr>
            <a:r>
              <a:rPr lang="en-US" sz="1050" b="1" kern="0" dirty="0">
                <a:solidFill>
                  <a:srgbClr val="000000"/>
                </a:solidFill>
                <a:latin typeface="Arial"/>
              </a:rPr>
              <a:t>CENTRAL SUPPORT FUNCTIONS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D71497C1-62D6-4D3C-B9D8-2253D2120264}"/>
              </a:ext>
            </a:extLst>
          </p:cNvPr>
          <p:cNvSpPr/>
          <p:nvPr/>
        </p:nvSpPr>
        <p:spPr>
          <a:xfrm>
            <a:off x="9299415" y="2189135"/>
            <a:ext cx="1242948" cy="1293141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</a:ln>
          <a:effectLst/>
        </p:spPr>
        <p:txBody>
          <a:bodyPr bIns="182878" rtlCol="0" anchor="b" anchorCtr="0"/>
          <a:lstStyle/>
          <a:p>
            <a:pPr algn="ctr" defTabSz="914316">
              <a:defRPr/>
            </a:pPr>
            <a:r>
              <a:rPr lang="en-CA" sz="1050" b="1" kern="0" dirty="0">
                <a:solidFill>
                  <a:srgbClr val="FFFFFF"/>
                </a:solidFill>
                <a:latin typeface="Arial"/>
              </a:rPr>
              <a:t>Finance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4D9B47E-0DCA-4B63-95FF-78774114380E}"/>
              </a:ext>
            </a:extLst>
          </p:cNvPr>
          <p:cNvSpPr/>
          <p:nvPr/>
        </p:nvSpPr>
        <p:spPr>
          <a:xfrm>
            <a:off x="10668675" y="2189135"/>
            <a:ext cx="1242948" cy="1293141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</a:ln>
          <a:effectLst/>
        </p:spPr>
        <p:txBody>
          <a:bodyPr bIns="182878" rtlCol="0" anchor="b" anchorCtr="0"/>
          <a:lstStyle/>
          <a:p>
            <a:pPr algn="ctr" defTabSz="914316">
              <a:defRPr/>
            </a:pPr>
            <a:r>
              <a:rPr lang="en-CA" sz="1050" b="1" kern="0" dirty="0">
                <a:solidFill>
                  <a:srgbClr val="FFFFFF"/>
                </a:solidFill>
                <a:latin typeface="Arial"/>
              </a:rPr>
              <a:t>HR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253178AA-9614-49B1-B5B5-473502934FC5}"/>
              </a:ext>
            </a:extLst>
          </p:cNvPr>
          <p:cNvSpPr/>
          <p:nvPr/>
        </p:nvSpPr>
        <p:spPr>
          <a:xfrm>
            <a:off x="9299415" y="3724103"/>
            <a:ext cx="1242948" cy="1293141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</a:ln>
          <a:effectLst/>
        </p:spPr>
        <p:txBody>
          <a:bodyPr bIns="182878" rtlCol="0" anchor="b" anchorCtr="0"/>
          <a:lstStyle/>
          <a:p>
            <a:pPr algn="ctr" defTabSz="914316">
              <a:defRPr/>
            </a:pPr>
            <a:r>
              <a:rPr lang="en-CA" sz="1050" b="1" kern="0" dirty="0">
                <a:solidFill>
                  <a:srgbClr val="FFFFFF"/>
                </a:solidFill>
                <a:latin typeface="Arial"/>
              </a:rPr>
              <a:t>TIS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151399C3-1861-41F6-A522-609B96FAE553}"/>
              </a:ext>
            </a:extLst>
          </p:cNvPr>
          <p:cNvSpPr/>
          <p:nvPr/>
        </p:nvSpPr>
        <p:spPr>
          <a:xfrm>
            <a:off x="10668675" y="3724103"/>
            <a:ext cx="1242948" cy="1293141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</a:ln>
          <a:effectLst/>
        </p:spPr>
        <p:txBody>
          <a:bodyPr bIns="182878" rtlCol="0" anchor="b" anchorCtr="0"/>
          <a:lstStyle/>
          <a:p>
            <a:pPr algn="ctr" defTabSz="914316">
              <a:defRPr/>
            </a:pPr>
            <a:r>
              <a:rPr lang="en-CA" sz="1050" b="1" kern="0" dirty="0">
                <a:solidFill>
                  <a:srgbClr val="FFFFFF"/>
                </a:solidFill>
                <a:latin typeface="Arial"/>
              </a:rPr>
              <a:t>Supply Chain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58CBE2E5-2871-4980-8BEB-4758582E25B3}"/>
              </a:ext>
            </a:extLst>
          </p:cNvPr>
          <p:cNvSpPr/>
          <p:nvPr/>
        </p:nvSpPr>
        <p:spPr>
          <a:xfrm>
            <a:off x="9299415" y="5259070"/>
            <a:ext cx="1242948" cy="1293141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</a:ln>
          <a:effectLst/>
        </p:spPr>
        <p:txBody>
          <a:bodyPr bIns="182878" rtlCol="0" anchor="b" anchorCtr="0"/>
          <a:lstStyle/>
          <a:p>
            <a:pPr algn="ctr" defTabSz="914316">
              <a:defRPr/>
            </a:pPr>
            <a:r>
              <a:rPr lang="en-CA" sz="1050" b="1" kern="0" dirty="0">
                <a:solidFill>
                  <a:srgbClr val="FFFFFF"/>
                </a:solidFill>
                <a:latin typeface="Arial"/>
              </a:rPr>
              <a:t>Legal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DC743543-6866-4B72-854B-4619149A5C30}"/>
              </a:ext>
            </a:extLst>
          </p:cNvPr>
          <p:cNvSpPr/>
          <p:nvPr/>
        </p:nvSpPr>
        <p:spPr>
          <a:xfrm>
            <a:off x="10668675" y="5259070"/>
            <a:ext cx="1242948" cy="1293141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</a:ln>
          <a:effectLst/>
        </p:spPr>
        <p:txBody>
          <a:bodyPr bIns="182878" rtlCol="0" anchor="b" anchorCtr="0"/>
          <a:lstStyle/>
          <a:p>
            <a:pPr algn="ctr" defTabSz="914316">
              <a:defRPr/>
            </a:pPr>
            <a:r>
              <a:rPr lang="en-CA" sz="1050" b="1" kern="0" dirty="0">
                <a:solidFill>
                  <a:srgbClr val="FFFFFF"/>
                </a:solidFill>
                <a:latin typeface="Arial"/>
              </a:rPr>
              <a:t>Facilities / Admin</a:t>
            </a:r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2546C511-3890-43AB-946B-5269A5175A7F}"/>
              </a:ext>
            </a:extLst>
          </p:cNvPr>
          <p:cNvGrpSpPr/>
          <p:nvPr/>
        </p:nvGrpSpPr>
        <p:grpSpPr>
          <a:xfrm>
            <a:off x="9682889" y="2422196"/>
            <a:ext cx="476000" cy="475557"/>
            <a:chOff x="2397260" y="2165116"/>
            <a:chExt cx="1817883" cy="1816186"/>
          </a:xfrm>
          <a:solidFill>
            <a:srgbClr val="FFB81E">
              <a:lumMod val="20000"/>
              <a:lumOff val="80000"/>
            </a:srgbClr>
          </a:solidFill>
        </p:grpSpPr>
        <p:sp>
          <p:nvSpPr>
            <p:cNvPr id="111" name="Freeform 351">
              <a:extLst>
                <a:ext uri="{FF2B5EF4-FFF2-40B4-BE49-F238E27FC236}">
                  <a16:creationId xmlns:a16="http://schemas.microsoft.com/office/drawing/2014/main" id="{C09BB4E2-D4BA-41A0-AD50-29083DE748E1}"/>
                </a:ext>
              </a:extLst>
            </p:cNvPr>
            <p:cNvSpPr/>
            <p:nvPr/>
          </p:nvSpPr>
          <p:spPr>
            <a:xfrm>
              <a:off x="3082925" y="2849083"/>
              <a:ext cx="1132218" cy="1132218"/>
            </a:xfrm>
            <a:custGeom>
              <a:avLst/>
              <a:gdLst>
                <a:gd name="connsiteX0" fmla="*/ 520742 w 1132218"/>
                <a:gd name="connsiteY0" fmla="*/ 130682 h 1132218"/>
                <a:gd name="connsiteX1" fmla="*/ 520742 w 1132218"/>
                <a:gd name="connsiteY1" fmla="*/ 190769 h 1132218"/>
                <a:gd name="connsiteX2" fmla="*/ 501921 w 1132218"/>
                <a:gd name="connsiteY2" fmla="*/ 191406 h 1132218"/>
                <a:gd name="connsiteX3" fmla="*/ 325042 w 1132218"/>
                <a:gd name="connsiteY3" fmla="*/ 355046 h 1132218"/>
                <a:gd name="connsiteX4" fmla="*/ 408844 w 1132218"/>
                <a:gd name="connsiteY4" fmla="*/ 552808 h 1132218"/>
                <a:gd name="connsiteX5" fmla="*/ 427665 w 1132218"/>
                <a:gd name="connsiteY5" fmla="*/ 565643 h 1132218"/>
                <a:gd name="connsiteX6" fmla="*/ 434896 w 1132218"/>
                <a:gd name="connsiteY6" fmla="*/ 570959 h 1132218"/>
                <a:gd name="connsiteX7" fmla="*/ 447277 w 1132218"/>
                <a:gd name="connsiteY7" fmla="*/ 579460 h 1132218"/>
                <a:gd name="connsiteX8" fmla="*/ 499632 w 1132218"/>
                <a:gd name="connsiteY8" fmla="*/ 610557 h 1132218"/>
                <a:gd name="connsiteX9" fmla="*/ 542416 w 1132218"/>
                <a:gd name="connsiteY9" fmla="*/ 636830 h 1132218"/>
                <a:gd name="connsiteX10" fmla="*/ 563809 w 1132218"/>
                <a:gd name="connsiteY10" fmla="*/ 653455 h 1132218"/>
                <a:gd name="connsiteX11" fmla="*/ 579571 w 1132218"/>
                <a:gd name="connsiteY11" fmla="*/ 671148 h 1132218"/>
                <a:gd name="connsiteX12" fmla="*/ 588578 w 1132218"/>
                <a:gd name="connsiteY12" fmla="*/ 699563 h 1132218"/>
                <a:gd name="connsiteX13" fmla="*/ 593645 w 1132218"/>
                <a:gd name="connsiteY13" fmla="*/ 744603 h 1132218"/>
                <a:gd name="connsiteX14" fmla="*/ 594208 w 1132218"/>
                <a:gd name="connsiteY14" fmla="*/ 784816 h 1132218"/>
                <a:gd name="connsiteX15" fmla="*/ 586890 w 1132218"/>
                <a:gd name="connsiteY15" fmla="*/ 804118 h 1132218"/>
                <a:gd name="connsiteX16" fmla="*/ 574504 w 1132218"/>
                <a:gd name="connsiteY16" fmla="*/ 817524 h 1132218"/>
                <a:gd name="connsiteX17" fmla="*/ 557616 w 1132218"/>
                <a:gd name="connsiteY17" fmla="*/ 821275 h 1132218"/>
                <a:gd name="connsiteX18" fmla="*/ 541290 w 1132218"/>
                <a:gd name="connsiteY18" fmla="*/ 819133 h 1132218"/>
                <a:gd name="connsiteX19" fmla="*/ 530735 w 1132218"/>
                <a:gd name="connsiteY19" fmla="*/ 811357 h 1132218"/>
                <a:gd name="connsiteX20" fmla="*/ 525527 w 1132218"/>
                <a:gd name="connsiteY20" fmla="*/ 798755 h 1132218"/>
                <a:gd name="connsiteX21" fmla="*/ 522150 w 1132218"/>
                <a:gd name="connsiteY21" fmla="*/ 762296 h 1132218"/>
                <a:gd name="connsiteX22" fmla="*/ 521025 w 1132218"/>
                <a:gd name="connsiteY22" fmla="*/ 700099 h 1132218"/>
                <a:gd name="connsiteX23" fmla="*/ 520426 w 1132218"/>
                <a:gd name="connsiteY23" fmla="*/ 675907 h 1132218"/>
                <a:gd name="connsiteX24" fmla="*/ 520457 w 1132218"/>
                <a:gd name="connsiteY24" fmla="*/ 665871 h 1132218"/>
                <a:gd name="connsiteX25" fmla="*/ 497943 w 1132218"/>
                <a:gd name="connsiteY25" fmla="*/ 665871 h 1132218"/>
                <a:gd name="connsiteX26" fmla="*/ 327770 w 1132218"/>
                <a:gd name="connsiteY26" fmla="*/ 665871 h 1132218"/>
                <a:gd name="connsiteX27" fmla="*/ 327768 w 1132218"/>
                <a:gd name="connsiteY27" fmla="*/ 666061 h 1132218"/>
                <a:gd name="connsiteX28" fmla="*/ 329747 w 1132218"/>
                <a:gd name="connsiteY28" fmla="*/ 743562 h 1132218"/>
                <a:gd name="connsiteX29" fmla="*/ 503883 w 1132218"/>
                <a:gd name="connsiteY29" fmla="*/ 927098 h 1132218"/>
                <a:gd name="connsiteX30" fmla="*/ 521586 w 1132218"/>
                <a:gd name="connsiteY30" fmla="*/ 928840 h 1132218"/>
                <a:gd name="connsiteX31" fmla="*/ 521586 w 1132218"/>
                <a:gd name="connsiteY31" fmla="*/ 1001536 h 1132218"/>
                <a:gd name="connsiteX32" fmla="*/ 608057 w 1132218"/>
                <a:gd name="connsiteY32" fmla="*/ 1001536 h 1132218"/>
                <a:gd name="connsiteX33" fmla="*/ 608057 w 1132218"/>
                <a:gd name="connsiteY33" fmla="*/ 931217 h 1132218"/>
                <a:gd name="connsiteX34" fmla="*/ 610597 w 1132218"/>
                <a:gd name="connsiteY34" fmla="*/ 931278 h 1132218"/>
                <a:gd name="connsiteX35" fmla="*/ 806565 w 1132218"/>
                <a:gd name="connsiteY35" fmla="*/ 734982 h 1132218"/>
                <a:gd name="connsiteX36" fmla="*/ 807005 w 1132218"/>
                <a:gd name="connsiteY36" fmla="*/ 689910 h 1132218"/>
                <a:gd name="connsiteX37" fmla="*/ 774587 w 1132218"/>
                <a:gd name="connsiteY37" fmla="*/ 578495 h 1132218"/>
                <a:gd name="connsiteX38" fmla="*/ 765729 w 1132218"/>
                <a:gd name="connsiteY38" fmla="*/ 565539 h 1132218"/>
                <a:gd name="connsiteX39" fmla="*/ 765962 w 1132218"/>
                <a:gd name="connsiteY39" fmla="*/ 565539 h 1132218"/>
                <a:gd name="connsiteX40" fmla="*/ 741701 w 1132218"/>
                <a:gd name="connsiteY40" fmla="*/ 540320 h 1132218"/>
                <a:gd name="connsiteX41" fmla="*/ 710739 w 1132218"/>
                <a:gd name="connsiteY41" fmla="*/ 518337 h 1132218"/>
                <a:gd name="connsiteX42" fmla="*/ 661763 w 1132218"/>
                <a:gd name="connsiteY42" fmla="*/ 489385 h 1132218"/>
                <a:gd name="connsiteX43" fmla="*/ 591394 w 1132218"/>
                <a:gd name="connsiteY43" fmla="*/ 446487 h 1132218"/>
                <a:gd name="connsiteX44" fmla="*/ 550298 w 1132218"/>
                <a:gd name="connsiteY44" fmla="*/ 420217 h 1132218"/>
                <a:gd name="connsiteX45" fmla="*/ 532283 w 1132218"/>
                <a:gd name="connsiteY45" fmla="*/ 400379 h 1132218"/>
                <a:gd name="connsiteX46" fmla="*/ 524964 w 1132218"/>
                <a:gd name="connsiteY46" fmla="*/ 383222 h 1132218"/>
                <a:gd name="connsiteX47" fmla="*/ 521025 w 1132218"/>
                <a:gd name="connsiteY47" fmla="*/ 354803 h 1132218"/>
                <a:gd name="connsiteX48" fmla="*/ 523839 w 1132218"/>
                <a:gd name="connsiteY48" fmla="*/ 330678 h 1132218"/>
                <a:gd name="connsiteX49" fmla="*/ 528343 w 1132218"/>
                <a:gd name="connsiteY49" fmla="*/ 315663 h 1132218"/>
                <a:gd name="connsiteX50" fmla="*/ 539038 w 1132218"/>
                <a:gd name="connsiteY50" fmla="*/ 304405 h 1132218"/>
                <a:gd name="connsiteX51" fmla="*/ 550861 w 1132218"/>
                <a:gd name="connsiteY51" fmla="*/ 299578 h 1132218"/>
                <a:gd name="connsiteX52" fmla="*/ 556595 w 1132218"/>
                <a:gd name="connsiteY52" fmla="*/ 298709 h 1132218"/>
                <a:gd name="connsiteX53" fmla="*/ 562683 w 1132218"/>
                <a:gd name="connsiteY53" fmla="*/ 299042 h 1132218"/>
                <a:gd name="connsiteX54" fmla="*/ 577320 w 1132218"/>
                <a:gd name="connsiteY54" fmla="*/ 303868 h 1132218"/>
                <a:gd name="connsiteX55" fmla="*/ 587453 w 1132218"/>
                <a:gd name="connsiteY55" fmla="*/ 315126 h 1132218"/>
                <a:gd name="connsiteX56" fmla="*/ 591394 w 1132218"/>
                <a:gd name="connsiteY56" fmla="*/ 339791 h 1132218"/>
                <a:gd name="connsiteX57" fmla="*/ 592519 w 1132218"/>
                <a:gd name="connsiteY57" fmla="*/ 385367 h 1132218"/>
                <a:gd name="connsiteX58" fmla="*/ 592969 w 1132218"/>
                <a:gd name="connsiteY58" fmla="*/ 408423 h 1132218"/>
                <a:gd name="connsiteX59" fmla="*/ 785538 w 1132218"/>
                <a:gd name="connsiteY59" fmla="*/ 408423 h 1132218"/>
                <a:gd name="connsiteX60" fmla="*/ 787160 w 1132218"/>
                <a:gd name="connsiteY60" fmla="*/ 355447 h 1132218"/>
                <a:gd name="connsiteX61" fmla="*/ 608593 w 1132218"/>
                <a:gd name="connsiteY61" fmla="*/ 191002 h 1132218"/>
                <a:gd name="connsiteX62" fmla="*/ 608563 w 1132218"/>
                <a:gd name="connsiteY62" fmla="*/ 191002 h 1132218"/>
                <a:gd name="connsiteX63" fmla="*/ 608563 w 1132218"/>
                <a:gd name="connsiteY63" fmla="*/ 130682 h 1132218"/>
                <a:gd name="connsiteX64" fmla="*/ 566109 w 1132218"/>
                <a:gd name="connsiteY64" fmla="*/ 0 h 1132218"/>
                <a:gd name="connsiteX65" fmla="*/ 1132218 w 1132218"/>
                <a:gd name="connsiteY65" fmla="*/ 566109 h 1132218"/>
                <a:gd name="connsiteX66" fmla="*/ 566109 w 1132218"/>
                <a:gd name="connsiteY66" fmla="*/ 1132218 h 1132218"/>
                <a:gd name="connsiteX67" fmla="*/ 0 w 1132218"/>
                <a:gd name="connsiteY67" fmla="*/ 566109 h 1132218"/>
                <a:gd name="connsiteX68" fmla="*/ 566109 w 1132218"/>
                <a:gd name="connsiteY68" fmla="*/ 0 h 1132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1132218" h="1132218">
                  <a:moveTo>
                    <a:pt x="520742" y="130682"/>
                  </a:moveTo>
                  <a:lnTo>
                    <a:pt x="520742" y="190769"/>
                  </a:lnTo>
                  <a:lnTo>
                    <a:pt x="501921" y="191406"/>
                  </a:lnTo>
                  <a:cubicBezTo>
                    <a:pt x="383999" y="206689"/>
                    <a:pt x="327998" y="277716"/>
                    <a:pt x="325042" y="355046"/>
                  </a:cubicBezTo>
                  <a:cubicBezTo>
                    <a:pt x="319318" y="457756"/>
                    <a:pt x="365636" y="518294"/>
                    <a:pt x="408844" y="552808"/>
                  </a:cubicBezTo>
                  <a:lnTo>
                    <a:pt x="427665" y="565643"/>
                  </a:lnTo>
                  <a:lnTo>
                    <a:pt x="434896" y="570959"/>
                  </a:lnTo>
                  <a:cubicBezTo>
                    <a:pt x="439092" y="574055"/>
                    <a:pt x="443219" y="577004"/>
                    <a:pt x="447277" y="579460"/>
                  </a:cubicBezTo>
                  <a:lnTo>
                    <a:pt x="499632" y="610557"/>
                  </a:lnTo>
                  <a:cubicBezTo>
                    <a:pt x="515488" y="620124"/>
                    <a:pt x="531719" y="629684"/>
                    <a:pt x="542416" y="636830"/>
                  </a:cubicBezTo>
                  <a:cubicBezTo>
                    <a:pt x="553112" y="643981"/>
                    <a:pt x="557616" y="647735"/>
                    <a:pt x="563809" y="653455"/>
                  </a:cubicBezTo>
                  <a:cubicBezTo>
                    <a:pt x="570002" y="659175"/>
                    <a:pt x="575443" y="663462"/>
                    <a:pt x="579571" y="671148"/>
                  </a:cubicBezTo>
                  <a:cubicBezTo>
                    <a:pt x="583700" y="678831"/>
                    <a:pt x="586233" y="687322"/>
                    <a:pt x="588578" y="699563"/>
                  </a:cubicBezTo>
                  <a:cubicBezTo>
                    <a:pt x="590923" y="711808"/>
                    <a:pt x="592707" y="730395"/>
                    <a:pt x="593645" y="744603"/>
                  </a:cubicBezTo>
                  <a:cubicBezTo>
                    <a:pt x="594584" y="758810"/>
                    <a:pt x="595333" y="774898"/>
                    <a:pt x="594208" y="784816"/>
                  </a:cubicBezTo>
                  <a:cubicBezTo>
                    <a:pt x="593083" y="794733"/>
                    <a:pt x="590174" y="798669"/>
                    <a:pt x="586890" y="804118"/>
                  </a:cubicBezTo>
                  <a:cubicBezTo>
                    <a:pt x="583605" y="809566"/>
                    <a:pt x="579383" y="814664"/>
                    <a:pt x="574504" y="817524"/>
                  </a:cubicBezTo>
                  <a:cubicBezTo>
                    <a:pt x="569625" y="820385"/>
                    <a:pt x="563152" y="821007"/>
                    <a:pt x="557616" y="821275"/>
                  </a:cubicBezTo>
                  <a:cubicBezTo>
                    <a:pt x="552080" y="821543"/>
                    <a:pt x="545770" y="820785"/>
                    <a:pt x="541290" y="819133"/>
                  </a:cubicBezTo>
                  <a:cubicBezTo>
                    <a:pt x="536810" y="817478"/>
                    <a:pt x="533362" y="814754"/>
                    <a:pt x="530735" y="811357"/>
                  </a:cubicBezTo>
                  <a:cubicBezTo>
                    <a:pt x="528109" y="807957"/>
                    <a:pt x="526958" y="806931"/>
                    <a:pt x="525527" y="798755"/>
                  </a:cubicBezTo>
                  <a:cubicBezTo>
                    <a:pt x="524097" y="790582"/>
                    <a:pt x="522901" y="778738"/>
                    <a:pt x="522150" y="762296"/>
                  </a:cubicBezTo>
                  <a:cubicBezTo>
                    <a:pt x="521399" y="745854"/>
                    <a:pt x="521774" y="717525"/>
                    <a:pt x="521025" y="700099"/>
                  </a:cubicBezTo>
                  <a:cubicBezTo>
                    <a:pt x="520649" y="691387"/>
                    <a:pt x="520719" y="683146"/>
                    <a:pt x="520426" y="675907"/>
                  </a:cubicBezTo>
                  <a:cubicBezTo>
                    <a:pt x="520436" y="672560"/>
                    <a:pt x="520446" y="669218"/>
                    <a:pt x="520457" y="665871"/>
                  </a:cubicBezTo>
                  <a:lnTo>
                    <a:pt x="497943" y="665871"/>
                  </a:lnTo>
                  <a:lnTo>
                    <a:pt x="327770" y="665871"/>
                  </a:lnTo>
                  <a:lnTo>
                    <a:pt x="327768" y="666061"/>
                  </a:lnTo>
                  <a:cubicBezTo>
                    <a:pt x="327636" y="692363"/>
                    <a:pt x="328058" y="718340"/>
                    <a:pt x="329747" y="743562"/>
                  </a:cubicBezTo>
                  <a:cubicBezTo>
                    <a:pt x="333969" y="845679"/>
                    <a:pt x="402492" y="913302"/>
                    <a:pt x="503883" y="927098"/>
                  </a:cubicBezTo>
                  <a:lnTo>
                    <a:pt x="521586" y="928840"/>
                  </a:lnTo>
                  <a:lnTo>
                    <a:pt x="521586" y="1001536"/>
                  </a:lnTo>
                  <a:lnTo>
                    <a:pt x="608057" y="1001536"/>
                  </a:lnTo>
                  <a:lnTo>
                    <a:pt x="608057" y="931217"/>
                  </a:lnTo>
                  <a:lnTo>
                    <a:pt x="610597" y="931278"/>
                  </a:lnTo>
                  <a:cubicBezTo>
                    <a:pt x="736782" y="917338"/>
                    <a:pt x="806565" y="837470"/>
                    <a:pt x="806565" y="734982"/>
                  </a:cubicBezTo>
                  <a:cubicBezTo>
                    <a:pt x="808587" y="713703"/>
                    <a:pt x="807234" y="705294"/>
                    <a:pt x="807005" y="689910"/>
                  </a:cubicBezTo>
                  <a:cubicBezTo>
                    <a:pt x="805065" y="649533"/>
                    <a:pt x="795525" y="612466"/>
                    <a:pt x="774587" y="578495"/>
                  </a:cubicBezTo>
                  <a:lnTo>
                    <a:pt x="765729" y="565539"/>
                  </a:lnTo>
                  <a:lnTo>
                    <a:pt x="765962" y="565539"/>
                  </a:lnTo>
                  <a:cubicBezTo>
                    <a:pt x="762426" y="561181"/>
                    <a:pt x="750905" y="548189"/>
                    <a:pt x="741701" y="540320"/>
                  </a:cubicBezTo>
                  <a:cubicBezTo>
                    <a:pt x="732498" y="532455"/>
                    <a:pt x="724063" y="526827"/>
                    <a:pt x="710739" y="518337"/>
                  </a:cubicBezTo>
                  <a:lnTo>
                    <a:pt x="661763" y="489385"/>
                  </a:lnTo>
                  <a:lnTo>
                    <a:pt x="591394" y="446487"/>
                  </a:lnTo>
                  <a:cubicBezTo>
                    <a:pt x="572816" y="434961"/>
                    <a:pt x="560149" y="427904"/>
                    <a:pt x="550298" y="420217"/>
                  </a:cubicBezTo>
                  <a:cubicBezTo>
                    <a:pt x="540446" y="412534"/>
                    <a:pt x="536505" y="406546"/>
                    <a:pt x="532283" y="400379"/>
                  </a:cubicBezTo>
                  <a:cubicBezTo>
                    <a:pt x="528061" y="394212"/>
                    <a:pt x="526840" y="390819"/>
                    <a:pt x="524964" y="383222"/>
                  </a:cubicBezTo>
                  <a:cubicBezTo>
                    <a:pt x="523087" y="375625"/>
                    <a:pt x="521212" y="363562"/>
                    <a:pt x="521025" y="354803"/>
                  </a:cubicBezTo>
                  <a:cubicBezTo>
                    <a:pt x="520836" y="346048"/>
                    <a:pt x="522618" y="337199"/>
                    <a:pt x="523839" y="330678"/>
                  </a:cubicBezTo>
                  <a:cubicBezTo>
                    <a:pt x="525058" y="324154"/>
                    <a:pt x="525810" y="320042"/>
                    <a:pt x="528343" y="315663"/>
                  </a:cubicBezTo>
                  <a:cubicBezTo>
                    <a:pt x="530876" y="311287"/>
                    <a:pt x="535286" y="307082"/>
                    <a:pt x="539038" y="304405"/>
                  </a:cubicBezTo>
                  <a:cubicBezTo>
                    <a:pt x="542791" y="301723"/>
                    <a:pt x="546920" y="300472"/>
                    <a:pt x="550861" y="299578"/>
                  </a:cubicBezTo>
                  <a:cubicBezTo>
                    <a:pt x="552831" y="299131"/>
                    <a:pt x="554683" y="298820"/>
                    <a:pt x="556595" y="298709"/>
                  </a:cubicBezTo>
                  <a:cubicBezTo>
                    <a:pt x="558507" y="298595"/>
                    <a:pt x="560479" y="298684"/>
                    <a:pt x="562683" y="299042"/>
                  </a:cubicBezTo>
                  <a:cubicBezTo>
                    <a:pt x="567093" y="299757"/>
                    <a:pt x="573191" y="301187"/>
                    <a:pt x="577320" y="303868"/>
                  </a:cubicBezTo>
                  <a:cubicBezTo>
                    <a:pt x="581447" y="306550"/>
                    <a:pt x="585108" y="309138"/>
                    <a:pt x="587453" y="315126"/>
                  </a:cubicBezTo>
                  <a:cubicBezTo>
                    <a:pt x="589798" y="321115"/>
                    <a:pt x="590548" y="328083"/>
                    <a:pt x="591394" y="339791"/>
                  </a:cubicBezTo>
                  <a:cubicBezTo>
                    <a:pt x="592237" y="351496"/>
                    <a:pt x="592256" y="373930"/>
                    <a:pt x="592519" y="385367"/>
                  </a:cubicBezTo>
                  <a:cubicBezTo>
                    <a:pt x="592669" y="393050"/>
                    <a:pt x="592819" y="400736"/>
                    <a:pt x="592969" y="408423"/>
                  </a:cubicBezTo>
                  <a:lnTo>
                    <a:pt x="785538" y="408423"/>
                  </a:lnTo>
                  <a:lnTo>
                    <a:pt x="787160" y="355447"/>
                  </a:lnTo>
                  <a:cubicBezTo>
                    <a:pt x="785472" y="264849"/>
                    <a:pt x="718916" y="197437"/>
                    <a:pt x="608593" y="191002"/>
                  </a:cubicBezTo>
                  <a:lnTo>
                    <a:pt x="608563" y="191002"/>
                  </a:lnTo>
                  <a:lnTo>
                    <a:pt x="608563" y="130682"/>
                  </a:lnTo>
                  <a:close/>
                  <a:moveTo>
                    <a:pt x="566109" y="0"/>
                  </a:moveTo>
                  <a:cubicBezTo>
                    <a:pt x="878762" y="0"/>
                    <a:pt x="1132218" y="253456"/>
                    <a:pt x="1132218" y="566109"/>
                  </a:cubicBezTo>
                  <a:cubicBezTo>
                    <a:pt x="1132218" y="878762"/>
                    <a:pt x="878762" y="1132218"/>
                    <a:pt x="566109" y="1132218"/>
                  </a:cubicBezTo>
                  <a:cubicBezTo>
                    <a:pt x="253456" y="1132218"/>
                    <a:pt x="0" y="878762"/>
                    <a:pt x="0" y="566109"/>
                  </a:cubicBezTo>
                  <a:cubicBezTo>
                    <a:pt x="0" y="253456"/>
                    <a:pt x="253456" y="0"/>
                    <a:pt x="566109" y="0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lgDash"/>
            </a:ln>
            <a:effectLst/>
          </p:spPr>
          <p:txBody>
            <a:bodyPr rtlCol="0" anchor="ctr"/>
            <a:lstStyle/>
            <a:p>
              <a:pPr defTabSz="914316">
                <a:defRPr/>
              </a:pPr>
              <a:endParaRPr lang="de-DE" sz="1942" kern="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2" name="Freeform 352">
              <a:extLst>
                <a:ext uri="{FF2B5EF4-FFF2-40B4-BE49-F238E27FC236}">
                  <a16:creationId xmlns:a16="http://schemas.microsoft.com/office/drawing/2014/main" id="{9FA25189-CE3C-404E-AC2A-27E129253842}"/>
                </a:ext>
              </a:extLst>
            </p:cNvPr>
            <p:cNvSpPr/>
            <p:nvPr/>
          </p:nvSpPr>
          <p:spPr>
            <a:xfrm>
              <a:off x="2397260" y="2165116"/>
              <a:ext cx="1371330" cy="1816186"/>
            </a:xfrm>
            <a:custGeom>
              <a:avLst/>
              <a:gdLst>
                <a:gd name="connsiteX0" fmla="*/ 12720 w 1371330"/>
                <a:gd name="connsiteY0" fmla="*/ 1410728 h 1816186"/>
                <a:gd name="connsiteX1" fmla="*/ 34740 w 1371330"/>
                <a:gd name="connsiteY1" fmla="*/ 1445114 h 1816186"/>
                <a:gd name="connsiteX2" fmla="*/ 685665 w 1371330"/>
                <a:gd name="connsiteY2" fmla="*/ 1654261 h 1816186"/>
                <a:gd name="connsiteX3" fmla="*/ 778129 w 1371330"/>
                <a:gd name="connsiteY3" fmla="*/ 1650870 h 1816186"/>
                <a:gd name="connsiteX4" fmla="*/ 811064 w 1371330"/>
                <a:gd name="connsiteY4" fmla="*/ 1690787 h 1816186"/>
                <a:gd name="connsiteX5" fmla="*/ 903304 w 1371330"/>
                <a:gd name="connsiteY5" fmla="*/ 1766892 h 1816186"/>
                <a:gd name="connsiteX6" fmla="*/ 946323 w 1371330"/>
                <a:gd name="connsiteY6" fmla="*/ 1790242 h 1816186"/>
                <a:gd name="connsiteX7" fmla="*/ 823850 w 1371330"/>
                <a:gd name="connsiteY7" fmla="*/ 1809229 h 1816186"/>
                <a:gd name="connsiteX8" fmla="*/ 685665 w 1371330"/>
                <a:gd name="connsiteY8" fmla="*/ 1816186 h 1816186"/>
                <a:gd name="connsiteX9" fmla="*/ 0 w 1371330"/>
                <a:gd name="connsiteY9" fmla="*/ 1473745 h 1816186"/>
                <a:gd name="connsiteX10" fmla="*/ 12720 w 1371330"/>
                <a:gd name="connsiteY10" fmla="*/ 1182128 h 1816186"/>
                <a:gd name="connsiteX11" fmla="*/ 34740 w 1371330"/>
                <a:gd name="connsiteY11" fmla="*/ 1216514 h 1816186"/>
                <a:gd name="connsiteX12" fmla="*/ 578081 w 1371330"/>
                <a:gd name="connsiteY12" fmla="*/ 1421715 h 1816186"/>
                <a:gd name="connsiteX13" fmla="*/ 656358 w 1371330"/>
                <a:gd name="connsiteY13" fmla="*/ 1424586 h 1816186"/>
                <a:gd name="connsiteX14" fmla="*/ 677494 w 1371330"/>
                <a:gd name="connsiteY14" fmla="*/ 1492676 h 1816186"/>
                <a:gd name="connsiteX15" fmla="*/ 727856 w 1371330"/>
                <a:gd name="connsiteY15" fmla="*/ 1585462 h 1816186"/>
                <a:gd name="connsiteX16" fmla="*/ 685665 w 1371330"/>
                <a:gd name="connsiteY16" fmla="*/ 1587586 h 1816186"/>
                <a:gd name="connsiteX17" fmla="*/ 0 w 1371330"/>
                <a:gd name="connsiteY17" fmla="*/ 1245145 h 1816186"/>
                <a:gd name="connsiteX18" fmla="*/ 12720 w 1371330"/>
                <a:gd name="connsiteY18" fmla="*/ 953528 h 1816186"/>
                <a:gd name="connsiteX19" fmla="*/ 34740 w 1371330"/>
                <a:gd name="connsiteY19" fmla="*/ 987914 h 1816186"/>
                <a:gd name="connsiteX20" fmla="*/ 578081 w 1371330"/>
                <a:gd name="connsiteY20" fmla="*/ 1193115 h 1816186"/>
                <a:gd name="connsiteX21" fmla="*/ 634050 w 1371330"/>
                <a:gd name="connsiteY21" fmla="*/ 1195168 h 1816186"/>
                <a:gd name="connsiteX22" fmla="*/ 628515 w 1371330"/>
                <a:gd name="connsiteY22" fmla="*/ 1250076 h 1816186"/>
                <a:gd name="connsiteX23" fmla="*/ 639259 w 1371330"/>
                <a:gd name="connsiteY23" fmla="*/ 1356650 h 1816186"/>
                <a:gd name="connsiteX24" fmla="*/ 547480 w 1371330"/>
                <a:gd name="connsiteY24" fmla="*/ 1352029 h 1816186"/>
                <a:gd name="connsiteX25" fmla="*/ 0 w 1371330"/>
                <a:gd name="connsiteY25" fmla="*/ 1016545 h 1816186"/>
                <a:gd name="connsiteX26" fmla="*/ 12720 w 1371330"/>
                <a:gd name="connsiteY26" fmla="*/ 724928 h 1816186"/>
                <a:gd name="connsiteX27" fmla="*/ 34740 w 1371330"/>
                <a:gd name="connsiteY27" fmla="*/ 759314 h 1816186"/>
                <a:gd name="connsiteX28" fmla="*/ 685665 w 1371330"/>
                <a:gd name="connsiteY28" fmla="*/ 968461 h 1816186"/>
                <a:gd name="connsiteX29" fmla="*/ 698935 w 1371330"/>
                <a:gd name="connsiteY29" fmla="*/ 967974 h 1816186"/>
                <a:gd name="connsiteX30" fmla="*/ 677494 w 1371330"/>
                <a:gd name="connsiteY30" fmla="*/ 1007476 h 1816186"/>
                <a:gd name="connsiteX31" fmla="*/ 641178 w 1371330"/>
                <a:gd name="connsiteY31" fmla="*/ 1124468 h 1816186"/>
                <a:gd name="connsiteX32" fmla="*/ 640809 w 1371330"/>
                <a:gd name="connsiteY32" fmla="*/ 1128128 h 1816186"/>
                <a:gd name="connsiteX33" fmla="*/ 547480 w 1371330"/>
                <a:gd name="connsiteY33" fmla="*/ 1123429 h 1816186"/>
                <a:gd name="connsiteX34" fmla="*/ 0 w 1371330"/>
                <a:gd name="connsiteY34" fmla="*/ 787945 h 1816186"/>
                <a:gd name="connsiteX35" fmla="*/ 1358610 w 1371330"/>
                <a:gd name="connsiteY35" fmla="*/ 496328 h 1816186"/>
                <a:gd name="connsiteX36" fmla="*/ 1371330 w 1371330"/>
                <a:gd name="connsiteY36" fmla="*/ 559345 h 1816186"/>
                <a:gd name="connsiteX37" fmla="*/ 1357400 w 1371330"/>
                <a:gd name="connsiteY37" fmla="*/ 628359 h 1816186"/>
                <a:gd name="connsiteX38" fmla="*/ 1352074 w 1371330"/>
                <a:gd name="connsiteY38" fmla="*/ 636928 h 1816186"/>
                <a:gd name="connsiteX39" fmla="*/ 1251774 w 1371330"/>
                <a:gd name="connsiteY39" fmla="*/ 626817 h 1816186"/>
                <a:gd name="connsiteX40" fmla="*/ 1197211 w 1371330"/>
                <a:gd name="connsiteY40" fmla="*/ 632318 h 1816186"/>
                <a:gd name="connsiteX41" fmla="*/ 1230790 w 1371330"/>
                <a:gd name="connsiteY41" fmla="*/ 615245 h 1816186"/>
                <a:gd name="connsiteX42" fmla="*/ 1336591 w 1371330"/>
                <a:gd name="connsiteY42" fmla="*/ 530714 h 1816186"/>
                <a:gd name="connsiteX43" fmla="*/ 12720 w 1371330"/>
                <a:gd name="connsiteY43" fmla="*/ 496328 h 1816186"/>
                <a:gd name="connsiteX44" fmla="*/ 34740 w 1371330"/>
                <a:gd name="connsiteY44" fmla="*/ 530714 h 1816186"/>
                <a:gd name="connsiteX45" fmla="*/ 685665 w 1371330"/>
                <a:gd name="connsiteY45" fmla="*/ 739861 h 1816186"/>
                <a:gd name="connsiteX46" fmla="*/ 895739 w 1371330"/>
                <a:gd name="connsiteY46" fmla="*/ 724466 h 1816186"/>
                <a:gd name="connsiteX47" fmla="*/ 932410 w 1371330"/>
                <a:gd name="connsiteY47" fmla="*/ 717462 h 1816186"/>
                <a:gd name="connsiteX48" fmla="*/ 903304 w 1371330"/>
                <a:gd name="connsiteY48" fmla="*/ 733260 h 1816186"/>
                <a:gd name="connsiteX49" fmla="*/ 811064 w 1371330"/>
                <a:gd name="connsiteY49" fmla="*/ 809366 h 1816186"/>
                <a:gd name="connsiteX50" fmla="*/ 736940 w 1371330"/>
                <a:gd name="connsiteY50" fmla="*/ 899205 h 1816186"/>
                <a:gd name="connsiteX51" fmla="*/ 685665 w 1371330"/>
                <a:gd name="connsiteY51" fmla="*/ 901786 h 1816186"/>
                <a:gd name="connsiteX52" fmla="*/ 0 w 1371330"/>
                <a:gd name="connsiteY52" fmla="*/ 559345 h 1816186"/>
                <a:gd name="connsiteX53" fmla="*/ 628061 w 1371330"/>
                <a:gd name="connsiteY53" fmla="*/ 109161 h 1816186"/>
                <a:gd name="connsiteX54" fmla="*/ 628061 w 1371330"/>
                <a:gd name="connsiteY54" fmla="*/ 141032 h 1816186"/>
                <a:gd name="connsiteX55" fmla="*/ 604163 w 1371330"/>
                <a:gd name="connsiteY55" fmla="*/ 141370 h 1816186"/>
                <a:gd name="connsiteX56" fmla="*/ 379574 w 1371330"/>
                <a:gd name="connsiteY56" fmla="*/ 228166 h 1816186"/>
                <a:gd name="connsiteX57" fmla="*/ 485980 w 1371330"/>
                <a:gd name="connsiteY57" fmla="*/ 333061 h 1816186"/>
                <a:gd name="connsiteX58" fmla="*/ 509878 w 1371330"/>
                <a:gd name="connsiteY58" fmla="*/ 339869 h 1816186"/>
                <a:gd name="connsiteX59" fmla="*/ 519059 w 1371330"/>
                <a:gd name="connsiteY59" fmla="*/ 342689 h 1816186"/>
                <a:gd name="connsiteX60" fmla="*/ 534779 w 1371330"/>
                <a:gd name="connsiteY60" fmla="*/ 347198 h 1816186"/>
                <a:gd name="connsiteX61" fmla="*/ 601256 w 1371330"/>
                <a:gd name="connsiteY61" fmla="*/ 363692 h 1816186"/>
                <a:gd name="connsiteX62" fmla="*/ 655581 w 1371330"/>
                <a:gd name="connsiteY62" fmla="*/ 377628 h 1816186"/>
                <a:gd name="connsiteX63" fmla="*/ 682744 w 1371330"/>
                <a:gd name="connsiteY63" fmla="*/ 386446 h 1816186"/>
                <a:gd name="connsiteX64" fmla="*/ 702758 w 1371330"/>
                <a:gd name="connsiteY64" fmla="*/ 395831 h 1816186"/>
                <a:gd name="connsiteX65" fmla="*/ 714194 w 1371330"/>
                <a:gd name="connsiteY65" fmla="*/ 410902 h 1816186"/>
                <a:gd name="connsiteX66" fmla="*/ 720628 w 1371330"/>
                <a:gd name="connsiteY66" fmla="*/ 434792 h 1816186"/>
                <a:gd name="connsiteX67" fmla="*/ 721342 w 1371330"/>
                <a:gd name="connsiteY67" fmla="*/ 456121 h 1816186"/>
                <a:gd name="connsiteX68" fmla="*/ 712051 w 1371330"/>
                <a:gd name="connsiteY68" fmla="*/ 466359 h 1816186"/>
                <a:gd name="connsiteX69" fmla="*/ 696324 w 1371330"/>
                <a:gd name="connsiteY69" fmla="*/ 473470 h 1816186"/>
                <a:gd name="connsiteX70" fmla="*/ 674880 w 1371330"/>
                <a:gd name="connsiteY70" fmla="*/ 475459 h 1816186"/>
                <a:gd name="connsiteX71" fmla="*/ 654151 w 1371330"/>
                <a:gd name="connsiteY71" fmla="*/ 474324 h 1816186"/>
                <a:gd name="connsiteX72" fmla="*/ 640749 w 1371330"/>
                <a:gd name="connsiteY72" fmla="*/ 470199 h 1816186"/>
                <a:gd name="connsiteX73" fmla="*/ 634136 w 1371330"/>
                <a:gd name="connsiteY73" fmla="*/ 463515 h 1816186"/>
                <a:gd name="connsiteX74" fmla="*/ 629848 w 1371330"/>
                <a:gd name="connsiteY74" fmla="*/ 444176 h 1816186"/>
                <a:gd name="connsiteX75" fmla="*/ 628420 w 1371330"/>
                <a:gd name="connsiteY75" fmla="*/ 411187 h 1816186"/>
                <a:gd name="connsiteX76" fmla="*/ 627659 w 1371330"/>
                <a:gd name="connsiteY76" fmla="*/ 398354 h 1816186"/>
                <a:gd name="connsiteX77" fmla="*/ 627699 w 1371330"/>
                <a:gd name="connsiteY77" fmla="*/ 393032 h 1816186"/>
                <a:gd name="connsiteX78" fmla="*/ 599112 w 1371330"/>
                <a:gd name="connsiteY78" fmla="*/ 393032 h 1816186"/>
                <a:gd name="connsiteX79" fmla="*/ 383039 w 1371330"/>
                <a:gd name="connsiteY79" fmla="*/ 393032 h 1816186"/>
                <a:gd name="connsiteX80" fmla="*/ 383036 w 1371330"/>
                <a:gd name="connsiteY80" fmla="*/ 393132 h 1816186"/>
                <a:gd name="connsiteX81" fmla="*/ 385548 w 1371330"/>
                <a:gd name="connsiteY81" fmla="*/ 434240 h 1816186"/>
                <a:gd name="connsiteX82" fmla="*/ 606654 w 1371330"/>
                <a:gd name="connsiteY82" fmla="*/ 531590 h 1816186"/>
                <a:gd name="connsiteX83" fmla="*/ 629132 w 1371330"/>
                <a:gd name="connsiteY83" fmla="*/ 532513 h 1816186"/>
                <a:gd name="connsiteX84" fmla="*/ 629132 w 1371330"/>
                <a:gd name="connsiteY84" fmla="*/ 571072 h 1816186"/>
                <a:gd name="connsiteX85" fmla="*/ 738926 w 1371330"/>
                <a:gd name="connsiteY85" fmla="*/ 571072 h 1816186"/>
                <a:gd name="connsiteX86" fmla="*/ 738926 w 1371330"/>
                <a:gd name="connsiteY86" fmla="*/ 533774 h 1816186"/>
                <a:gd name="connsiteX87" fmla="*/ 742152 w 1371330"/>
                <a:gd name="connsiteY87" fmla="*/ 533806 h 1816186"/>
                <a:gd name="connsiteX88" fmla="*/ 990978 w 1371330"/>
                <a:gd name="connsiteY88" fmla="*/ 429689 h 1816186"/>
                <a:gd name="connsiteX89" fmla="*/ 991538 w 1371330"/>
                <a:gd name="connsiteY89" fmla="*/ 405782 h 1816186"/>
                <a:gd name="connsiteX90" fmla="*/ 950375 w 1371330"/>
                <a:gd name="connsiteY90" fmla="*/ 346686 h 1816186"/>
                <a:gd name="connsiteX91" fmla="*/ 939128 w 1371330"/>
                <a:gd name="connsiteY91" fmla="*/ 339814 h 1816186"/>
                <a:gd name="connsiteX92" fmla="*/ 939424 w 1371330"/>
                <a:gd name="connsiteY92" fmla="*/ 339814 h 1816186"/>
                <a:gd name="connsiteX93" fmla="*/ 908619 w 1371330"/>
                <a:gd name="connsiteY93" fmla="*/ 326438 h 1816186"/>
                <a:gd name="connsiteX94" fmla="*/ 869306 w 1371330"/>
                <a:gd name="connsiteY94" fmla="*/ 314777 h 1816186"/>
                <a:gd name="connsiteX95" fmla="*/ 807120 w 1371330"/>
                <a:gd name="connsiteY95" fmla="*/ 299421 h 1816186"/>
                <a:gd name="connsiteX96" fmla="*/ 717769 w 1371330"/>
                <a:gd name="connsiteY96" fmla="*/ 276668 h 1816186"/>
                <a:gd name="connsiteX97" fmla="*/ 665589 w 1371330"/>
                <a:gd name="connsiteY97" fmla="*/ 262734 h 1816186"/>
                <a:gd name="connsiteX98" fmla="*/ 642715 w 1371330"/>
                <a:gd name="connsiteY98" fmla="*/ 252211 h 1816186"/>
                <a:gd name="connsiteX99" fmla="*/ 633422 w 1371330"/>
                <a:gd name="connsiteY99" fmla="*/ 243111 h 1816186"/>
                <a:gd name="connsiteX100" fmla="*/ 628420 w 1371330"/>
                <a:gd name="connsiteY100" fmla="*/ 228038 h 1816186"/>
                <a:gd name="connsiteX101" fmla="*/ 631993 w 1371330"/>
                <a:gd name="connsiteY101" fmla="*/ 215241 h 1816186"/>
                <a:gd name="connsiteX102" fmla="*/ 637711 w 1371330"/>
                <a:gd name="connsiteY102" fmla="*/ 207277 h 1816186"/>
                <a:gd name="connsiteX103" fmla="*/ 651292 w 1371330"/>
                <a:gd name="connsiteY103" fmla="*/ 201306 h 1816186"/>
                <a:gd name="connsiteX104" fmla="*/ 666303 w 1371330"/>
                <a:gd name="connsiteY104" fmla="*/ 198746 h 1816186"/>
                <a:gd name="connsiteX105" fmla="*/ 673584 w 1371330"/>
                <a:gd name="connsiteY105" fmla="*/ 198285 h 1816186"/>
                <a:gd name="connsiteX106" fmla="*/ 681314 w 1371330"/>
                <a:gd name="connsiteY106" fmla="*/ 198461 h 1816186"/>
                <a:gd name="connsiteX107" fmla="*/ 699899 w 1371330"/>
                <a:gd name="connsiteY107" fmla="*/ 201021 h 1816186"/>
                <a:gd name="connsiteX108" fmla="*/ 712765 w 1371330"/>
                <a:gd name="connsiteY108" fmla="*/ 206993 h 1816186"/>
                <a:gd name="connsiteX109" fmla="*/ 717769 w 1371330"/>
                <a:gd name="connsiteY109" fmla="*/ 220075 h 1816186"/>
                <a:gd name="connsiteX110" fmla="*/ 719198 w 1371330"/>
                <a:gd name="connsiteY110" fmla="*/ 244249 h 1816186"/>
                <a:gd name="connsiteX111" fmla="*/ 719770 w 1371330"/>
                <a:gd name="connsiteY111" fmla="*/ 256478 h 1816186"/>
                <a:gd name="connsiteX112" fmla="*/ 964280 w 1371330"/>
                <a:gd name="connsiteY112" fmla="*/ 256478 h 1816186"/>
                <a:gd name="connsiteX113" fmla="*/ 966339 w 1371330"/>
                <a:gd name="connsiteY113" fmla="*/ 228379 h 1816186"/>
                <a:gd name="connsiteX114" fmla="*/ 739608 w 1371330"/>
                <a:gd name="connsiteY114" fmla="*/ 141155 h 1816186"/>
                <a:gd name="connsiteX115" fmla="*/ 739570 w 1371330"/>
                <a:gd name="connsiteY115" fmla="*/ 141155 h 1816186"/>
                <a:gd name="connsiteX116" fmla="*/ 739570 w 1371330"/>
                <a:gd name="connsiteY116" fmla="*/ 109161 h 1816186"/>
                <a:gd name="connsiteX117" fmla="*/ 685665 w 1371330"/>
                <a:gd name="connsiteY117" fmla="*/ 0 h 1816186"/>
                <a:gd name="connsiteX118" fmla="*/ 1371330 w 1371330"/>
                <a:gd name="connsiteY118" fmla="*/ 340117 h 1816186"/>
                <a:gd name="connsiteX119" fmla="*/ 685665 w 1371330"/>
                <a:gd name="connsiteY119" fmla="*/ 680234 h 1816186"/>
                <a:gd name="connsiteX120" fmla="*/ 0 w 1371330"/>
                <a:gd name="connsiteY120" fmla="*/ 340117 h 1816186"/>
                <a:gd name="connsiteX121" fmla="*/ 685665 w 1371330"/>
                <a:gd name="connsiteY121" fmla="*/ 0 h 1816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1371330" h="1816186">
                  <a:moveTo>
                    <a:pt x="12720" y="1410728"/>
                  </a:moveTo>
                  <a:lnTo>
                    <a:pt x="34740" y="1445114"/>
                  </a:lnTo>
                  <a:cubicBezTo>
                    <a:pt x="141983" y="1568021"/>
                    <a:pt x="393047" y="1654261"/>
                    <a:pt x="685665" y="1654261"/>
                  </a:cubicBezTo>
                  <a:lnTo>
                    <a:pt x="778129" y="1650870"/>
                  </a:lnTo>
                  <a:lnTo>
                    <a:pt x="811064" y="1690787"/>
                  </a:lnTo>
                  <a:cubicBezTo>
                    <a:pt x="839261" y="1718984"/>
                    <a:pt x="870147" y="1744491"/>
                    <a:pt x="903304" y="1766892"/>
                  </a:cubicBezTo>
                  <a:lnTo>
                    <a:pt x="946323" y="1790242"/>
                  </a:lnTo>
                  <a:lnTo>
                    <a:pt x="823850" y="1809229"/>
                  </a:lnTo>
                  <a:cubicBezTo>
                    <a:pt x="779215" y="1813791"/>
                    <a:pt x="733000" y="1816186"/>
                    <a:pt x="685665" y="1816186"/>
                  </a:cubicBezTo>
                  <a:cubicBezTo>
                    <a:pt x="306983" y="1816186"/>
                    <a:pt x="0" y="1662870"/>
                    <a:pt x="0" y="1473745"/>
                  </a:cubicBezTo>
                  <a:close/>
                  <a:moveTo>
                    <a:pt x="12720" y="1182128"/>
                  </a:moveTo>
                  <a:lnTo>
                    <a:pt x="34740" y="1216514"/>
                  </a:lnTo>
                  <a:cubicBezTo>
                    <a:pt x="128578" y="1324058"/>
                    <a:pt x="332528" y="1403528"/>
                    <a:pt x="578081" y="1421715"/>
                  </a:cubicBezTo>
                  <a:lnTo>
                    <a:pt x="656358" y="1424586"/>
                  </a:lnTo>
                  <a:lnTo>
                    <a:pt x="677494" y="1492676"/>
                  </a:lnTo>
                  <a:lnTo>
                    <a:pt x="727856" y="1585462"/>
                  </a:lnTo>
                  <a:lnTo>
                    <a:pt x="685665" y="1587586"/>
                  </a:lnTo>
                  <a:cubicBezTo>
                    <a:pt x="306983" y="1587586"/>
                    <a:pt x="0" y="1434270"/>
                    <a:pt x="0" y="1245145"/>
                  </a:cubicBezTo>
                  <a:close/>
                  <a:moveTo>
                    <a:pt x="12720" y="953528"/>
                  </a:moveTo>
                  <a:lnTo>
                    <a:pt x="34740" y="987914"/>
                  </a:lnTo>
                  <a:cubicBezTo>
                    <a:pt x="128578" y="1095458"/>
                    <a:pt x="332528" y="1174928"/>
                    <a:pt x="578081" y="1193115"/>
                  </a:cubicBezTo>
                  <a:lnTo>
                    <a:pt x="634050" y="1195168"/>
                  </a:lnTo>
                  <a:lnTo>
                    <a:pt x="628515" y="1250076"/>
                  </a:lnTo>
                  <a:lnTo>
                    <a:pt x="639259" y="1356650"/>
                  </a:lnTo>
                  <a:lnTo>
                    <a:pt x="547480" y="1352029"/>
                  </a:lnTo>
                  <a:cubicBezTo>
                    <a:pt x="235034" y="1320098"/>
                    <a:pt x="0" y="1182029"/>
                    <a:pt x="0" y="1016545"/>
                  </a:cubicBezTo>
                  <a:close/>
                  <a:moveTo>
                    <a:pt x="12720" y="724928"/>
                  </a:moveTo>
                  <a:lnTo>
                    <a:pt x="34740" y="759314"/>
                  </a:lnTo>
                  <a:cubicBezTo>
                    <a:pt x="141983" y="882221"/>
                    <a:pt x="393047" y="968461"/>
                    <a:pt x="685665" y="968461"/>
                  </a:cubicBezTo>
                  <a:lnTo>
                    <a:pt x="698935" y="967974"/>
                  </a:lnTo>
                  <a:lnTo>
                    <a:pt x="677494" y="1007476"/>
                  </a:lnTo>
                  <a:cubicBezTo>
                    <a:pt x="661725" y="1044759"/>
                    <a:pt x="649480" y="1083895"/>
                    <a:pt x="641178" y="1124468"/>
                  </a:cubicBezTo>
                  <a:lnTo>
                    <a:pt x="640809" y="1128128"/>
                  </a:lnTo>
                  <a:lnTo>
                    <a:pt x="547480" y="1123429"/>
                  </a:lnTo>
                  <a:cubicBezTo>
                    <a:pt x="235034" y="1091498"/>
                    <a:pt x="0" y="953430"/>
                    <a:pt x="0" y="787945"/>
                  </a:cubicBezTo>
                  <a:close/>
                  <a:moveTo>
                    <a:pt x="1358610" y="496328"/>
                  </a:moveTo>
                  <a:lnTo>
                    <a:pt x="1371330" y="559345"/>
                  </a:lnTo>
                  <a:cubicBezTo>
                    <a:pt x="1371330" y="582986"/>
                    <a:pt x="1366534" y="606067"/>
                    <a:pt x="1357400" y="628359"/>
                  </a:cubicBezTo>
                  <a:lnTo>
                    <a:pt x="1352074" y="636928"/>
                  </a:lnTo>
                  <a:lnTo>
                    <a:pt x="1251774" y="626817"/>
                  </a:lnTo>
                  <a:lnTo>
                    <a:pt x="1197211" y="632318"/>
                  </a:lnTo>
                  <a:lnTo>
                    <a:pt x="1230790" y="615245"/>
                  </a:lnTo>
                  <a:cubicBezTo>
                    <a:pt x="1273980" y="589876"/>
                    <a:pt x="1309780" y="561441"/>
                    <a:pt x="1336591" y="530714"/>
                  </a:cubicBezTo>
                  <a:close/>
                  <a:moveTo>
                    <a:pt x="12720" y="496328"/>
                  </a:moveTo>
                  <a:lnTo>
                    <a:pt x="34740" y="530714"/>
                  </a:lnTo>
                  <a:cubicBezTo>
                    <a:pt x="141983" y="653621"/>
                    <a:pt x="393047" y="739861"/>
                    <a:pt x="685665" y="739861"/>
                  </a:cubicBezTo>
                  <a:cubicBezTo>
                    <a:pt x="758820" y="739861"/>
                    <a:pt x="829377" y="734471"/>
                    <a:pt x="895739" y="724466"/>
                  </a:cubicBezTo>
                  <a:lnTo>
                    <a:pt x="932410" y="717462"/>
                  </a:lnTo>
                  <a:lnTo>
                    <a:pt x="903304" y="733260"/>
                  </a:lnTo>
                  <a:cubicBezTo>
                    <a:pt x="870147" y="755661"/>
                    <a:pt x="839261" y="781169"/>
                    <a:pt x="811064" y="809366"/>
                  </a:cubicBezTo>
                  <a:lnTo>
                    <a:pt x="736940" y="899205"/>
                  </a:lnTo>
                  <a:lnTo>
                    <a:pt x="685665" y="901786"/>
                  </a:lnTo>
                  <a:cubicBezTo>
                    <a:pt x="306983" y="901786"/>
                    <a:pt x="0" y="748470"/>
                    <a:pt x="0" y="559345"/>
                  </a:cubicBezTo>
                  <a:close/>
                  <a:moveTo>
                    <a:pt x="628061" y="109161"/>
                  </a:moveTo>
                  <a:lnTo>
                    <a:pt x="628061" y="141032"/>
                  </a:lnTo>
                  <a:lnTo>
                    <a:pt x="604163" y="141370"/>
                  </a:lnTo>
                  <a:cubicBezTo>
                    <a:pt x="454434" y="149476"/>
                    <a:pt x="383328" y="187150"/>
                    <a:pt x="379574" y="228166"/>
                  </a:cubicBezTo>
                  <a:cubicBezTo>
                    <a:pt x="372306" y="282645"/>
                    <a:pt x="431118" y="314755"/>
                    <a:pt x="485980" y="333061"/>
                  </a:cubicBezTo>
                  <a:lnTo>
                    <a:pt x="509878" y="339869"/>
                  </a:lnTo>
                  <a:lnTo>
                    <a:pt x="519059" y="342689"/>
                  </a:lnTo>
                  <a:cubicBezTo>
                    <a:pt x="524386" y="344331"/>
                    <a:pt x="529627" y="345896"/>
                    <a:pt x="534779" y="347198"/>
                  </a:cubicBezTo>
                  <a:lnTo>
                    <a:pt x="601256" y="363692"/>
                  </a:lnTo>
                  <a:cubicBezTo>
                    <a:pt x="621390" y="368767"/>
                    <a:pt x="641999" y="373837"/>
                    <a:pt x="655581" y="377628"/>
                  </a:cubicBezTo>
                  <a:cubicBezTo>
                    <a:pt x="669162" y="381421"/>
                    <a:pt x="674880" y="383412"/>
                    <a:pt x="682744" y="386446"/>
                  </a:cubicBezTo>
                  <a:cubicBezTo>
                    <a:pt x="690607" y="389480"/>
                    <a:pt x="697515" y="391753"/>
                    <a:pt x="702758" y="395831"/>
                  </a:cubicBezTo>
                  <a:cubicBezTo>
                    <a:pt x="708000" y="399906"/>
                    <a:pt x="711216" y="404409"/>
                    <a:pt x="714194" y="410902"/>
                  </a:cubicBezTo>
                  <a:cubicBezTo>
                    <a:pt x="717171" y="417397"/>
                    <a:pt x="719436" y="427256"/>
                    <a:pt x="720628" y="434792"/>
                  </a:cubicBezTo>
                  <a:cubicBezTo>
                    <a:pt x="721820" y="442327"/>
                    <a:pt x="722771" y="450861"/>
                    <a:pt x="721342" y="456121"/>
                  </a:cubicBezTo>
                  <a:cubicBezTo>
                    <a:pt x="719914" y="461381"/>
                    <a:pt x="716220" y="463469"/>
                    <a:pt x="712051" y="466359"/>
                  </a:cubicBezTo>
                  <a:cubicBezTo>
                    <a:pt x="707880" y="469249"/>
                    <a:pt x="702519" y="471953"/>
                    <a:pt x="696324" y="473470"/>
                  </a:cubicBezTo>
                  <a:cubicBezTo>
                    <a:pt x="690128" y="474987"/>
                    <a:pt x="681910" y="475317"/>
                    <a:pt x="674880" y="475459"/>
                  </a:cubicBezTo>
                  <a:cubicBezTo>
                    <a:pt x="667852" y="475602"/>
                    <a:pt x="659839" y="475200"/>
                    <a:pt x="654151" y="474324"/>
                  </a:cubicBezTo>
                  <a:cubicBezTo>
                    <a:pt x="648463" y="473446"/>
                    <a:pt x="644085" y="472001"/>
                    <a:pt x="640749" y="470199"/>
                  </a:cubicBezTo>
                  <a:cubicBezTo>
                    <a:pt x="637414" y="468396"/>
                    <a:pt x="635954" y="467852"/>
                    <a:pt x="634136" y="463515"/>
                  </a:cubicBezTo>
                  <a:cubicBezTo>
                    <a:pt x="632320" y="459180"/>
                    <a:pt x="630801" y="452897"/>
                    <a:pt x="629848" y="444176"/>
                  </a:cubicBezTo>
                  <a:cubicBezTo>
                    <a:pt x="628895" y="435455"/>
                    <a:pt x="629371" y="420429"/>
                    <a:pt x="628420" y="411187"/>
                  </a:cubicBezTo>
                  <a:cubicBezTo>
                    <a:pt x="627942" y="406565"/>
                    <a:pt x="628031" y="402194"/>
                    <a:pt x="627659" y="398354"/>
                  </a:cubicBezTo>
                  <a:cubicBezTo>
                    <a:pt x="627672" y="396580"/>
                    <a:pt x="627685" y="394807"/>
                    <a:pt x="627699" y="393032"/>
                  </a:cubicBezTo>
                  <a:lnTo>
                    <a:pt x="599112" y="393032"/>
                  </a:lnTo>
                  <a:lnTo>
                    <a:pt x="383039" y="393032"/>
                  </a:lnTo>
                  <a:lnTo>
                    <a:pt x="383036" y="393132"/>
                  </a:lnTo>
                  <a:cubicBezTo>
                    <a:pt x="382868" y="407083"/>
                    <a:pt x="383404" y="420862"/>
                    <a:pt x="385548" y="434240"/>
                  </a:cubicBezTo>
                  <a:cubicBezTo>
                    <a:pt x="390909" y="488403"/>
                    <a:pt x="477915" y="524272"/>
                    <a:pt x="606654" y="531590"/>
                  </a:cubicBezTo>
                  <a:lnTo>
                    <a:pt x="629132" y="532513"/>
                  </a:lnTo>
                  <a:lnTo>
                    <a:pt x="629132" y="571072"/>
                  </a:lnTo>
                  <a:lnTo>
                    <a:pt x="738926" y="571072"/>
                  </a:lnTo>
                  <a:lnTo>
                    <a:pt x="738926" y="533774"/>
                  </a:lnTo>
                  <a:lnTo>
                    <a:pt x="742152" y="533806"/>
                  </a:lnTo>
                  <a:cubicBezTo>
                    <a:pt x="902373" y="526413"/>
                    <a:pt x="990978" y="484050"/>
                    <a:pt x="990978" y="429689"/>
                  </a:cubicBezTo>
                  <a:cubicBezTo>
                    <a:pt x="993547" y="418402"/>
                    <a:pt x="991829" y="413942"/>
                    <a:pt x="991538" y="405782"/>
                  </a:cubicBezTo>
                  <a:cubicBezTo>
                    <a:pt x="989074" y="384366"/>
                    <a:pt x="976961" y="364705"/>
                    <a:pt x="950375" y="346686"/>
                  </a:cubicBezTo>
                  <a:lnTo>
                    <a:pt x="939128" y="339814"/>
                  </a:lnTo>
                  <a:lnTo>
                    <a:pt x="939424" y="339814"/>
                  </a:lnTo>
                  <a:cubicBezTo>
                    <a:pt x="934934" y="337503"/>
                    <a:pt x="920305" y="330611"/>
                    <a:pt x="908619" y="326438"/>
                  </a:cubicBezTo>
                  <a:cubicBezTo>
                    <a:pt x="896934" y="322266"/>
                    <a:pt x="886223" y="319281"/>
                    <a:pt x="869306" y="314777"/>
                  </a:cubicBezTo>
                  <a:lnTo>
                    <a:pt x="807120" y="299421"/>
                  </a:lnTo>
                  <a:lnTo>
                    <a:pt x="717769" y="276668"/>
                  </a:lnTo>
                  <a:cubicBezTo>
                    <a:pt x="694181" y="270554"/>
                    <a:pt x="678096" y="266811"/>
                    <a:pt x="665589" y="262734"/>
                  </a:cubicBezTo>
                  <a:cubicBezTo>
                    <a:pt x="653079" y="258659"/>
                    <a:pt x="648076" y="255482"/>
                    <a:pt x="642715" y="252211"/>
                  </a:cubicBezTo>
                  <a:cubicBezTo>
                    <a:pt x="637354" y="248940"/>
                    <a:pt x="635803" y="247141"/>
                    <a:pt x="633422" y="243111"/>
                  </a:cubicBezTo>
                  <a:cubicBezTo>
                    <a:pt x="631038" y="239081"/>
                    <a:pt x="628657" y="232683"/>
                    <a:pt x="628420" y="228038"/>
                  </a:cubicBezTo>
                  <a:cubicBezTo>
                    <a:pt x="628179" y="223393"/>
                    <a:pt x="630443" y="218700"/>
                    <a:pt x="631993" y="215241"/>
                  </a:cubicBezTo>
                  <a:cubicBezTo>
                    <a:pt x="633540" y="211781"/>
                    <a:pt x="634495" y="209600"/>
                    <a:pt x="637711" y="207277"/>
                  </a:cubicBezTo>
                  <a:cubicBezTo>
                    <a:pt x="640927" y="204956"/>
                    <a:pt x="646527" y="202726"/>
                    <a:pt x="651292" y="201306"/>
                  </a:cubicBezTo>
                  <a:cubicBezTo>
                    <a:pt x="656057" y="199883"/>
                    <a:pt x="661299" y="199220"/>
                    <a:pt x="666303" y="198746"/>
                  </a:cubicBezTo>
                  <a:cubicBezTo>
                    <a:pt x="668805" y="198509"/>
                    <a:pt x="671157" y="198344"/>
                    <a:pt x="673584" y="198285"/>
                  </a:cubicBezTo>
                  <a:cubicBezTo>
                    <a:pt x="676012" y="198224"/>
                    <a:pt x="678515" y="198271"/>
                    <a:pt x="681314" y="198461"/>
                  </a:cubicBezTo>
                  <a:cubicBezTo>
                    <a:pt x="686914" y="198840"/>
                    <a:pt x="694656" y="199599"/>
                    <a:pt x="699899" y="201021"/>
                  </a:cubicBezTo>
                  <a:cubicBezTo>
                    <a:pt x="705139" y="202443"/>
                    <a:pt x="709788" y="203816"/>
                    <a:pt x="712765" y="206993"/>
                  </a:cubicBezTo>
                  <a:cubicBezTo>
                    <a:pt x="715743" y="210169"/>
                    <a:pt x="716696" y="213865"/>
                    <a:pt x="717769" y="220075"/>
                  </a:cubicBezTo>
                  <a:cubicBezTo>
                    <a:pt x="718840" y="226283"/>
                    <a:pt x="718864" y="238183"/>
                    <a:pt x="719198" y="244249"/>
                  </a:cubicBezTo>
                  <a:cubicBezTo>
                    <a:pt x="719389" y="248324"/>
                    <a:pt x="719578" y="252401"/>
                    <a:pt x="719770" y="256478"/>
                  </a:cubicBezTo>
                  <a:lnTo>
                    <a:pt x="964280" y="256478"/>
                  </a:lnTo>
                  <a:lnTo>
                    <a:pt x="966339" y="228379"/>
                  </a:lnTo>
                  <a:cubicBezTo>
                    <a:pt x="964196" y="180325"/>
                    <a:pt x="879688" y="144569"/>
                    <a:pt x="739608" y="141155"/>
                  </a:cubicBezTo>
                  <a:lnTo>
                    <a:pt x="739570" y="141155"/>
                  </a:lnTo>
                  <a:lnTo>
                    <a:pt x="739570" y="109161"/>
                  </a:lnTo>
                  <a:close/>
                  <a:moveTo>
                    <a:pt x="685665" y="0"/>
                  </a:moveTo>
                  <a:cubicBezTo>
                    <a:pt x="1064347" y="0"/>
                    <a:pt x="1371330" y="152276"/>
                    <a:pt x="1371330" y="340117"/>
                  </a:cubicBezTo>
                  <a:cubicBezTo>
                    <a:pt x="1371330" y="527958"/>
                    <a:pt x="1064347" y="680234"/>
                    <a:pt x="685665" y="680234"/>
                  </a:cubicBezTo>
                  <a:cubicBezTo>
                    <a:pt x="306983" y="680234"/>
                    <a:pt x="0" y="527958"/>
                    <a:pt x="0" y="340117"/>
                  </a:cubicBezTo>
                  <a:cubicBezTo>
                    <a:pt x="0" y="152276"/>
                    <a:pt x="306983" y="0"/>
                    <a:pt x="685665" y="0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lgDash"/>
            </a:ln>
            <a:effectLst/>
          </p:spPr>
          <p:txBody>
            <a:bodyPr rtlCol="0" anchor="ctr"/>
            <a:lstStyle/>
            <a:p>
              <a:pPr defTabSz="914316">
                <a:defRPr/>
              </a:pPr>
              <a:endParaRPr lang="de-DE" sz="1942" kern="0" dirty="0" err="1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13" name="Freeform 168">
            <a:extLst>
              <a:ext uri="{FF2B5EF4-FFF2-40B4-BE49-F238E27FC236}">
                <a16:creationId xmlns:a16="http://schemas.microsoft.com/office/drawing/2014/main" id="{70E3006D-F113-4410-934C-7DEFCBAE2ED6}"/>
              </a:ext>
            </a:extLst>
          </p:cNvPr>
          <p:cNvSpPr>
            <a:spLocks noEditPoints="1"/>
          </p:cNvSpPr>
          <p:nvPr/>
        </p:nvSpPr>
        <p:spPr bwMode="auto">
          <a:xfrm>
            <a:off x="11033794" y="2396719"/>
            <a:ext cx="512710" cy="526512"/>
          </a:xfrm>
          <a:custGeom>
            <a:avLst/>
            <a:gdLst>
              <a:gd name="T0" fmla="*/ 62 w 186"/>
              <a:gd name="T1" fmla="*/ 72 h 190"/>
              <a:gd name="T2" fmla="*/ 64 w 186"/>
              <a:gd name="T3" fmla="*/ 85 h 190"/>
              <a:gd name="T4" fmla="*/ 70 w 186"/>
              <a:gd name="T5" fmla="*/ 94 h 190"/>
              <a:gd name="T6" fmla="*/ 116 w 186"/>
              <a:gd name="T7" fmla="*/ 94 h 190"/>
              <a:gd name="T8" fmla="*/ 121 w 186"/>
              <a:gd name="T9" fmla="*/ 85 h 190"/>
              <a:gd name="T10" fmla="*/ 123 w 186"/>
              <a:gd name="T11" fmla="*/ 72 h 190"/>
              <a:gd name="T12" fmla="*/ 130 w 186"/>
              <a:gd name="T13" fmla="*/ 63 h 190"/>
              <a:gd name="T14" fmla="*/ 127 w 186"/>
              <a:gd name="T15" fmla="*/ 51 h 190"/>
              <a:gd name="T16" fmla="*/ 93 w 186"/>
              <a:gd name="T17" fmla="*/ 0 h 190"/>
              <a:gd name="T18" fmla="*/ 93 w 186"/>
              <a:gd name="T19" fmla="*/ 0 h 190"/>
              <a:gd name="T20" fmla="*/ 93 w 186"/>
              <a:gd name="T21" fmla="*/ 0 h 190"/>
              <a:gd name="T22" fmla="*/ 59 w 186"/>
              <a:gd name="T23" fmla="*/ 51 h 190"/>
              <a:gd name="T24" fmla="*/ 55 w 186"/>
              <a:gd name="T25" fmla="*/ 63 h 190"/>
              <a:gd name="T26" fmla="*/ 62 w 186"/>
              <a:gd name="T27" fmla="*/ 72 h 190"/>
              <a:gd name="T28" fmla="*/ 163 w 186"/>
              <a:gd name="T29" fmla="*/ 120 h 190"/>
              <a:gd name="T30" fmla="*/ 132 w 186"/>
              <a:gd name="T31" fmla="*/ 108 h 190"/>
              <a:gd name="T32" fmla="*/ 117 w 186"/>
              <a:gd name="T33" fmla="*/ 103 h 190"/>
              <a:gd name="T34" fmla="*/ 107 w 186"/>
              <a:gd name="T35" fmla="*/ 162 h 190"/>
              <a:gd name="T36" fmla="*/ 106 w 186"/>
              <a:gd name="T37" fmla="*/ 163 h 190"/>
              <a:gd name="T38" fmla="*/ 103 w 186"/>
              <a:gd name="T39" fmla="*/ 163 h 190"/>
              <a:gd name="T40" fmla="*/ 99 w 186"/>
              <a:gd name="T41" fmla="*/ 122 h 190"/>
              <a:gd name="T42" fmla="*/ 99 w 186"/>
              <a:gd name="T43" fmla="*/ 121 h 190"/>
              <a:gd name="T44" fmla="*/ 100 w 186"/>
              <a:gd name="T45" fmla="*/ 120 h 190"/>
              <a:gd name="T46" fmla="*/ 102 w 186"/>
              <a:gd name="T47" fmla="*/ 113 h 190"/>
              <a:gd name="T48" fmla="*/ 102 w 186"/>
              <a:gd name="T49" fmla="*/ 111 h 190"/>
              <a:gd name="T50" fmla="*/ 101 w 186"/>
              <a:gd name="T51" fmla="*/ 108 h 190"/>
              <a:gd name="T52" fmla="*/ 99 w 186"/>
              <a:gd name="T53" fmla="*/ 107 h 190"/>
              <a:gd name="T54" fmla="*/ 87 w 186"/>
              <a:gd name="T55" fmla="*/ 107 h 190"/>
              <a:gd name="T56" fmla="*/ 85 w 186"/>
              <a:gd name="T57" fmla="*/ 108 h 190"/>
              <a:gd name="T58" fmla="*/ 84 w 186"/>
              <a:gd name="T59" fmla="*/ 111 h 190"/>
              <a:gd name="T60" fmla="*/ 84 w 186"/>
              <a:gd name="T61" fmla="*/ 113 h 190"/>
              <a:gd name="T62" fmla="*/ 86 w 186"/>
              <a:gd name="T63" fmla="*/ 120 h 190"/>
              <a:gd name="T64" fmla="*/ 87 w 186"/>
              <a:gd name="T65" fmla="*/ 121 h 190"/>
              <a:gd name="T66" fmla="*/ 87 w 186"/>
              <a:gd name="T67" fmla="*/ 122 h 190"/>
              <a:gd name="T68" fmla="*/ 82 w 186"/>
              <a:gd name="T69" fmla="*/ 163 h 190"/>
              <a:gd name="T70" fmla="*/ 80 w 186"/>
              <a:gd name="T71" fmla="*/ 163 h 190"/>
              <a:gd name="T72" fmla="*/ 79 w 186"/>
              <a:gd name="T73" fmla="*/ 162 h 190"/>
              <a:gd name="T74" fmla="*/ 68 w 186"/>
              <a:gd name="T75" fmla="*/ 103 h 190"/>
              <a:gd name="T76" fmla="*/ 54 w 186"/>
              <a:gd name="T77" fmla="*/ 108 h 190"/>
              <a:gd name="T78" fmla="*/ 23 w 186"/>
              <a:gd name="T79" fmla="*/ 120 h 190"/>
              <a:gd name="T80" fmla="*/ 2 w 186"/>
              <a:gd name="T81" fmla="*/ 190 h 190"/>
              <a:gd name="T82" fmla="*/ 184 w 186"/>
              <a:gd name="T83" fmla="*/ 190 h 190"/>
              <a:gd name="T84" fmla="*/ 163 w 186"/>
              <a:gd name="T85" fmla="*/ 120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86" h="190">
                <a:moveTo>
                  <a:pt x="62" y="72"/>
                </a:moveTo>
                <a:cubicBezTo>
                  <a:pt x="62" y="73"/>
                  <a:pt x="64" y="83"/>
                  <a:pt x="64" y="85"/>
                </a:cubicBezTo>
                <a:cubicBezTo>
                  <a:pt x="66" y="89"/>
                  <a:pt x="67" y="91"/>
                  <a:pt x="70" y="94"/>
                </a:cubicBezTo>
                <a:cubicBezTo>
                  <a:pt x="84" y="103"/>
                  <a:pt x="102" y="103"/>
                  <a:pt x="116" y="94"/>
                </a:cubicBezTo>
                <a:cubicBezTo>
                  <a:pt x="118" y="91"/>
                  <a:pt x="120" y="89"/>
                  <a:pt x="121" y="85"/>
                </a:cubicBezTo>
                <a:cubicBezTo>
                  <a:pt x="122" y="83"/>
                  <a:pt x="124" y="73"/>
                  <a:pt x="123" y="72"/>
                </a:cubicBezTo>
                <a:cubicBezTo>
                  <a:pt x="129" y="74"/>
                  <a:pt x="130" y="66"/>
                  <a:pt x="130" y="63"/>
                </a:cubicBezTo>
                <a:cubicBezTo>
                  <a:pt x="133" y="50"/>
                  <a:pt x="127" y="51"/>
                  <a:pt x="127" y="51"/>
                </a:cubicBezTo>
                <a:cubicBezTo>
                  <a:pt x="133" y="40"/>
                  <a:pt x="130" y="1"/>
                  <a:pt x="93" y="0"/>
                </a:cubicBezTo>
                <a:cubicBezTo>
                  <a:pt x="93" y="0"/>
                  <a:pt x="93" y="0"/>
                  <a:pt x="93" y="0"/>
                </a:cubicBezTo>
                <a:cubicBezTo>
                  <a:pt x="93" y="0"/>
                  <a:pt x="93" y="0"/>
                  <a:pt x="93" y="0"/>
                </a:cubicBezTo>
                <a:cubicBezTo>
                  <a:pt x="55" y="1"/>
                  <a:pt x="53" y="40"/>
                  <a:pt x="59" y="51"/>
                </a:cubicBezTo>
                <a:cubicBezTo>
                  <a:pt x="59" y="51"/>
                  <a:pt x="53" y="50"/>
                  <a:pt x="55" y="63"/>
                </a:cubicBezTo>
                <a:cubicBezTo>
                  <a:pt x="56" y="66"/>
                  <a:pt x="57" y="74"/>
                  <a:pt x="62" y="72"/>
                </a:cubicBezTo>
                <a:close/>
                <a:moveTo>
                  <a:pt x="163" y="120"/>
                </a:moveTo>
                <a:cubicBezTo>
                  <a:pt x="163" y="120"/>
                  <a:pt x="132" y="108"/>
                  <a:pt x="132" y="108"/>
                </a:cubicBezTo>
                <a:cubicBezTo>
                  <a:pt x="127" y="106"/>
                  <a:pt x="122" y="105"/>
                  <a:pt x="117" y="103"/>
                </a:cubicBezTo>
                <a:cubicBezTo>
                  <a:pt x="107" y="162"/>
                  <a:pt x="107" y="162"/>
                  <a:pt x="107" y="162"/>
                </a:cubicBezTo>
                <a:cubicBezTo>
                  <a:pt x="107" y="163"/>
                  <a:pt x="106" y="163"/>
                  <a:pt x="106" y="163"/>
                </a:cubicBezTo>
                <a:cubicBezTo>
                  <a:pt x="103" y="163"/>
                  <a:pt x="103" y="163"/>
                  <a:pt x="103" y="163"/>
                </a:cubicBezTo>
                <a:cubicBezTo>
                  <a:pt x="99" y="122"/>
                  <a:pt x="99" y="122"/>
                  <a:pt x="99" y="122"/>
                </a:cubicBezTo>
                <a:cubicBezTo>
                  <a:pt x="99" y="122"/>
                  <a:pt x="99" y="122"/>
                  <a:pt x="99" y="121"/>
                </a:cubicBezTo>
                <a:cubicBezTo>
                  <a:pt x="99" y="121"/>
                  <a:pt x="99" y="121"/>
                  <a:pt x="100" y="120"/>
                </a:cubicBezTo>
                <a:cubicBezTo>
                  <a:pt x="102" y="113"/>
                  <a:pt x="102" y="113"/>
                  <a:pt x="102" y="113"/>
                </a:cubicBezTo>
                <a:cubicBezTo>
                  <a:pt x="102" y="112"/>
                  <a:pt x="102" y="111"/>
                  <a:pt x="102" y="111"/>
                </a:cubicBezTo>
                <a:cubicBezTo>
                  <a:pt x="101" y="108"/>
                  <a:pt x="101" y="108"/>
                  <a:pt x="101" y="108"/>
                </a:cubicBezTo>
                <a:cubicBezTo>
                  <a:pt x="100" y="108"/>
                  <a:pt x="100" y="107"/>
                  <a:pt x="99" y="107"/>
                </a:cubicBezTo>
                <a:cubicBezTo>
                  <a:pt x="87" y="107"/>
                  <a:pt x="87" y="107"/>
                  <a:pt x="87" y="107"/>
                </a:cubicBezTo>
                <a:cubicBezTo>
                  <a:pt x="86" y="107"/>
                  <a:pt x="85" y="108"/>
                  <a:pt x="85" y="108"/>
                </a:cubicBezTo>
                <a:cubicBezTo>
                  <a:pt x="84" y="111"/>
                  <a:pt x="84" y="111"/>
                  <a:pt x="84" y="111"/>
                </a:cubicBezTo>
                <a:cubicBezTo>
                  <a:pt x="84" y="111"/>
                  <a:pt x="84" y="112"/>
                  <a:pt x="84" y="113"/>
                </a:cubicBezTo>
                <a:cubicBezTo>
                  <a:pt x="86" y="120"/>
                  <a:pt x="86" y="120"/>
                  <a:pt x="86" y="120"/>
                </a:cubicBezTo>
                <a:cubicBezTo>
                  <a:pt x="86" y="121"/>
                  <a:pt x="87" y="121"/>
                  <a:pt x="87" y="121"/>
                </a:cubicBezTo>
                <a:cubicBezTo>
                  <a:pt x="87" y="122"/>
                  <a:pt x="87" y="122"/>
                  <a:pt x="87" y="122"/>
                </a:cubicBezTo>
                <a:cubicBezTo>
                  <a:pt x="82" y="163"/>
                  <a:pt x="82" y="163"/>
                  <a:pt x="82" y="163"/>
                </a:cubicBezTo>
                <a:cubicBezTo>
                  <a:pt x="80" y="163"/>
                  <a:pt x="80" y="163"/>
                  <a:pt x="80" y="163"/>
                </a:cubicBezTo>
                <a:cubicBezTo>
                  <a:pt x="79" y="163"/>
                  <a:pt x="79" y="163"/>
                  <a:pt x="79" y="162"/>
                </a:cubicBezTo>
                <a:cubicBezTo>
                  <a:pt x="68" y="103"/>
                  <a:pt x="68" y="103"/>
                  <a:pt x="68" y="103"/>
                </a:cubicBezTo>
                <a:cubicBezTo>
                  <a:pt x="64" y="105"/>
                  <a:pt x="59" y="106"/>
                  <a:pt x="54" y="108"/>
                </a:cubicBezTo>
                <a:cubicBezTo>
                  <a:pt x="54" y="108"/>
                  <a:pt x="23" y="120"/>
                  <a:pt x="23" y="120"/>
                </a:cubicBezTo>
                <a:cubicBezTo>
                  <a:pt x="0" y="129"/>
                  <a:pt x="2" y="170"/>
                  <a:pt x="2" y="190"/>
                </a:cubicBezTo>
                <a:cubicBezTo>
                  <a:pt x="184" y="190"/>
                  <a:pt x="184" y="190"/>
                  <a:pt x="184" y="190"/>
                </a:cubicBezTo>
                <a:cubicBezTo>
                  <a:pt x="184" y="170"/>
                  <a:pt x="186" y="129"/>
                  <a:pt x="163" y="120"/>
                </a:cubicBezTo>
                <a:close/>
              </a:path>
            </a:pathLst>
          </a:custGeom>
          <a:solidFill>
            <a:srgbClr val="FFB81E">
              <a:lumMod val="20000"/>
              <a:lumOff val="80000"/>
            </a:srgbClr>
          </a:solidFill>
          <a:ln>
            <a:noFill/>
          </a:ln>
          <a:extLst/>
        </p:spPr>
        <p:txBody>
          <a:bodyPr vert="horz" wrap="square" lIns="91438" tIns="45719" rIns="91438" bIns="45719" numCol="1" anchor="ctr" anchorCtr="0" compatLnSpc="1">
            <a:prstTxWarp prst="textNoShape">
              <a:avLst/>
            </a:prstTxWarp>
          </a:bodyPr>
          <a:lstStyle/>
          <a:p>
            <a:pPr defTabSz="914316">
              <a:defRPr/>
            </a:pPr>
            <a:endParaRPr lang="en-US" sz="1942" kern="0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14" name="Freeform 19">
            <a:extLst>
              <a:ext uri="{FF2B5EF4-FFF2-40B4-BE49-F238E27FC236}">
                <a16:creationId xmlns:a16="http://schemas.microsoft.com/office/drawing/2014/main" id="{73C68CCD-8EBB-4AED-882D-DD9E5F2C25B3}"/>
              </a:ext>
            </a:extLst>
          </p:cNvPr>
          <p:cNvSpPr>
            <a:spLocks noEditPoints="1"/>
          </p:cNvSpPr>
          <p:nvPr/>
        </p:nvSpPr>
        <p:spPr bwMode="auto">
          <a:xfrm>
            <a:off x="9646938" y="3996950"/>
            <a:ext cx="547901" cy="481226"/>
          </a:xfrm>
          <a:custGeom>
            <a:avLst/>
            <a:gdLst>
              <a:gd name="T0" fmla="*/ 84 w 160"/>
              <a:gd name="T1" fmla="*/ 100 h 144"/>
              <a:gd name="T2" fmla="*/ 12 w 160"/>
              <a:gd name="T3" fmla="*/ 100 h 144"/>
              <a:gd name="T4" fmla="*/ 12 w 160"/>
              <a:gd name="T5" fmla="*/ 12 h 144"/>
              <a:gd name="T6" fmla="*/ 136 w 160"/>
              <a:gd name="T7" fmla="*/ 12 h 144"/>
              <a:gd name="T8" fmla="*/ 136 w 160"/>
              <a:gd name="T9" fmla="*/ 32 h 144"/>
              <a:gd name="T10" fmla="*/ 148 w 160"/>
              <a:gd name="T11" fmla="*/ 32 h 144"/>
              <a:gd name="T12" fmla="*/ 148 w 160"/>
              <a:gd name="T13" fmla="*/ 12 h 144"/>
              <a:gd name="T14" fmla="*/ 136 w 160"/>
              <a:gd name="T15" fmla="*/ 0 h 144"/>
              <a:gd name="T16" fmla="*/ 12 w 160"/>
              <a:gd name="T17" fmla="*/ 0 h 144"/>
              <a:gd name="T18" fmla="*/ 0 w 160"/>
              <a:gd name="T19" fmla="*/ 12 h 144"/>
              <a:gd name="T20" fmla="*/ 0 w 160"/>
              <a:gd name="T21" fmla="*/ 108 h 144"/>
              <a:gd name="T22" fmla="*/ 12 w 160"/>
              <a:gd name="T23" fmla="*/ 120 h 144"/>
              <a:gd name="T24" fmla="*/ 66 w 160"/>
              <a:gd name="T25" fmla="*/ 120 h 144"/>
              <a:gd name="T26" fmla="*/ 55 w 160"/>
              <a:gd name="T27" fmla="*/ 136 h 144"/>
              <a:gd name="T28" fmla="*/ 48 w 160"/>
              <a:gd name="T29" fmla="*/ 138 h 144"/>
              <a:gd name="T30" fmla="*/ 48 w 160"/>
              <a:gd name="T31" fmla="*/ 144 h 144"/>
              <a:gd name="T32" fmla="*/ 87 w 160"/>
              <a:gd name="T33" fmla="*/ 144 h 144"/>
              <a:gd name="T34" fmla="*/ 84 w 160"/>
              <a:gd name="T35" fmla="*/ 132 h 144"/>
              <a:gd name="T36" fmla="*/ 84 w 160"/>
              <a:gd name="T37" fmla="*/ 100 h 144"/>
              <a:gd name="T38" fmla="*/ 148 w 160"/>
              <a:gd name="T39" fmla="*/ 44 h 144"/>
              <a:gd name="T40" fmla="*/ 108 w 160"/>
              <a:gd name="T41" fmla="*/ 44 h 144"/>
              <a:gd name="T42" fmla="*/ 96 w 160"/>
              <a:gd name="T43" fmla="*/ 56 h 144"/>
              <a:gd name="T44" fmla="*/ 96 w 160"/>
              <a:gd name="T45" fmla="*/ 132 h 144"/>
              <a:gd name="T46" fmla="*/ 108 w 160"/>
              <a:gd name="T47" fmla="*/ 144 h 144"/>
              <a:gd name="T48" fmla="*/ 148 w 160"/>
              <a:gd name="T49" fmla="*/ 144 h 144"/>
              <a:gd name="T50" fmla="*/ 160 w 160"/>
              <a:gd name="T51" fmla="*/ 132 h 144"/>
              <a:gd name="T52" fmla="*/ 160 w 160"/>
              <a:gd name="T53" fmla="*/ 56 h 144"/>
              <a:gd name="T54" fmla="*/ 148 w 160"/>
              <a:gd name="T55" fmla="*/ 44 h 144"/>
              <a:gd name="T56" fmla="*/ 128 w 160"/>
              <a:gd name="T57" fmla="*/ 139 h 144"/>
              <a:gd name="T58" fmla="*/ 121 w 160"/>
              <a:gd name="T59" fmla="*/ 132 h 144"/>
              <a:gd name="T60" fmla="*/ 128 w 160"/>
              <a:gd name="T61" fmla="*/ 125 h 144"/>
              <a:gd name="T62" fmla="*/ 135 w 160"/>
              <a:gd name="T63" fmla="*/ 132 h 144"/>
              <a:gd name="T64" fmla="*/ 128 w 160"/>
              <a:gd name="T65" fmla="*/ 139 h 144"/>
              <a:gd name="T66" fmla="*/ 148 w 160"/>
              <a:gd name="T67" fmla="*/ 120 h 144"/>
              <a:gd name="T68" fmla="*/ 108 w 160"/>
              <a:gd name="T69" fmla="*/ 120 h 144"/>
              <a:gd name="T70" fmla="*/ 108 w 160"/>
              <a:gd name="T71" fmla="*/ 56 h 144"/>
              <a:gd name="T72" fmla="*/ 148 w 160"/>
              <a:gd name="T73" fmla="*/ 56 h 144"/>
              <a:gd name="T74" fmla="*/ 148 w 160"/>
              <a:gd name="T75" fmla="*/ 120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60" h="144">
                <a:moveTo>
                  <a:pt x="84" y="100"/>
                </a:moveTo>
                <a:cubicBezTo>
                  <a:pt x="12" y="100"/>
                  <a:pt x="12" y="100"/>
                  <a:pt x="12" y="100"/>
                </a:cubicBezTo>
                <a:cubicBezTo>
                  <a:pt x="12" y="12"/>
                  <a:pt x="12" y="12"/>
                  <a:pt x="12" y="12"/>
                </a:cubicBezTo>
                <a:cubicBezTo>
                  <a:pt x="136" y="12"/>
                  <a:pt x="136" y="12"/>
                  <a:pt x="136" y="12"/>
                </a:cubicBezTo>
                <a:cubicBezTo>
                  <a:pt x="136" y="32"/>
                  <a:pt x="136" y="32"/>
                  <a:pt x="136" y="32"/>
                </a:cubicBezTo>
                <a:cubicBezTo>
                  <a:pt x="148" y="32"/>
                  <a:pt x="148" y="32"/>
                  <a:pt x="148" y="32"/>
                </a:cubicBezTo>
                <a:cubicBezTo>
                  <a:pt x="148" y="12"/>
                  <a:pt x="148" y="12"/>
                  <a:pt x="148" y="12"/>
                </a:cubicBezTo>
                <a:cubicBezTo>
                  <a:pt x="148" y="5"/>
                  <a:pt x="143" y="0"/>
                  <a:pt x="136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5" y="0"/>
                  <a:pt x="0" y="5"/>
                  <a:pt x="0" y="12"/>
                </a:cubicBezTo>
                <a:cubicBezTo>
                  <a:pt x="0" y="108"/>
                  <a:pt x="0" y="108"/>
                  <a:pt x="0" y="108"/>
                </a:cubicBezTo>
                <a:cubicBezTo>
                  <a:pt x="0" y="115"/>
                  <a:pt x="5" y="120"/>
                  <a:pt x="12" y="120"/>
                </a:cubicBezTo>
                <a:cubicBezTo>
                  <a:pt x="66" y="120"/>
                  <a:pt x="66" y="120"/>
                  <a:pt x="66" y="120"/>
                </a:cubicBezTo>
                <a:cubicBezTo>
                  <a:pt x="66" y="127"/>
                  <a:pt x="61" y="134"/>
                  <a:pt x="55" y="136"/>
                </a:cubicBezTo>
                <a:cubicBezTo>
                  <a:pt x="48" y="138"/>
                  <a:pt x="48" y="138"/>
                  <a:pt x="48" y="138"/>
                </a:cubicBezTo>
                <a:cubicBezTo>
                  <a:pt x="48" y="144"/>
                  <a:pt x="48" y="144"/>
                  <a:pt x="48" y="144"/>
                </a:cubicBezTo>
                <a:cubicBezTo>
                  <a:pt x="87" y="144"/>
                  <a:pt x="87" y="144"/>
                  <a:pt x="87" y="144"/>
                </a:cubicBezTo>
                <a:cubicBezTo>
                  <a:pt x="85" y="140"/>
                  <a:pt x="84" y="136"/>
                  <a:pt x="84" y="132"/>
                </a:cubicBezTo>
                <a:lnTo>
                  <a:pt x="84" y="100"/>
                </a:lnTo>
                <a:close/>
                <a:moveTo>
                  <a:pt x="148" y="44"/>
                </a:moveTo>
                <a:cubicBezTo>
                  <a:pt x="108" y="44"/>
                  <a:pt x="108" y="44"/>
                  <a:pt x="108" y="44"/>
                </a:cubicBezTo>
                <a:cubicBezTo>
                  <a:pt x="101" y="44"/>
                  <a:pt x="96" y="49"/>
                  <a:pt x="96" y="56"/>
                </a:cubicBezTo>
                <a:cubicBezTo>
                  <a:pt x="96" y="132"/>
                  <a:pt x="96" y="132"/>
                  <a:pt x="96" y="132"/>
                </a:cubicBezTo>
                <a:cubicBezTo>
                  <a:pt x="96" y="139"/>
                  <a:pt x="101" y="144"/>
                  <a:pt x="108" y="144"/>
                </a:cubicBezTo>
                <a:cubicBezTo>
                  <a:pt x="148" y="144"/>
                  <a:pt x="148" y="144"/>
                  <a:pt x="148" y="144"/>
                </a:cubicBezTo>
                <a:cubicBezTo>
                  <a:pt x="155" y="144"/>
                  <a:pt x="160" y="139"/>
                  <a:pt x="160" y="132"/>
                </a:cubicBezTo>
                <a:cubicBezTo>
                  <a:pt x="160" y="56"/>
                  <a:pt x="160" y="56"/>
                  <a:pt x="160" y="56"/>
                </a:cubicBezTo>
                <a:cubicBezTo>
                  <a:pt x="160" y="49"/>
                  <a:pt x="155" y="44"/>
                  <a:pt x="148" y="44"/>
                </a:cubicBezTo>
                <a:close/>
                <a:moveTo>
                  <a:pt x="128" y="139"/>
                </a:moveTo>
                <a:cubicBezTo>
                  <a:pt x="124" y="139"/>
                  <a:pt x="121" y="136"/>
                  <a:pt x="121" y="132"/>
                </a:cubicBezTo>
                <a:cubicBezTo>
                  <a:pt x="121" y="128"/>
                  <a:pt x="124" y="125"/>
                  <a:pt x="128" y="125"/>
                </a:cubicBezTo>
                <a:cubicBezTo>
                  <a:pt x="132" y="125"/>
                  <a:pt x="135" y="128"/>
                  <a:pt x="135" y="132"/>
                </a:cubicBezTo>
                <a:cubicBezTo>
                  <a:pt x="135" y="136"/>
                  <a:pt x="132" y="139"/>
                  <a:pt x="128" y="139"/>
                </a:cubicBezTo>
                <a:close/>
                <a:moveTo>
                  <a:pt x="148" y="120"/>
                </a:moveTo>
                <a:cubicBezTo>
                  <a:pt x="108" y="120"/>
                  <a:pt x="108" y="120"/>
                  <a:pt x="108" y="120"/>
                </a:cubicBezTo>
                <a:cubicBezTo>
                  <a:pt x="108" y="56"/>
                  <a:pt x="108" y="56"/>
                  <a:pt x="108" y="56"/>
                </a:cubicBezTo>
                <a:cubicBezTo>
                  <a:pt x="148" y="56"/>
                  <a:pt x="148" y="56"/>
                  <a:pt x="148" y="56"/>
                </a:cubicBezTo>
                <a:lnTo>
                  <a:pt x="148" y="120"/>
                </a:lnTo>
                <a:close/>
              </a:path>
            </a:pathLst>
          </a:custGeom>
          <a:solidFill>
            <a:srgbClr val="FFB81E">
              <a:lumMod val="20000"/>
              <a:lumOff val="80000"/>
            </a:srgbClr>
          </a:solidFill>
          <a:ln>
            <a:noFill/>
          </a:ln>
          <a:extLst/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16">
              <a:defRPr/>
            </a:pPr>
            <a:endParaRPr lang="de-DE" sz="1942" kern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15" name="Freeform 14">
            <a:extLst>
              <a:ext uri="{FF2B5EF4-FFF2-40B4-BE49-F238E27FC236}">
                <a16:creationId xmlns:a16="http://schemas.microsoft.com/office/drawing/2014/main" id="{DDEFEE80-3F20-48ED-B7E7-8E25E0CFC071}"/>
              </a:ext>
            </a:extLst>
          </p:cNvPr>
          <p:cNvSpPr>
            <a:spLocks noEditPoints="1"/>
          </p:cNvSpPr>
          <p:nvPr/>
        </p:nvSpPr>
        <p:spPr bwMode="auto">
          <a:xfrm>
            <a:off x="10991330" y="4047844"/>
            <a:ext cx="597637" cy="379435"/>
          </a:xfrm>
          <a:custGeom>
            <a:avLst/>
            <a:gdLst>
              <a:gd name="T0" fmla="*/ 65 w 235"/>
              <a:gd name="T1" fmla="*/ 31 h 149"/>
              <a:gd name="T2" fmla="*/ 0 w 235"/>
              <a:gd name="T3" fmla="*/ 40 h 149"/>
              <a:gd name="T4" fmla="*/ 65 w 235"/>
              <a:gd name="T5" fmla="*/ 49 h 149"/>
              <a:gd name="T6" fmla="*/ 27 w 235"/>
              <a:gd name="T7" fmla="*/ 18 h 149"/>
              <a:gd name="T8" fmla="*/ 74 w 235"/>
              <a:gd name="T9" fmla="*/ 9 h 149"/>
              <a:gd name="T10" fmla="*/ 27 w 235"/>
              <a:gd name="T11" fmla="*/ 0 h 149"/>
              <a:gd name="T12" fmla="*/ 27 w 235"/>
              <a:gd name="T13" fmla="*/ 18 h 149"/>
              <a:gd name="T14" fmla="*/ 187 w 235"/>
              <a:gd name="T15" fmla="*/ 83 h 149"/>
              <a:gd name="T16" fmla="*/ 182 w 235"/>
              <a:gd name="T17" fmla="*/ 131 h 149"/>
              <a:gd name="T18" fmla="*/ 99 w 235"/>
              <a:gd name="T19" fmla="*/ 107 h 149"/>
              <a:gd name="T20" fmla="*/ 50 w 235"/>
              <a:gd name="T21" fmla="*/ 107 h 149"/>
              <a:gd name="T22" fmla="*/ 24 w 235"/>
              <a:gd name="T23" fmla="*/ 131 h 149"/>
              <a:gd name="T24" fmla="*/ 235 w 235"/>
              <a:gd name="T25" fmla="*/ 149 h 149"/>
              <a:gd name="T26" fmla="*/ 192 w 235"/>
              <a:gd name="T27" fmla="*/ 131 h 149"/>
              <a:gd name="T28" fmla="*/ 63 w 235"/>
              <a:gd name="T29" fmla="*/ 107 h 149"/>
              <a:gd name="T30" fmla="*/ 85 w 235"/>
              <a:gd name="T31" fmla="*/ 107 h 149"/>
              <a:gd name="T32" fmla="*/ 63 w 235"/>
              <a:gd name="T33" fmla="*/ 107 h 149"/>
              <a:gd name="T34" fmla="*/ 187 w 235"/>
              <a:gd name="T35" fmla="*/ 96 h 149"/>
              <a:gd name="T36" fmla="*/ 187 w 235"/>
              <a:gd name="T37" fmla="*/ 118 h 149"/>
              <a:gd name="T38" fmla="*/ 24 w 235"/>
              <a:gd name="T39" fmla="*/ 94 h 149"/>
              <a:gd name="T40" fmla="*/ 39 w 235"/>
              <a:gd name="T41" fmla="*/ 112 h 149"/>
              <a:gd name="T42" fmla="*/ 41 w 235"/>
              <a:gd name="T43" fmla="*/ 94 h 149"/>
              <a:gd name="T44" fmla="*/ 226 w 235"/>
              <a:gd name="T45" fmla="*/ 94 h 149"/>
              <a:gd name="T46" fmla="*/ 219 w 235"/>
              <a:gd name="T47" fmla="*/ 50 h 149"/>
              <a:gd name="T48" fmla="*/ 211 w 235"/>
              <a:gd name="T49" fmla="*/ 0 h 149"/>
              <a:gd name="T50" fmla="*/ 148 w 235"/>
              <a:gd name="T51" fmla="*/ 8 h 149"/>
              <a:gd name="T52" fmla="*/ 136 w 235"/>
              <a:gd name="T53" fmla="*/ 94 h 149"/>
              <a:gd name="T54" fmla="*/ 128 w 235"/>
              <a:gd name="T55" fmla="*/ 0 h 149"/>
              <a:gd name="T56" fmla="*/ 85 w 235"/>
              <a:gd name="T57" fmla="*/ 8 h 149"/>
              <a:gd name="T58" fmla="*/ 85 w 235"/>
              <a:gd name="T59" fmla="*/ 40 h 149"/>
              <a:gd name="T60" fmla="*/ 27 w 235"/>
              <a:gd name="T61" fmla="*/ 60 h 149"/>
              <a:gd name="T62" fmla="*/ 34 w 235"/>
              <a:gd name="T63" fmla="*/ 84 h 149"/>
              <a:gd name="T64" fmla="*/ 74 w 235"/>
              <a:gd name="T65" fmla="*/ 71 h 149"/>
              <a:gd name="T66" fmla="*/ 110 w 235"/>
              <a:gd name="T67" fmla="*/ 112 h 149"/>
              <a:gd name="T68" fmla="*/ 151 w 235"/>
              <a:gd name="T69" fmla="*/ 107 h 149"/>
              <a:gd name="T70" fmla="*/ 223 w 235"/>
              <a:gd name="T71" fmla="*/ 107 h 149"/>
              <a:gd name="T72" fmla="*/ 235 w 235"/>
              <a:gd name="T73" fmla="*/ 112 h 149"/>
              <a:gd name="T74" fmla="*/ 226 w 235"/>
              <a:gd name="T75" fmla="*/ 94 h 149"/>
              <a:gd name="T76" fmla="*/ 178 w 235"/>
              <a:gd name="T77" fmla="*/ 50 h 149"/>
              <a:gd name="T78" fmla="*/ 203 w 235"/>
              <a:gd name="T79" fmla="*/ 16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35" h="149">
                <a:moveTo>
                  <a:pt x="74" y="40"/>
                </a:moveTo>
                <a:cubicBezTo>
                  <a:pt x="74" y="35"/>
                  <a:pt x="70" y="31"/>
                  <a:pt x="65" y="31"/>
                </a:cubicBezTo>
                <a:cubicBezTo>
                  <a:pt x="9" y="31"/>
                  <a:pt x="9" y="31"/>
                  <a:pt x="9" y="31"/>
                </a:cubicBezTo>
                <a:cubicBezTo>
                  <a:pt x="4" y="31"/>
                  <a:pt x="0" y="35"/>
                  <a:pt x="0" y="40"/>
                </a:cubicBezTo>
                <a:cubicBezTo>
                  <a:pt x="0" y="45"/>
                  <a:pt x="4" y="49"/>
                  <a:pt x="9" y="49"/>
                </a:cubicBezTo>
                <a:cubicBezTo>
                  <a:pt x="65" y="49"/>
                  <a:pt x="65" y="49"/>
                  <a:pt x="65" y="49"/>
                </a:cubicBezTo>
                <a:cubicBezTo>
                  <a:pt x="70" y="49"/>
                  <a:pt x="74" y="45"/>
                  <a:pt x="74" y="40"/>
                </a:cubicBezTo>
                <a:close/>
                <a:moveTo>
                  <a:pt x="27" y="18"/>
                </a:moveTo>
                <a:cubicBezTo>
                  <a:pt x="65" y="18"/>
                  <a:pt x="65" y="18"/>
                  <a:pt x="65" y="18"/>
                </a:cubicBezTo>
                <a:cubicBezTo>
                  <a:pt x="70" y="18"/>
                  <a:pt x="74" y="14"/>
                  <a:pt x="74" y="9"/>
                </a:cubicBezTo>
                <a:cubicBezTo>
                  <a:pt x="74" y="4"/>
                  <a:pt x="70" y="0"/>
                  <a:pt x="65" y="0"/>
                </a:cubicBezTo>
                <a:cubicBezTo>
                  <a:pt x="27" y="0"/>
                  <a:pt x="27" y="0"/>
                  <a:pt x="27" y="0"/>
                </a:cubicBezTo>
                <a:cubicBezTo>
                  <a:pt x="22" y="0"/>
                  <a:pt x="18" y="4"/>
                  <a:pt x="18" y="9"/>
                </a:cubicBezTo>
                <a:cubicBezTo>
                  <a:pt x="18" y="14"/>
                  <a:pt x="22" y="18"/>
                  <a:pt x="27" y="18"/>
                </a:cubicBezTo>
                <a:close/>
                <a:moveTo>
                  <a:pt x="211" y="107"/>
                </a:moveTo>
                <a:cubicBezTo>
                  <a:pt x="211" y="94"/>
                  <a:pt x="200" y="83"/>
                  <a:pt x="187" y="83"/>
                </a:cubicBezTo>
                <a:cubicBezTo>
                  <a:pt x="173" y="83"/>
                  <a:pt x="163" y="94"/>
                  <a:pt x="163" y="107"/>
                </a:cubicBezTo>
                <a:cubicBezTo>
                  <a:pt x="163" y="119"/>
                  <a:pt x="171" y="129"/>
                  <a:pt x="182" y="131"/>
                </a:cubicBezTo>
                <a:cubicBezTo>
                  <a:pt x="79" y="131"/>
                  <a:pt x="79" y="131"/>
                  <a:pt x="79" y="131"/>
                </a:cubicBezTo>
                <a:cubicBezTo>
                  <a:pt x="90" y="129"/>
                  <a:pt x="99" y="119"/>
                  <a:pt x="99" y="107"/>
                </a:cubicBezTo>
                <a:cubicBezTo>
                  <a:pt x="99" y="94"/>
                  <a:pt x="88" y="83"/>
                  <a:pt x="74" y="83"/>
                </a:cubicBezTo>
                <a:cubicBezTo>
                  <a:pt x="61" y="83"/>
                  <a:pt x="50" y="94"/>
                  <a:pt x="50" y="107"/>
                </a:cubicBezTo>
                <a:cubicBezTo>
                  <a:pt x="50" y="119"/>
                  <a:pt x="58" y="129"/>
                  <a:pt x="69" y="131"/>
                </a:cubicBezTo>
                <a:cubicBezTo>
                  <a:pt x="24" y="131"/>
                  <a:pt x="24" y="131"/>
                  <a:pt x="24" y="131"/>
                </a:cubicBezTo>
                <a:cubicBezTo>
                  <a:pt x="24" y="149"/>
                  <a:pt x="24" y="149"/>
                  <a:pt x="24" y="149"/>
                </a:cubicBezTo>
                <a:cubicBezTo>
                  <a:pt x="235" y="149"/>
                  <a:pt x="235" y="149"/>
                  <a:pt x="235" y="149"/>
                </a:cubicBezTo>
                <a:cubicBezTo>
                  <a:pt x="235" y="131"/>
                  <a:pt x="235" y="131"/>
                  <a:pt x="235" y="131"/>
                </a:cubicBezTo>
                <a:cubicBezTo>
                  <a:pt x="192" y="131"/>
                  <a:pt x="192" y="131"/>
                  <a:pt x="192" y="131"/>
                </a:cubicBezTo>
                <a:cubicBezTo>
                  <a:pt x="203" y="129"/>
                  <a:pt x="211" y="119"/>
                  <a:pt x="211" y="107"/>
                </a:cubicBezTo>
                <a:close/>
                <a:moveTo>
                  <a:pt x="63" y="107"/>
                </a:moveTo>
                <a:cubicBezTo>
                  <a:pt x="63" y="101"/>
                  <a:pt x="68" y="96"/>
                  <a:pt x="74" y="96"/>
                </a:cubicBezTo>
                <a:cubicBezTo>
                  <a:pt x="80" y="96"/>
                  <a:pt x="85" y="101"/>
                  <a:pt x="85" y="107"/>
                </a:cubicBezTo>
                <a:cubicBezTo>
                  <a:pt x="85" y="113"/>
                  <a:pt x="80" y="118"/>
                  <a:pt x="74" y="118"/>
                </a:cubicBezTo>
                <a:cubicBezTo>
                  <a:pt x="68" y="118"/>
                  <a:pt x="63" y="113"/>
                  <a:pt x="63" y="107"/>
                </a:cubicBezTo>
                <a:close/>
                <a:moveTo>
                  <a:pt x="176" y="107"/>
                </a:moveTo>
                <a:cubicBezTo>
                  <a:pt x="176" y="101"/>
                  <a:pt x="181" y="96"/>
                  <a:pt x="187" y="96"/>
                </a:cubicBezTo>
                <a:cubicBezTo>
                  <a:pt x="193" y="96"/>
                  <a:pt x="198" y="101"/>
                  <a:pt x="198" y="107"/>
                </a:cubicBezTo>
                <a:cubicBezTo>
                  <a:pt x="198" y="113"/>
                  <a:pt x="193" y="118"/>
                  <a:pt x="187" y="118"/>
                </a:cubicBezTo>
                <a:cubicBezTo>
                  <a:pt x="181" y="118"/>
                  <a:pt x="176" y="113"/>
                  <a:pt x="176" y="107"/>
                </a:cubicBezTo>
                <a:close/>
                <a:moveTo>
                  <a:pt x="24" y="94"/>
                </a:moveTo>
                <a:cubicBezTo>
                  <a:pt x="24" y="112"/>
                  <a:pt x="24" y="112"/>
                  <a:pt x="24" y="112"/>
                </a:cubicBezTo>
                <a:cubicBezTo>
                  <a:pt x="39" y="112"/>
                  <a:pt x="39" y="112"/>
                  <a:pt x="39" y="112"/>
                </a:cubicBezTo>
                <a:cubicBezTo>
                  <a:pt x="39" y="110"/>
                  <a:pt x="38" y="109"/>
                  <a:pt x="38" y="107"/>
                </a:cubicBezTo>
                <a:cubicBezTo>
                  <a:pt x="38" y="102"/>
                  <a:pt x="39" y="98"/>
                  <a:pt x="41" y="94"/>
                </a:cubicBezTo>
                <a:lnTo>
                  <a:pt x="24" y="94"/>
                </a:lnTo>
                <a:close/>
                <a:moveTo>
                  <a:pt x="226" y="94"/>
                </a:moveTo>
                <a:cubicBezTo>
                  <a:pt x="226" y="58"/>
                  <a:pt x="226" y="58"/>
                  <a:pt x="226" y="58"/>
                </a:cubicBezTo>
                <a:cubicBezTo>
                  <a:pt x="226" y="54"/>
                  <a:pt x="223" y="51"/>
                  <a:pt x="219" y="50"/>
                </a:cubicBezTo>
                <a:cubicBezTo>
                  <a:pt x="219" y="8"/>
                  <a:pt x="219" y="8"/>
                  <a:pt x="219" y="8"/>
                </a:cubicBezTo>
                <a:cubicBezTo>
                  <a:pt x="219" y="3"/>
                  <a:pt x="215" y="0"/>
                  <a:pt x="211" y="0"/>
                </a:cubicBezTo>
                <a:cubicBezTo>
                  <a:pt x="155" y="0"/>
                  <a:pt x="155" y="0"/>
                  <a:pt x="155" y="0"/>
                </a:cubicBezTo>
                <a:cubicBezTo>
                  <a:pt x="151" y="0"/>
                  <a:pt x="148" y="3"/>
                  <a:pt x="148" y="8"/>
                </a:cubicBezTo>
                <a:cubicBezTo>
                  <a:pt x="148" y="94"/>
                  <a:pt x="148" y="94"/>
                  <a:pt x="148" y="94"/>
                </a:cubicBezTo>
                <a:cubicBezTo>
                  <a:pt x="136" y="94"/>
                  <a:pt x="136" y="94"/>
                  <a:pt x="136" y="94"/>
                </a:cubicBezTo>
                <a:cubicBezTo>
                  <a:pt x="136" y="8"/>
                  <a:pt x="136" y="8"/>
                  <a:pt x="136" y="8"/>
                </a:cubicBezTo>
                <a:cubicBezTo>
                  <a:pt x="136" y="3"/>
                  <a:pt x="132" y="0"/>
                  <a:pt x="128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4" y="2"/>
                  <a:pt x="85" y="5"/>
                  <a:pt x="85" y="8"/>
                </a:cubicBezTo>
                <a:cubicBezTo>
                  <a:pt x="85" y="15"/>
                  <a:pt x="82" y="21"/>
                  <a:pt x="77" y="24"/>
                </a:cubicBezTo>
                <a:cubicBezTo>
                  <a:pt x="82" y="28"/>
                  <a:pt x="85" y="34"/>
                  <a:pt x="85" y="40"/>
                </a:cubicBezTo>
                <a:cubicBezTo>
                  <a:pt x="85" y="51"/>
                  <a:pt x="76" y="60"/>
                  <a:pt x="65" y="60"/>
                </a:cubicBezTo>
                <a:cubicBezTo>
                  <a:pt x="27" y="60"/>
                  <a:pt x="27" y="60"/>
                  <a:pt x="27" y="60"/>
                </a:cubicBezTo>
                <a:cubicBezTo>
                  <a:pt x="27" y="76"/>
                  <a:pt x="27" y="76"/>
                  <a:pt x="27" y="76"/>
                </a:cubicBezTo>
                <a:cubicBezTo>
                  <a:pt x="27" y="81"/>
                  <a:pt x="30" y="84"/>
                  <a:pt x="34" y="84"/>
                </a:cubicBezTo>
                <a:cubicBezTo>
                  <a:pt x="47" y="84"/>
                  <a:pt x="47" y="84"/>
                  <a:pt x="47" y="84"/>
                </a:cubicBezTo>
                <a:cubicBezTo>
                  <a:pt x="53" y="77"/>
                  <a:pt x="63" y="71"/>
                  <a:pt x="74" y="71"/>
                </a:cubicBezTo>
                <a:cubicBezTo>
                  <a:pt x="94" y="71"/>
                  <a:pt x="110" y="88"/>
                  <a:pt x="110" y="107"/>
                </a:cubicBezTo>
                <a:cubicBezTo>
                  <a:pt x="110" y="109"/>
                  <a:pt x="110" y="110"/>
                  <a:pt x="110" y="112"/>
                </a:cubicBezTo>
                <a:cubicBezTo>
                  <a:pt x="152" y="112"/>
                  <a:pt x="152" y="112"/>
                  <a:pt x="152" y="112"/>
                </a:cubicBezTo>
                <a:cubicBezTo>
                  <a:pt x="151" y="110"/>
                  <a:pt x="151" y="109"/>
                  <a:pt x="151" y="107"/>
                </a:cubicBezTo>
                <a:cubicBezTo>
                  <a:pt x="151" y="88"/>
                  <a:pt x="167" y="71"/>
                  <a:pt x="187" y="71"/>
                </a:cubicBezTo>
                <a:cubicBezTo>
                  <a:pt x="207" y="71"/>
                  <a:pt x="223" y="88"/>
                  <a:pt x="223" y="107"/>
                </a:cubicBezTo>
                <a:cubicBezTo>
                  <a:pt x="223" y="109"/>
                  <a:pt x="223" y="110"/>
                  <a:pt x="222" y="112"/>
                </a:cubicBezTo>
                <a:cubicBezTo>
                  <a:pt x="235" y="112"/>
                  <a:pt x="235" y="112"/>
                  <a:pt x="235" y="112"/>
                </a:cubicBezTo>
                <a:cubicBezTo>
                  <a:pt x="235" y="94"/>
                  <a:pt x="235" y="94"/>
                  <a:pt x="235" y="94"/>
                </a:cubicBezTo>
                <a:lnTo>
                  <a:pt x="226" y="94"/>
                </a:lnTo>
                <a:close/>
                <a:moveTo>
                  <a:pt x="203" y="50"/>
                </a:moveTo>
                <a:cubicBezTo>
                  <a:pt x="178" y="50"/>
                  <a:pt x="178" y="50"/>
                  <a:pt x="178" y="50"/>
                </a:cubicBezTo>
                <a:cubicBezTo>
                  <a:pt x="178" y="16"/>
                  <a:pt x="178" y="16"/>
                  <a:pt x="178" y="16"/>
                </a:cubicBezTo>
                <a:cubicBezTo>
                  <a:pt x="203" y="16"/>
                  <a:pt x="203" y="16"/>
                  <a:pt x="203" y="16"/>
                </a:cubicBezTo>
                <a:lnTo>
                  <a:pt x="203" y="50"/>
                </a:lnTo>
                <a:close/>
              </a:path>
            </a:pathLst>
          </a:custGeom>
          <a:solidFill>
            <a:srgbClr val="FFB81E">
              <a:lumMod val="20000"/>
              <a:lumOff val="80000"/>
            </a:srgbClr>
          </a:solidFill>
          <a:ln>
            <a:noFill/>
          </a:ln>
          <a:extLst/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defTabSz="914316">
              <a:defRPr/>
            </a:pPr>
            <a:endParaRPr lang="de-DE" sz="1942" kern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16" name="Freeform 614">
            <a:extLst>
              <a:ext uri="{FF2B5EF4-FFF2-40B4-BE49-F238E27FC236}">
                <a16:creationId xmlns:a16="http://schemas.microsoft.com/office/drawing/2014/main" id="{9195379E-2DAD-463C-8469-B4EF5EA464F1}"/>
              </a:ext>
            </a:extLst>
          </p:cNvPr>
          <p:cNvSpPr/>
          <p:nvPr/>
        </p:nvSpPr>
        <p:spPr>
          <a:xfrm flipH="1">
            <a:off x="9639276" y="5484811"/>
            <a:ext cx="563225" cy="506146"/>
          </a:xfrm>
          <a:custGeom>
            <a:avLst/>
            <a:gdLst>
              <a:gd name="connsiteX0" fmla="*/ 553439 w 1047837"/>
              <a:gd name="connsiteY0" fmla="*/ 781653 h 941642"/>
              <a:gd name="connsiteX1" fmla="*/ 72705 w 1047837"/>
              <a:gd name="connsiteY1" fmla="*/ 781653 h 941642"/>
              <a:gd name="connsiteX2" fmla="*/ 0 w 1047837"/>
              <a:gd name="connsiteY2" fmla="*/ 854358 h 941642"/>
              <a:gd name="connsiteX3" fmla="*/ 0 w 1047837"/>
              <a:gd name="connsiteY3" fmla="*/ 868937 h 941642"/>
              <a:gd name="connsiteX4" fmla="*/ 72705 w 1047837"/>
              <a:gd name="connsiteY4" fmla="*/ 941642 h 941642"/>
              <a:gd name="connsiteX5" fmla="*/ 553439 w 1047837"/>
              <a:gd name="connsiteY5" fmla="*/ 941642 h 941642"/>
              <a:gd name="connsiteX6" fmla="*/ 626144 w 1047837"/>
              <a:gd name="connsiteY6" fmla="*/ 868937 h 941642"/>
              <a:gd name="connsiteX7" fmla="*/ 626144 w 1047837"/>
              <a:gd name="connsiteY7" fmla="*/ 854358 h 941642"/>
              <a:gd name="connsiteX8" fmla="*/ 553439 w 1047837"/>
              <a:gd name="connsiteY8" fmla="*/ 781653 h 941642"/>
              <a:gd name="connsiteX9" fmla="*/ 479553 w 1047837"/>
              <a:gd name="connsiteY9" fmla="*/ 646822 h 941642"/>
              <a:gd name="connsiteX10" fmla="*/ 146591 w 1047837"/>
              <a:gd name="connsiteY10" fmla="*/ 646822 h 941642"/>
              <a:gd name="connsiteX11" fmla="*/ 94135 w 1047837"/>
              <a:gd name="connsiteY11" fmla="*/ 699278 h 941642"/>
              <a:gd name="connsiteX12" fmla="*/ 94135 w 1047837"/>
              <a:gd name="connsiteY12" fmla="*/ 709795 h 941642"/>
              <a:gd name="connsiteX13" fmla="*/ 146591 w 1047837"/>
              <a:gd name="connsiteY13" fmla="*/ 762251 h 941642"/>
              <a:gd name="connsiteX14" fmla="*/ 479553 w 1047837"/>
              <a:gd name="connsiteY14" fmla="*/ 762251 h 941642"/>
              <a:gd name="connsiteX15" fmla="*/ 532009 w 1047837"/>
              <a:gd name="connsiteY15" fmla="*/ 709795 h 941642"/>
              <a:gd name="connsiteX16" fmla="*/ 532009 w 1047837"/>
              <a:gd name="connsiteY16" fmla="*/ 699278 h 941642"/>
              <a:gd name="connsiteX17" fmla="*/ 479553 w 1047837"/>
              <a:gd name="connsiteY17" fmla="*/ 646822 h 941642"/>
              <a:gd name="connsiteX18" fmla="*/ 509978 w 1047837"/>
              <a:gd name="connsiteY18" fmla="*/ 2 h 941642"/>
              <a:gd name="connsiteX19" fmla="*/ 469437 w 1047837"/>
              <a:gd name="connsiteY19" fmla="*/ 17223 h 941642"/>
              <a:gd name="connsiteX20" fmla="*/ 453306 w 1047837"/>
              <a:gd name="connsiteY20" fmla="*/ 33646 h 941642"/>
              <a:gd name="connsiteX21" fmla="*/ 443540 w 1047837"/>
              <a:gd name="connsiteY21" fmla="*/ 99526 h 941642"/>
              <a:gd name="connsiteX22" fmla="*/ 376424 w 1047837"/>
              <a:gd name="connsiteY22" fmla="*/ 167859 h 941642"/>
              <a:gd name="connsiteX23" fmla="*/ 310729 w 1047837"/>
              <a:gd name="connsiteY23" fmla="*/ 178808 h 941642"/>
              <a:gd name="connsiteX24" fmla="*/ 294599 w 1047837"/>
              <a:gd name="connsiteY24" fmla="*/ 195231 h 941642"/>
              <a:gd name="connsiteX25" fmla="*/ 284832 w 1047837"/>
              <a:gd name="connsiteY25" fmla="*/ 261112 h 941642"/>
              <a:gd name="connsiteX26" fmla="*/ 217717 w 1047837"/>
              <a:gd name="connsiteY26" fmla="*/ 329444 h 941642"/>
              <a:gd name="connsiteX27" fmla="*/ 152022 w 1047837"/>
              <a:gd name="connsiteY27" fmla="*/ 340393 h 941642"/>
              <a:gd name="connsiteX28" fmla="*/ 135892 w 1047837"/>
              <a:gd name="connsiteY28" fmla="*/ 356816 h 941642"/>
              <a:gd name="connsiteX29" fmla="*/ 136623 w 1047837"/>
              <a:gd name="connsiteY29" fmla="*/ 438201 h 941642"/>
              <a:gd name="connsiteX30" fmla="*/ 281961 w 1047837"/>
              <a:gd name="connsiteY30" fmla="*/ 580950 h 941642"/>
              <a:gd name="connsiteX31" fmla="*/ 363346 w 1047837"/>
              <a:gd name="connsiteY31" fmla="*/ 580219 h 941642"/>
              <a:gd name="connsiteX32" fmla="*/ 379476 w 1047837"/>
              <a:gd name="connsiteY32" fmla="*/ 563796 h 941642"/>
              <a:gd name="connsiteX33" fmla="*/ 389243 w 1047837"/>
              <a:gd name="connsiteY33" fmla="*/ 497916 h 941642"/>
              <a:gd name="connsiteX34" fmla="*/ 456359 w 1047837"/>
              <a:gd name="connsiteY34" fmla="*/ 429583 h 941642"/>
              <a:gd name="connsiteX35" fmla="*/ 511018 w 1047837"/>
              <a:gd name="connsiteY35" fmla="*/ 426766 h 941642"/>
              <a:gd name="connsiteX36" fmla="*/ 628741 w 1047837"/>
              <a:gd name="connsiteY36" fmla="*/ 563926 h 941642"/>
              <a:gd name="connsiteX37" fmla="*/ 643370 w 1047837"/>
              <a:gd name="connsiteY37" fmla="*/ 618457 h 941642"/>
              <a:gd name="connsiteX38" fmla="*/ 876995 w 1047837"/>
              <a:gd name="connsiteY38" fmla="*/ 847923 h 941642"/>
              <a:gd name="connsiteX39" fmla="*/ 958378 w 1047837"/>
              <a:gd name="connsiteY39" fmla="*/ 847193 h 941642"/>
              <a:gd name="connsiteX40" fmla="*/ 935867 w 1047837"/>
              <a:gd name="connsiteY40" fmla="*/ 870112 h 941642"/>
              <a:gd name="connsiteX41" fmla="*/ 936190 w 1047837"/>
              <a:gd name="connsiteY41" fmla="*/ 906063 h 941642"/>
              <a:gd name="connsiteX42" fmla="*/ 943444 w 1047837"/>
              <a:gd name="connsiteY42" fmla="*/ 913188 h 941642"/>
              <a:gd name="connsiteX43" fmla="*/ 979396 w 1047837"/>
              <a:gd name="connsiteY43" fmla="*/ 912865 h 941642"/>
              <a:gd name="connsiteX44" fmla="*/ 1040552 w 1047837"/>
              <a:gd name="connsiteY44" fmla="*/ 850601 h 941642"/>
              <a:gd name="connsiteX45" fmla="*/ 1040229 w 1047837"/>
              <a:gd name="connsiteY45" fmla="*/ 814649 h 941642"/>
              <a:gd name="connsiteX46" fmla="*/ 1032975 w 1047837"/>
              <a:gd name="connsiteY46" fmla="*/ 807524 h 941642"/>
              <a:gd name="connsiteX47" fmla="*/ 997023 w 1047837"/>
              <a:gd name="connsiteY47" fmla="*/ 807847 h 941642"/>
              <a:gd name="connsiteX48" fmla="*/ 974513 w 1047837"/>
              <a:gd name="connsiteY48" fmla="*/ 830766 h 941642"/>
              <a:gd name="connsiteX49" fmla="*/ 973780 w 1047837"/>
              <a:gd name="connsiteY49" fmla="*/ 749383 h 941642"/>
              <a:gd name="connsiteX50" fmla="*/ 740154 w 1047837"/>
              <a:gd name="connsiteY50" fmla="*/ 519918 h 941642"/>
              <a:gd name="connsiteX51" fmla="*/ 685369 w 1047837"/>
              <a:gd name="connsiteY51" fmla="*/ 506272 h 941642"/>
              <a:gd name="connsiteX52" fmla="*/ 546115 w 1047837"/>
              <a:gd name="connsiteY52" fmla="*/ 391033 h 941642"/>
              <a:gd name="connsiteX53" fmla="*/ 547950 w 1047837"/>
              <a:gd name="connsiteY53" fmla="*/ 336331 h 941642"/>
              <a:gd name="connsiteX54" fmla="*/ 615066 w 1047837"/>
              <a:gd name="connsiteY54" fmla="*/ 267998 h 941642"/>
              <a:gd name="connsiteX55" fmla="*/ 680760 w 1047837"/>
              <a:gd name="connsiteY55" fmla="*/ 257049 h 941642"/>
              <a:gd name="connsiteX56" fmla="*/ 696891 w 1047837"/>
              <a:gd name="connsiteY56" fmla="*/ 240626 h 941642"/>
              <a:gd name="connsiteX57" fmla="*/ 696160 w 1047837"/>
              <a:gd name="connsiteY57" fmla="*/ 159241 h 941642"/>
              <a:gd name="connsiteX58" fmla="*/ 550822 w 1047837"/>
              <a:gd name="connsiteY58" fmla="*/ 16492 h 941642"/>
              <a:gd name="connsiteX59" fmla="*/ 509978 w 1047837"/>
              <a:gd name="connsiteY59" fmla="*/ 2 h 941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1047837" h="941642">
                <a:moveTo>
                  <a:pt x="553439" y="781653"/>
                </a:moveTo>
                <a:lnTo>
                  <a:pt x="72705" y="781653"/>
                </a:lnTo>
                <a:cubicBezTo>
                  <a:pt x="32551" y="781653"/>
                  <a:pt x="0" y="814204"/>
                  <a:pt x="0" y="854358"/>
                </a:cubicBezTo>
                <a:lnTo>
                  <a:pt x="0" y="868937"/>
                </a:lnTo>
                <a:cubicBezTo>
                  <a:pt x="0" y="909091"/>
                  <a:pt x="32551" y="941642"/>
                  <a:pt x="72705" y="941642"/>
                </a:cubicBezTo>
                <a:lnTo>
                  <a:pt x="553439" y="941642"/>
                </a:lnTo>
                <a:cubicBezTo>
                  <a:pt x="593593" y="941642"/>
                  <a:pt x="626144" y="909091"/>
                  <a:pt x="626144" y="868937"/>
                </a:cubicBezTo>
                <a:lnTo>
                  <a:pt x="626144" y="854358"/>
                </a:lnTo>
                <a:cubicBezTo>
                  <a:pt x="626144" y="814204"/>
                  <a:pt x="593593" y="781653"/>
                  <a:pt x="553439" y="781653"/>
                </a:cubicBezTo>
                <a:close/>
                <a:moveTo>
                  <a:pt x="479553" y="646822"/>
                </a:moveTo>
                <a:lnTo>
                  <a:pt x="146591" y="646822"/>
                </a:lnTo>
                <a:cubicBezTo>
                  <a:pt x="117620" y="646822"/>
                  <a:pt x="94135" y="670307"/>
                  <a:pt x="94135" y="699278"/>
                </a:cubicBezTo>
                <a:lnTo>
                  <a:pt x="94135" y="709795"/>
                </a:lnTo>
                <a:cubicBezTo>
                  <a:pt x="94135" y="738766"/>
                  <a:pt x="117620" y="762251"/>
                  <a:pt x="146591" y="762251"/>
                </a:cubicBezTo>
                <a:lnTo>
                  <a:pt x="479553" y="762251"/>
                </a:lnTo>
                <a:cubicBezTo>
                  <a:pt x="508524" y="762251"/>
                  <a:pt x="532009" y="738766"/>
                  <a:pt x="532009" y="709795"/>
                </a:cubicBezTo>
                <a:lnTo>
                  <a:pt x="532009" y="699278"/>
                </a:lnTo>
                <a:cubicBezTo>
                  <a:pt x="532009" y="670307"/>
                  <a:pt x="508524" y="646822"/>
                  <a:pt x="479553" y="646822"/>
                </a:cubicBezTo>
                <a:close/>
                <a:moveTo>
                  <a:pt x="509978" y="2"/>
                </a:moveTo>
                <a:cubicBezTo>
                  <a:pt x="495250" y="134"/>
                  <a:pt x="480573" y="5885"/>
                  <a:pt x="469437" y="17223"/>
                </a:cubicBezTo>
                <a:lnTo>
                  <a:pt x="453306" y="33646"/>
                </a:lnTo>
                <a:cubicBezTo>
                  <a:pt x="435588" y="51685"/>
                  <a:pt x="432172" y="78434"/>
                  <a:pt x="443540" y="99526"/>
                </a:cubicBezTo>
                <a:lnTo>
                  <a:pt x="376424" y="167859"/>
                </a:lnTo>
                <a:cubicBezTo>
                  <a:pt x="355130" y="156873"/>
                  <a:pt x="328447" y="160769"/>
                  <a:pt x="310729" y="178808"/>
                </a:cubicBezTo>
                <a:lnTo>
                  <a:pt x="294599" y="195231"/>
                </a:lnTo>
                <a:cubicBezTo>
                  <a:pt x="276881" y="213270"/>
                  <a:pt x="273465" y="240019"/>
                  <a:pt x="284832" y="261112"/>
                </a:cubicBezTo>
                <a:lnTo>
                  <a:pt x="217717" y="329444"/>
                </a:lnTo>
                <a:cubicBezTo>
                  <a:pt x="196423" y="318457"/>
                  <a:pt x="169740" y="322353"/>
                  <a:pt x="152022" y="340393"/>
                </a:cubicBezTo>
                <a:lnTo>
                  <a:pt x="135892" y="356816"/>
                </a:lnTo>
                <a:cubicBezTo>
                  <a:pt x="113620" y="379492"/>
                  <a:pt x="113947" y="415929"/>
                  <a:pt x="136623" y="438201"/>
                </a:cubicBezTo>
                <a:lnTo>
                  <a:pt x="281961" y="580950"/>
                </a:lnTo>
                <a:cubicBezTo>
                  <a:pt x="304637" y="603222"/>
                  <a:pt x="341074" y="602895"/>
                  <a:pt x="363346" y="580219"/>
                </a:cubicBezTo>
                <a:lnTo>
                  <a:pt x="379476" y="563796"/>
                </a:lnTo>
                <a:cubicBezTo>
                  <a:pt x="397194" y="545757"/>
                  <a:pt x="400610" y="519008"/>
                  <a:pt x="389243" y="497916"/>
                </a:cubicBezTo>
                <a:lnTo>
                  <a:pt x="456359" y="429583"/>
                </a:lnTo>
                <a:cubicBezTo>
                  <a:pt x="473685" y="438523"/>
                  <a:pt x="494582" y="437609"/>
                  <a:pt x="511018" y="426766"/>
                </a:cubicBezTo>
                <a:lnTo>
                  <a:pt x="628741" y="563926"/>
                </a:lnTo>
                <a:cubicBezTo>
                  <a:pt x="623139" y="582755"/>
                  <a:pt x="628356" y="603711"/>
                  <a:pt x="643370" y="618457"/>
                </a:cubicBezTo>
                <a:lnTo>
                  <a:pt x="876995" y="847923"/>
                </a:lnTo>
                <a:cubicBezTo>
                  <a:pt x="899671" y="870194"/>
                  <a:pt x="936106" y="869868"/>
                  <a:pt x="958378" y="847193"/>
                </a:cubicBezTo>
                <a:lnTo>
                  <a:pt x="935867" y="870112"/>
                </a:lnTo>
                <a:cubicBezTo>
                  <a:pt x="926029" y="880129"/>
                  <a:pt x="926174" y="896225"/>
                  <a:pt x="936190" y="906063"/>
                </a:cubicBezTo>
                <a:lnTo>
                  <a:pt x="943444" y="913188"/>
                </a:lnTo>
                <a:cubicBezTo>
                  <a:pt x="953461" y="923027"/>
                  <a:pt x="969558" y="922882"/>
                  <a:pt x="979396" y="912865"/>
                </a:cubicBezTo>
                <a:lnTo>
                  <a:pt x="1040552" y="850601"/>
                </a:lnTo>
                <a:cubicBezTo>
                  <a:pt x="1050390" y="840584"/>
                  <a:pt x="1050246" y="824487"/>
                  <a:pt x="1040229" y="814649"/>
                </a:cubicBezTo>
                <a:lnTo>
                  <a:pt x="1032975" y="807524"/>
                </a:lnTo>
                <a:cubicBezTo>
                  <a:pt x="1022958" y="797686"/>
                  <a:pt x="1006861" y="797830"/>
                  <a:pt x="997023" y="807847"/>
                </a:cubicBezTo>
                <a:lnTo>
                  <a:pt x="974513" y="830766"/>
                </a:lnTo>
                <a:cubicBezTo>
                  <a:pt x="996784" y="808090"/>
                  <a:pt x="996455" y="771655"/>
                  <a:pt x="973780" y="749383"/>
                </a:cubicBezTo>
                <a:lnTo>
                  <a:pt x="740154" y="519918"/>
                </a:lnTo>
                <a:cubicBezTo>
                  <a:pt x="725140" y="505171"/>
                  <a:pt x="704094" y="500333"/>
                  <a:pt x="685369" y="506272"/>
                </a:cubicBezTo>
                <a:lnTo>
                  <a:pt x="546115" y="391033"/>
                </a:lnTo>
                <a:cubicBezTo>
                  <a:pt x="556661" y="374403"/>
                  <a:pt x="557200" y="353494"/>
                  <a:pt x="547950" y="336331"/>
                </a:cubicBezTo>
                <a:lnTo>
                  <a:pt x="615066" y="267998"/>
                </a:lnTo>
                <a:cubicBezTo>
                  <a:pt x="636359" y="278985"/>
                  <a:pt x="663042" y="275088"/>
                  <a:pt x="680760" y="257049"/>
                </a:cubicBezTo>
                <a:lnTo>
                  <a:pt x="696891" y="240626"/>
                </a:lnTo>
                <a:cubicBezTo>
                  <a:pt x="719163" y="217950"/>
                  <a:pt x="718836" y="181513"/>
                  <a:pt x="696160" y="159241"/>
                </a:cubicBezTo>
                <a:lnTo>
                  <a:pt x="550822" y="16492"/>
                </a:lnTo>
                <a:cubicBezTo>
                  <a:pt x="539484" y="5356"/>
                  <a:pt x="524705" y="-131"/>
                  <a:pt x="509978" y="2"/>
                </a:cubicBezTo>
                <a:close/>
              </a:path>
            </a:pathLst>
          </a:custGeom>
          <a:solidFill>
            <a:srgbClr val="FFB81E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defTabSz="914316">
              <a:defRPr/>
            </a:pPr>
            <a:endParaRPr lang="de-DE" sz="1399" kern="0" err="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B45AA363-9A55-4EA9-BC28-A31F6FF816BE}"/>
              </a:ext>
            </a:extLst>
          </p:cNvPr>
          <p:cNvGrpSpPr/>
          <p:nvPr/>
        </p:nvGrpSpPr>
        <p:grpSpPr>
          <a:xfrm>
            <a:off x="11034573" y="5408586"/>
            <a:ext cx="511149" cy="575421"/>
            <a:chOff x="4765193" y="978841"/>
            <a:chExt cx="530225" cy="596901"/>
          </a:xfrm>
          <a:solidFill>
            <a:srgbClr val="FFB81E">
              <a:lumMod val="20000"/>
              <a:lumOff val="80000"/>
            </a:srgbClr>
          </a:solidFill>
        </p:grpSpPr>
        <p:sp>
          <p:nvSpPr>
            <p:cNvPr id="118" name="Freeform 210">
              <a:extLst>
                <a:ext uri="{FF2B5EF4-FFF2-40B4-BE49-F238E27FC236}">
                  <a16:creationId xmlns:a16="http://schemas.microsoft.com/office/drawing/2014/main" id="{2B5FB52D-01A6-45F4-8437-3C99565E1A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5193" y="1551929"/>
              <a:ext cx="530225" cy="23813"/>
            </a:xfrm>
            <a:custGeom>
              <a:avLst/>
              <a:gdLst>
                <a:gd name="T0" fmla="*/ 3 w 175"/>
                <a:gd name="T1" fmla="*/ 0 h 8"/>
                <a:gd name="T2" fmla="*/ 0 w 175"/>
                <a:gd name="T3" fmla="*/ 3 h 8"/>
                <a:gd name="T4" fmla="*/ 0 w 175"/>
                <a:gd name="T5" fmla="*/ 5 h 8"/>
                <a:gd name="T6" fmla="*/ 3 w 175"/>
                <a:gd name="T7" fmla="*/ 8 h 8"/>
                <a:gd name="T8" fmla="*/ 172 w 175"/>
                <a:gd name="T9" fmla="*/ 8 h 8"/>
                <a:gd name="T10" fmla="*/ 175 w 175"/>
                <a:gd name="T11" fmla="*/ 5 h 8"/>
                <a:gd name="T12" fmla="*/ 175 w 175"/>
                <a:gd name="T13" fmla="*/ 3 h 8"/>
                <a:gd name="T14" fmla="*/ 172 w 175"/>
                <a:gd name="T15" fmla="*/ 0 h 8"/>
                <a:gd name="T16" fmla="*/ 3 w 175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5" h="8">
                  <a:moveTo>
                    <a:pt x="3" y="0"/>
                  </a:moveTo>
                  <a:cubicBezTo>
                    <a:pt x="1" y="0"/>
                    <a:pt x="0" y="2"/>
                    <a:pt x="0" y="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1" y="8"/>
                    <a:pt x="3" y="8"/>
                  </a:cubicBezTo>
                  <a:cubicBezTo>
                    <a:pt x="172" y="8"/>
                    <a:pt x="172" y="8"/>
                    <a:pt x="172" y="8"/>
                  </a:cubicBezTo>
                  <a:cubicBezTo>
                    <a:pt x="173" y="8"/>
                    <a:pt x="175" y="6"/>
                    <a:pt x="175" y="5"/>
                  </a:cubicBezTo>
                  <a:cubicBezTo>
                    <a:pt x="175" y="3"/>
                    <a:pt x="175" y="3"/>
                    <a:pt x="175" y="3"/>
                  </a:cubicBezTo>
                  <a:cubicBezTo>
                    <a:pt x="175" y="2"/>
                    <a:pt x="173" y="0"/>
                    <a:pt x="172" y="0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38" tIns="45719" rIns="91438" bIns="45719" numCol="1" anchor="t" anchorCtr="0" compatLnSpc="1">
              <a:prstTxWarp prst="textNoShape">
                <a:avLst/>
              </a:prstTxWarp>
            </a:bodyPr>
            <a:lstStyle/>
            <a:p>
              <a:pPr defTabSz="914316">
                <a:defRPr/>
              </a:pPr>
              <a:endParaRPr lang="de-DE" sz="1942" kern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19" name="Freeform 211">
              <a:extLst>
                <a:ext uri="{FF2B5EF4-FFF2-40B4-BE49-F238E27FC236}">
                  <a16:creationId xmlns:a16="http://schemas.microsoft.com/office/drawing/2014/main" id="{FB6D097E-89D2-4D03-80C3-D93718EFF9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8380" y="1404291"/>
              <a:ext cx="19050" cy="138113"/>
            </a:xfrm>
            <a:custGeom>
              <a:avLst/>
              <a:gdLst>
                <a:gd name="T0" fmla="*/ 6 w 6"/>
                <a:gd name="T1" fmla="*/ 3 h 46"/>
                <a:gd name="T2" fmla="*/ 3 w 6"/>
                <a:gd name="T3" fmla="*/ 0 h 46"/>
                <a:gd name="T4" fmla="*/ 0 w 6"/>
                <a:gd name="T5" fmla="*/ 3 h 46"/>
                <a:gd name="T6" fmla="*/ 0 w 6"/>
                <a:gd name="T7" fmla="*/ 43 h 46"/>
                <a:gd name="T8" fmla="*/ 3 w 6"/>
                <a:gd name="T9" fmla="*/ 46 h 46"/>
                <a:gd name="T10" fmla="*/ 6 w 6"/>
                <a:gd name="T11" fmla="*/ 43 h 46"/>
                <a:gd name="T12" fmla="*/ 6 w 6"/>
                <a:gd name="T13" fmla="*/ 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6">
                  <a:moveTo>
                    <a:pt x="6" y="3"/>
                  </a:moveTo>
                  <a:cubicBezTo>
                    <a:pt x="6" y="1"/>
                    <a:pt x="5" y="0"/>
                    <a:pt x="3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4"/>
                    <a:pt x="2" y="46"/>
                    <a:pt x="3" y="46"/>
                  </a:cubicBezTo>
                  <a:cubicBezTo>
                    <a:pt x="5" y="46"/>
                    <a:pt x="6" y="44"/>
                    <a:pt x="6" y="43"/>
                  </a:cubicBez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38" tIns="45719" rIns="91438" bIns="45719" numCol="1" anchor="t" anchorCtr="0" compatLnSpc="1">
              <a:prstTxWarp prst="textNoShape">
                <a:avLst/>
              </a:prstTxWarp>
            </a:bodyPr>
            <a:lstStyle/>
            <a:p>
              <a:pPr defTabSz="914316">
                <a:defRPr/>
              </a:pPr>
              <a:endParaRPr lang="de-DE" sz="1942" kern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20" name="Freeform 212">
              <a:extLst>
                <a:ext uri="{FF2B5EF4-FFF2-40B4-BE49-F238E27FC236}">
                  <a16:creationId xmlns:a16="http://schemas.microsoft.com/office/drawing/2014/main" id="{5CECF1A0-9DD9-45CF-8167-AA7B6E8BD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4768" y="1264591"/>
              <a:ext cx="15875" cy="277813"/>
            </a:xfrm>
            <a:custGeom>
              <a:avLst/>
              <a:gdLst>
                <a:gd name="T0" fmla="*/ 5 w 5"/>
                <a:gd name="T1" fmla="*/ 3 h 92"/>
                <a:gd name="T2" fmla="*/ 3 w 5"/>
                <a:gd name="T3" fmla="*/ 0 h 92"/>
                <a:gd name="T4" fmla="*/ 0 w 5"/>
                <a:gd name="T5" fmla="*/ 3 h 92"/>
                <a:gd name="T6" fmla="*/ 0 w 5"/>
                <a:gd name="T7" fmla="*/ 89 h 92"/>
                <a:gd name="T8" fmla="*/ 3 w 5"/>
                <a:gd name="T9" fmla="*/ 92 h 92"/>
                <a:gd name="T10" fmla="*/ 5 w 5"/>
                <a:gd name="T11" fmla="*/ 89 h 92"/>
                <a:gd name="T12" fmla="*/ 5 w 5"/>
                <a:gd name="T13" fmla="*/ 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2">
                  <a:moveTo>
                    <a:pt x="5" y="3"/>
                  </a:moveTo>
                  <a:cubicBezTo>
                    <a:pt x="5" y="1"/>
                    <a:pt x="4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90"/>
                    <a:pt x="1" y="92"/>
                    <a:pt x="3" y="92"/>
                  </a:cubicBezTo>
                  <a:cubicBezTo>
                    <a:pt x="4" y="92"/>
                    <a:pt x="5" y="90"/>
                    <a:pt x="5" y="89"/>
                  </a:cubicBezTo>
                  <a:lnTo>
                    <a:pt x="5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38" tIns="45719" rIns="91438" bIns="45719" numCol="1" anchor="t" anchorCtr="0" compatLnSpc="1">
              <a:prstTxWarp prst="textNoShape">
                <a:avLst/>
              </a:prstTxWarp>
            </a:bodyPr>
            <a:lstStyle/>
            <a:p>
              <a:pPr defTabSz="914316">
                <a:defRPr/>
              </a:pPr>
              <a:endParaRPr lang="de-DE" sz="1942" kern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21" name="Freeform 213">
              <a:extLst>
                <a:ext uri="{FF2B5EF4-FFF2-40B4-BE49-F238E27FC236}">
                  <a16:creationId xmlns:a16="http://schemas.microsoft.com/office/drawing/2014/main" id="{4E3260A1-3257-4D02-8EC4-4ADA960F99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8543" y="978841"/>
              <a:ext cx="125413" cy="563563"/>
            </a:xfrm>
            <a:custGeom>
              <a:avLst/>
              <a:gdLst>
                <a:gd name="T0" fmla="*/ 15 w 41"/>
                <a:gd name="T1" fmla="*/ 170 h 186"/>
                <a:gd name="T2" fmla="*/ 29 w 41"/>
                <a:gd name="T3" fmla="*/ 173 h 186"/>
                <a:gd name="T4" fmla="*/ 32 w 41"/>
                <a:gd name="T5" fmla="*/ 186 h 186"/>
                <a:gd name="T6" fmla="*/ 41 w 41"/>
                <a:gd name="T7" fmla="*/ 183 h 186"/>
                <a:gd name="T8" fmla="*/ 39 w 41"/>
                <a:gd name="T9" fmla="*/ 22 h 186"/>
                <a:gd name="T10" fmla="*/ 22 w 41"/>
                <a:gd name="T11" fmla="*/ 19 h 186"/>
                <a:gd name="T12" fmla="*/ 20 w 41"/>
                <a:gd name="T13" fmla="*/ 0 h 186"/>
                <a:gd name="T14" fmla="*/ 19 w 41"/>
                <a:gd name="T15" fmla="*/ 19 h 186"/>
                <a:gd name="T16" fmla="*/ 2 w 41"/>
                <a:gd name="T17" fmla="*/ 22 h 186"/>
                <a:gd name="T18" fmla="*/ 0 w 41"/>
                <a:gd name="T19" fmla="*/ 183 h 186"/>
                <a:gd name="T20" fmla="*/ 9 w 41"/>
                <a:gd name="T21" fmla="*/ 186 h 186"/>
                <a:gd name="T22" fmla="*/ 12 w 41"/>
                <a:gd name="T23" fmla="*/ 173 h 186"/>
                <a:gd name="T24" fmla="*/ 15 w 41"/>
                <a:gd name="T25" fmla="*/ 34 h 186"/>
                <a:gd name="T26" fmla="*/ 29 w 41"/>
                <a:gd name="T27" fmla="*/ 37 h 186"/>
                <a:gd name="T28" fmla="*/ 26 w 41"/>
                <a:gd name="T29" fmla="*/ 51 h 186"/>
                <a:gd name="T30" fmla="*/ 12 w 41"/>
                <a:gd name="T31" fmla="*/ 48 h 186"/>
                <a:gd name="T32" fmla="*/ 12 w 41"/>
                <a:gd name="T33" fmla="*/ 62 h 186"/>
                <a:gd name="T34" fmla="*/ 26 w 41"/>
                <a:gd name="T35" fmla="*/ 59 h 186"/>
                <a:gd name="T36" fmla="*/ 29 w 41"/>
                <a:gd name="T37" fmla="*/ 73 h 186"/>
                <a:gd name="T38" fmla="*/ 15 w 41"/>
                <a:gd name="T39" fmla="*/ 76 h 186"/>
                <a:gd name="T40" fmla="*/ 12 w 41"/>
                <a:gd name="T41" fmla="*/ 62 h 186"/>
                <a:gd name="T42" fmla="*/ 15 w 41"/>
                <a:gd name="T43" fmla="*/ 84 h 186"/>
                <a:gd name="T44" fmla="*/ 29 w 41"/>
                <a:gd name="T45" fmla="*/ 87 h 186"/>
                <a:gd name="T46" fmla="*/ 26 w 41"/>
                <a:gd name="T47" fmla="*/ 101 h 186"/>
                <a:gd name="T48" fmla="*/ 12 w 41"/>
                <a:gd name="T49" fmla="*/ 98 h 186"/>
                <a:gd name="T50" fmla="*/ 12 w 41"/>
                <a:gd name="T51" fmla="*/ 111 h 186"/>
                <a:gd name="T52" fmla="*/ 26 w 41"/>
                <a:gd name="T53" fmla="*/ 108 h 186"/>
                <a:gd name="T54" fmla="*/ 29 w 41"/>
                <a:gd name="T55" fmla="*/ 123 h 186"/>
                <a:gd name="T56" fmla="*/ 15 w 41"/>
                <a:gd name="T57" fmla="*/ 126 h 186"/>
                <a:gd name="T58" fmla="*/ 12 w 41"/>
                <a:gd name="T59" fmla="*/ 111 h 186"/>
                <a:gd name="T60" fmla="*/ 15 w 41"/>
                <a:gd name="T61" fmla="*/ 133 h 186"/>
                <a:gd name="T62" fmla="*/ 29 w 41"/>
                <a:gd name="T63" fmla="*/ 136 h 186"/>
                <a:gd name="T64" fmla="*/ 26 w 41"/>
                <a:gd name="T65" fmla="*/ 150 h 186"/>
                <a:gd name="T66" fmla="*/ 12 w 41"/>
                <a:gd name="T67" fmla="*/ 147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186">
                  <a:moveTo>
                    <a:pt x="12" y="173"/>
                  </a:moveTo>
                  <a:cubicBezTo>
                    <a:pt x="12" y="172"/>
                    <a:pt x="13" y="170"/>
                    <a:pt x="15" y="170"/>
                  </a:cubicBezTo>
                  <a:cubicBezTo>
                    <a:pt x="26" y="170"/>
                    <a:pt x="26" y="170"/>
                    <a:pt x="26" y="170"/>
                  </a:cubicBezTo>
                  <a:cubicBezTo>
                    <a:pt x="28" y="170"/>
                    <a:pt x="29" y="172"/>
                    <a:pt x="29" y="173"/>
                  </a:cubicBezTo>
                  <a:cubicBezTo>
                    <a:pt x="29" y="183"/>
                    <a:pt x="29" y="183"/>
                    <a:pt x="29" y="183"/>
                  </a:cubicBezTo>
                  <a:cubicBezTo>
                    <a:pt x="29" y="184"/>
                    <a:pt x="30" y="186"/>
                    <a:pt x="32" y="186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40" y="186"/>
                    <a:pt x="41" y="184"/>
                    <a:pt x="41" y="183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3"/>
                    <a:pt x="40" y="22"/>
                    <a:pt x="39" y="22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3" y="22"/>
                    <a:pt x="22" y="20"/>
                    <a:pt x="22" y="19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1"/>
                    <a:pt x="21" y="0"/>
                    <a:pt x="20" y="0"/>
                  </a:cubicBezTo>
                  <a:cubicBezTo>
                    <a:pt x="20" y="0"/>
                    <a:pt x="19" y="1"/>
                    <a:pt x="19" y="2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20"/>
                    <a:pt x="18" y="22"/>
                    <a:pt x="16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1" y="22"/>
                    <a:pt x="0" y="23"/>
                    <a:pt x="0" y="25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0" y="184"/>
                    <a:pt x="1" y="186"/>
                    <a:pt x="2" y="186"/>
                  </a:cubicBezTo>
                  <a:cubicBezTo>
                    <a:pt x="9" y="186"/>
                    <a:pt x="9" y="186"/>
                    <a:pt x="9" y="186"/>
                  </a:cubicBezTo>
                  <a:cubicBezTo>
                    <a:pt x="11" y="186"/>
                    <a:pt x="12" y="184"/>
                    <a:pt x="12" y="183"/>
                  </a:cubicBezTo>
                  <a:lnTo>
                    <a:pt x="12" y="173"/>
                  </a:lnTo>
                  <a:close/>
                  <a:moveTo>
                    <a:pt x="12" y="37"/>
                  </a:moveTo>
                  <a:cubicBezTo>
                    <a:pt x="12" y="35"/>
                    <a:pt x="13" y="34"/>
                    <a:pt x="15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8" y="34"/>
                    <a:pt x="29" y="35"/>
                    <a:pt x="29" y="37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50"/>
                    <a:pt x="28" y="51"/>
                    <a:pt x="26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3" y="51"/>
                    <a:pt x="12" y="50"/>
                    <a:pt x="12" y="48"/>
                  </a:cubicBezTo>
                  <a:lnTo>
                    <a:pt x="12" y="37"/>
                  </a:lnTo>
                  <a:close/>
                  <a:moveTo>
                    <a:pt x="12" y="62"/>
                  </a:moveTo>
                  <a:cubicBezTo>
                    <a:pt x="12" y="60"/>
                    <a:pt x="13" y="59"/>
                    <a:pt x="15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8" y="59"/>
                    <a:pt x="29" y="60"/>
                    <a:pt x="29" y="62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5"/>
                    <a:pt x="28" y="76"/>
                    <a:pt x="26" y="76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3" y="76"/>
                    <a:pt x="12" y="75"/>
                    <a:pt x="12" y="73"/>
                  </a:cubicBezTo>
                  <a:lnTo>
                    <a:pt x="12" y="62"/>
                  </a:lnTo>
                  <a:close/>
                  <a:moveTo>
                    <a:pt x="12" y="87"/>
                  </a:moveTo>
                  <a:cubicBezTo>
                    <a:pt x="12" y="85"/>
                    <a:pt x="13" y="84"/>
                    <a:pt x="15" y="84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8" y="84"/>
                    <a:pt x="29" y="85"/>
                    <a:pt x="29" y="87"/>
                  </a:cubicBezTo>
                  <a:cubicBezTo>
                    <a:pt x="29" y="98"/>
                    <a:pt x="29" y="98"/>
                    <a:pt x="29" y="98"/>
                  </a:cubicBezTo>
                  <a:cubicBezTo>
                    <a:pt x="29" y="99"/>
                    <a:pt x="28" y="101"/>
                    <a:pt x="26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3" y="101"/>
                    <a:pt x="12" y="99"/>
                    <a:pt x="12" y="98"/>
                  </a:cubicBezTo>
                  <a:lnTo>
                    <a:pt x="12" y="87"/>
                  </a:lnTo>
                  <a:close/>
                  <a:moveTo>
                    <a:pt x="12" y="111"/>
                  </a:moveTo>
                  <a:cubicBezTo>
                    <a:pt x="12" y="110"/>
                    <a:pt x="13" y="108"/>
                    <a:pt x="15" y="108"/>
                  </a:cubicBezTo>
                  <a:cubicBezTo>
                    <a:pt x="26" y="108"/>
                    <a:pt x="26" y="108"/>
                    <a:pt x="26" y="108"/>
                  </a:cubicBezTo>
                  <a:cubicBezTo>
                    <a:pt x="28" y="108"/>
                    <a:pt x="29" y="110"/>
                    <a:pt x="29" y="111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4"/>
                    <a:pt x="28" y="126"/>
                    <a:pt x="26" y="126"/>
                  </a:cubicBezTo>
                  <a:cubicBezTo>
                    <a:pt x="15" y="126"/>
                    <a:pt x="15" y="126"/>
                    <a:pt x="15" y="126"/>
                  </a:cubicBezTo>
                  <a:cubicBezTo>
                    <a:pt x="13" y="126"/>
                    <a:pt x="12" y="124"/>
                    <a:pt x="12" y="123"/>
                  </a:cubicBezTo>
                  <a:lnTo>
                    <a:pt x="12" y="111"/>
                  </a:lnTo>
                  <a:close/>
                  <a:moveTo>
                    <a:pt x="12" y="136"/>
                  </a:moveTo>
                  <a:cubicBezTo>
                    <a:pt x="12" y="134"/>
                    <a:pt x="13" y="133"/>
                    <a:pt x="15" y="133"/>
                  </a:cubicBezTo>
                  <a:cubicBezTo>
                    <a:pt x="26" y="133"/>
                    <a:pt x="26" y="133"/>
                    <a:pt x="26" y="133"/>
                  </a:cubicBezTo>
                  <a:cubicBezTo>
                    <a:pt x="28" y="133"/>
                    <a:pt x="29" y="134"/>
                    <a:pt x="29" y="136"/>
                  </a:cubicBezTo>
                  <a:cubicBezTo>
                    <a:pt x="29" y="147"/>
                    <a:pt x="29" y="147"/>
                    <a:pt x="29" y="147"/>
                  </a:cubicBezTo>
                  <a:cubicBezTo>
                    <a:pt x="29" y="149"/>
                    <a:pt x="28" y="150"/>
                    <a:pt x="26" y="150"/>
                  </a:cubicBezTo>
                  <a:cubicBezTo>
                    <a:pt x="15" y="150"/>
                    <a:pt x="15" y="150"/>
                    <a:pt x="15" y="150"/>
                  </a:cubicBezTo>
                  <a:cubicBezTo>
                    <a:pt x="13" y="150"/>
                    <a:pt x="12" y="149"/>
                    <a:pt x="12" y="147"/>
                  </a:cubicBezTo>
                  <a:lnTo>
                    <a:pt x="12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38" tIns="45719" rIns="91438" bIns="45719" numCol="1" anchor="t" anchorCtr="0" compatLnSpc="1">
              <a:prstTxWarp prst="textNoShape">
                <a:avLst/>
              </a:prstTxWarp>
            </a:bodyPr>
            <a:lstStyle/>
            <a:p>
              <a:pPr defTabSz="914316">
                <a:defRPr/>
              </a:pPr>
              <a:endParaRPr lang="de-DE" sz="1942" kern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22" name="Freeform 214">
              <a:extLst>
                <a:ext uri="{FF2B5EF4-FFF2-40B4-BE49-F238E27FC236}">
                  <a16:creationId xmlns:a16="http://schemas.microsoft.com/office/drawing/2014/main" id="{FD06B7B8-577C-46EB-AE98-7AAB323FCA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5068" y="1082029"/>
              <a:ext cx="127000" cy="460375"/>
            </a:xfrm>
            <a:custGeom>
              <a:avLst/>
              <a:gdLst>
                <a:gd name="T0" fmla="*/ 16 w 42"/>
                <a:gd name="T1" fmla="*/ 136 h 152"/>
                <a:gd name="T2" fmla="*/ 30 w 42"/>
                <a:gd name="T3" fmla="*/ 139 h 152"/>
                <a:gd name="T4" fmla="*/ 33 w 42"/>
                <a:gd name="T5" fmla="*/ 152 h 152"/>
                <a:gd name="T6" fmla="*/ 42 w 42"/>
                <a:gd name="T7" fmla="*/ 149 h 152"/>
                <a:gd name="T8" fmla="*/ 39 w 42"/>
                <a:gd name="T9" fmla="*/ 17 h 152"/>
                <a:gd name="T10" fmla="*/ 22 w 42"/>
                <a:gd name="T11" fmla="*/ 14 h 152"/>
                <a:gd name="T12" fmla="*/ 21 w 42"/>
                <a:gd name="T13" fmla="*/ 0 h 152"/>
                <a:gd name="T14" fmla="*/ 20 w 42"/>
                <a:gd name="T15" fmla="*/ 14 h 152"/>
                <a:gd name="T16" fmla="*/ 3 w 42"/>
                <a:gd name="T17" fmla="*/ 17 h 152"/>
                <a:gd name="T18" fmla="*/ 0 w 42"/>
                <a:gd name="T19" fmla="*/ 149 h 152"/>
                <a:gd name="T20" fmla="*/ 10 w 42"/>
                <a:gd name="T21" fmla="*/ 152 h 152"/>
                <a:gd name="T22" fmla="*/ 13 w 42"/>
                <a:gd name="T23" fmla="*/ 139 h 152"/>
                <a:gd name="T24" fmla="*/ 16 w 42"/>
                <a:gd name="T25" fmla="*/ 25 h 152"/>
                <a:gd name="T26" fmla="*/ 20 w 42"/>
                <a:gd name="T27" fmla="*/ 26 h 152"/>
                <a:gd name="T28" fmla="*/ 22 w 42"/>
                <a:gd name="T29" fmla="*/ 26 h 152"/>
                <a:gd name="T30" fmla="*/ 27 w 42"/>
                <a:gd name="T31" fmla="*/ 25 h 152"/>
                <a:gd name="T32" fmla="*/ 30 w 42"/>
                <a:gd name="T33" fmla="*/ 39 h 152"/>
                <a:gd name="T34" fmla="*/ 16 w 42"/>
                <a:gd name="T35" fmla="*/ 42 h 152"/>
                <a:gd name="T36" fmla="*/ 13 w 42"/>
                <a:gd name="T37" fmla="*/ 28 h 152"/>
                <a:gd name="T38" fmla="*/ 16 w 42"/>
                <a:gd name="T39" fmla="*/ 50 h 152"/>
                <a:gd name="T40" fmla="*/ 30 w 42"/>
                <a:gd name="T41" fmla="*/ 53 h 152"/>
                <a:gd name="T42" fmla="*/ 27 w 42"/>
                <a:gd name="T43" fmla="*/ 67 h 152"/>
                <a:gd name="T44" fmla="*/ 13 w 42"/>
                <a:gd name="T45" fmla="*/ 64 h 152"/>
                <a:gd name="T46" fmla="*/ 13 w 42"/>
                <a:gd name="T47" fmla="*/ 77 h 152"/>
                <a:gd name="T48" fmla="*/ 27 w 42"/>
                <a:gd name="T49" fmla="*/ 74 h 152"/>
                <a:gd name="T50" fmla="*/ 30 w 42"/>
                <a:gd name="T51" fmla="*/ 89 h 152"/>
                <a:gd name="T52" fmla="*/ 16 w 42"/>
                <a:gd name="T53" fmla="*/ 92 h 152"/>
                <a:gd name="T54" fmla="*/ 13 w 42"/>
                <a:gd name="T55" fmla="*/ 77 h 152"/>
                <a:gd name="T56" fmla="*/ 16 w 42"/>
                <a:gd name="T57" fmla="*/ 99 h 152"/>
                <a:gd name="T58" fmla="*/ 30 w 42"/>
                <a:gd name="T59" fmla="*/ 102 h 152"/>
                <a:gd name="T60" fmla="*/ 27 w 42"/>
                <a:gd name="T61" fmla="*/ 116 h 152"/>
                <a:gd name="T62" fmla="*/ 13 w 42"/>
                <a:gd name="T63" fmla="*/ 113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2" h="152">
                  <a:moveTo>
                    <a:pt x="13" y="139"/>
                  </a:moveTo>
                  <a:cubicBezTo>
                    <a:pt x="13" y="138"/>
                    <a:pt x="14" y="136"/>
                    <a:pt x="16" y="136"/>
                  </a:cubicBezTo>
                  <a:cubicBezTo>
                    <a:pt x="27" y="136"/>
                    <a:pt x="27" y="136"/>
                    <a:pt x="27" y="136"/>
                  </a:cubicBezTo>
                  <a:cubicBezTo>
                    <a:pt x="28" y="136"/>
                    <a:pt x="30" y="138"/>
                    <a:pt x="30" y="139"/>
                  </a:cubicBezTo>
                  <a:cubicBezTo>
                    <a:pt x="30" y="149"/>
                    <a:pt x="30" y="149"/>
                    <a:pt x="30" y="149"/>
                  </a:cubicBezTo>
                  <a:cubicBezTo>
                    <a:pt x="30" y="150"/>
                    <a:pt x="31" y="152"/>
                    <a:pt x="33" y="152"/>
                  </a:cubicBezTo>
                  <a:cubicBezTo>
                    <a:pt x="39" y="152"/>
                    <a:pt x="39" y="152"/>
                    <a:pt x="39" y="152"/>
                  </a:cubicBezTo>
                  <a:cubicBezTo>
                    <a:pt x="41" y="152"/>
                    <a:pt x="42" y="150"/>
                    <a:pt x="42" y="149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2" y="19"/>
                    <a:pt x="41" y="17"/>
                    <a:pt x="39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7"/>
                    <a:pt x="22" y="16"/>
                    <a:pt x="22" y="14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1"/>
                    <a:pt x="22" y="0"/>
                    <a:pt x="21" y="0"/>
                  </a:cubicBezTo>
                  <a:cubicBezTo>
                    <a:pt x="21" y="0"/>
                    <a:pt x="20" y="1"/>
                    <a:pt x="20" y="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6"/>
                    <a:pt x="19" y="17"/>
                    <a:pt x="17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2" y="17"/>
                    <a:pt x="0" y="19"/>
                    <a:pt x="0" y="20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50"/>
                    <a:pt x="2" y="152"/>
                    <a:pt x="3" y="152"/>
                  </a:cubicBezTo>
                  <a:cubicBezTo>
                    <a:pt x="10" y="152"/>
                    <a:pt x="10" y="152"/>
                    <a:pt x="10" y="152"/>
                  </a:cubicBezTo>
                  <a:cubicBezTo>
                    <a:pt x="11" y="152"/>
                    <a:pt x="13" y="150"/>
                    <a:pt x="13" y="149"/>
                  </a:cubicBezTo>
                  <a:lnTo>
                    <a:pt x="13" y="139"/>
                  </a:lnTo>
                  <a:close/>
                  <a:moveTo>
                    <a:pt x="13" y="28"/>
                  </a:moveTo>
                  <a:cubicBezTo>
                    <a:pt x="13" y="26"/>
                    <a:pt x="14" y="25"/>
                    <a:pt x="16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9" y="25"/>
                    <a:pt x="20" y="26"/>
                    <a:pt x="20" y="26"/>
                  </a:cubicBezTo>
                  <a:cubicBezTo>
                    <a:pt x="20" y="27"/>
                    <a:pt x="21" y="28"/>
                    <a:pt x="21" y="28"/>
                  </a:cubicBezTo>
                  <a:cubicBezTo>
                    <a:pt x="22" y="28"/>
                    <a:pt x="22" y="27"/>
                    <a:pt x="22" y="26"/>
                  </a:cubicBezTo>
                  <a:cubicBezTo>
                    <a:pt x="22" y="26"/>
                    <a:pt x="24" y="25"/>
                    <a:pt x="25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8" y="25"/>
                    <a:pt x="30" y="26"/>
                    <a:pt x="30" y="2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1"/>
                    <a:pt x="28" y="42"/>
                    <a:pt x="27" y="42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4" y="42"/>
                    <a:pt x="13" y="41"/>
                    <a:pt x="13" y="39"/>
                  </a:cubicBezTo>
                  <a:lnTo>
                    <a:pt x="13" y="28"/>
                  </a:lnTo>
                  <a:close/>
                  <a:moveTo>
                    <a:pt x="13" y="53"/>
                  </a:moveTo>
                  <a:cubicBezTo>
                    <a:pt x="13" y="51"/>
                    <a:pt x="14" y="50"/>
                    <a:pt x="16" y="50"/>
                  </a:cubicBezTo>
                  <a:cubicBezTo>
                    <a:pt x="27" y="50"/>
                    <a:pt x="27" y="50"/>
                    <a:pt x="27" y="50"/>
                  </a:cubicBezTo>
                  <a:cubicBezTo>
                    <a:pt x="28" y="50"/>
                    <a:pt x="30" y="51"/>
                    <a:pt x="30" y="53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5"/>
                    <a:pt x="28" y="67"/>
                    <a:pt x="27" y="67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4" y="67"/>
                    <a:pt x="13" y="65"/>
                    <a:pt x="13" y="64"/>
                  </a:cubicBezTo>
                  <a:lnTo>
                    <a:pt x="13" y="53"/>
                  </a:lnTo>
                  <a:close/>
                  <a:moveTo>
                    <a:pt x="13" y="77"/>
                  </a:moveTo>
                  <a:cubicBezTo>
                    <a:pt x="13" y="76"/>
                    <a:pt x="14" y="74"/>
                    <a:pt x="16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8" y="74"/>
                    <a:pt x="30" y="76"/>
                    <a:pt x="30" y="77"/>
                  </a:cubicBezTo>
                  <a:cubicBezTo>
                    <a:pt x="30" y="89"/>
                    <a:pt x="30" y="89"/>
                    <a:pt x="30" y="89"/>
                  </a:cubicBezTo>
                  <a:cubicBezTo>
                    <a:pt x="30" y="90"/>
                    <a:pt x="28" y="92"/>
                    <a:pt x="27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4" y="92"/>
                    <a:pt x="13" y="90"/>
                    <a:pt x="13" y="89"/>
                  </a:cubicBezTo>
                  <a:lnTo>
                    <a:pt x="13" y="77"/>
                  </a:lnTo>
                  <a:close/>
                  <a:moveTo>
                    <a:pt x="13" y="102"/>
                  </a:moveTo>
                  <a:cubicBezTo>
                    <a:pt x="13" y="100"/>
                    <a:pt x="14" y="99"/>
                    <a:pt x="16" y="99"/>
                  </a:cubicBezTo>
                  <a:cubicBezTo>
                    <a:pt x="27" y="99"/>
                    <a:pt x="27" y="99"/>
                    <a:pt x="27" y="99"/>
                  </a:cubicBezTo>
                  <a:cubicBezTo>
                    <a:pt x="28" y="99"/>
                    <a:pt x="30" y="100"/>
                    <a:pt x="30" y="102"/>
                  </a:cubicBezTo>
                  <a:cubicBezTo>
                    <a:pt x="30" y="113"/>
                    <a:pt x="30" y="113"/>
                    <a:pt x="30" y="113"/>
                  </a:cubicBezTo>
                  <a:cubicBezTo>
                    <a:pt x="30" y="115"/>
                    <a:pt x="28" y="116"/>
                    <a:pt x="27" y="116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4" y="116"/>
                    <a:pt x="13" y="115"/>
                    <a:pt x="13" y="113"/>
                  </a:cubicBezTo>
                  <a:lnTo>
                    <a:pt x="13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38" tIns="45719" rIns="91438" bIns="45719" numCol="1" anchor="t" anchorCtr="0" compatLnSpc="1">
              <a:prstTxWarp prst="textNoShape">
                <a:avLst/>
              </a:prstTxWarp>
            </a:bodyPr>
            <a:lstStyle/>
            <a:p>
              <a:pPr defTabSz="914316">
                <a:defRPr/>
              </a:pPr>
              <a:endParaRPr lang="de-DE" sz="1942" kern="0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sp>
        <p:nvSpPr>
          <p:cNvPr id="123" name="TextBox 122">
            <a:extLst>
              <a:ext uri="{FF2B5EF4-FFF2-40B4-BE49-F238E27FC236}">
                <a16:creationId xmlns:a16="http://schemas.microsoft.com/office/drawing/2014/main" id="{1B8A34A0-EBA6-45AE-B321-3D5E18AEDFA2}"/>
              </a:ext>
            </a:extLst>
          </p:cNvPr>
          <p:cNvSpPr txBox="1"/>
          <p:nvPr/>
        </p:nvSpPr>
        <p:spPr>
          <a:xfrm>
            <a:off x="890721" y="1853787"/>
            <a:ext cx="1346523" cy="16158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algn="ctr" defTabSz="913990">
              <a:buClr>
                <a:srgbClr val="000000"/>
              </a:buClr>
              <a:defRPr/>
            </a:pPr>
            <a:r>
              <a:rPr lang="en-US" sz="1050" b="1" kern="0" dirty="0">
                <a:solidFill>
                  <a:srgbClr val="000000"/>
                </a:solidFill>
                <a:latin typeface="Arial"/>
              </a:rPr>
              <a:t>BUSINESS GROUPS </a:t>
            </a:r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1EDE83E9-5C5B-404D-9C93-0BFF4ECC72B0}"/>
              </a:ext>
            </a:extLst>
          </p:cNvPr>
          <p:cNvGrpSpPr/>
          <p:nvPr/>
        </p:nvGrpSpPr>
        <p:grpSpPr>
          <a:xfrm>
            <a:off x="349625" y="2128274"/>
            <a:ext cx="2428714" cy="1870143"/>
            <a:chOff x="-2414234" y="2689601"/>
            <a:chExt cx="1993594" cy="1308207"/>
          </a:xfrm>
        </p:grpSpPr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CE8FE97C-68B6-4177-AA6E-3CE5218062DC}"/>
                </a:ext>
              </a:extLst>
            </p:cNvPr>
            <p:cNvSpPr/>
            <p:nvPr/>
          </p:nvSpPr>
          <p:spPr>
            <a:xfrm>
              <a:off x="-2414234" y="3659563"/>
              <a:ext cx="1993593" cy="338245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16">
                <a:defRPr/>
              </a:pPr>
              <a:r>
                <a:rPr lang="en-CA" sz="1050" b="1" kern="0" dirty="0">
                  <a:solidFill>
                    <a:srgbClr val="FFFFFF"/>
                  </a:solidFill>
                  <a:latin typeface="Arial"/>
                </a:rPr>
                <a:t>Enbridge ELT</a:t>
              </a: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6FE1B37D-1286-4377-87B1-329424325220}"/>
                </a:ext>
              </a:extLst>
            </p:cNvPr>
            <p:cNvSpPr/>
            <p:nvPr/>
          </p:nvSpPr>
          <p:spPr>
            <a:xfrm>
              <a:off x="-2414234" y="2689601"/>
              <a:ext cx="1138864" cy="909209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16">
                <a:defRPr/>
              </a:pPr>
              <a:r>
                <a:rPr lang="en-CA" sz="1050" b="1" kern="0" dirty="0">
                  <a:solidFill>
                    <a:srgbClr val="FFFFFF"/>
                  </a:solidFill>
                  <a:latin typeface="Arial"/>
                </a:rPr>
                <a:t>Business Heads</a:t>
              </a: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EB31AA55-27FC-486B-96E8-690B7C2B2D90}"/>
                </a:ext>
              </a:extLst>
            </p:cNvPr>
            <p:cNvSpPr/>
            <p:nvPr/>
          </p:nvSpPr>
          <p:spPr>
            <a:xfrm>
              <a:off x="-1240371" y="3213992"/>
              <a:ext cx="819731" cy="384820"/>
            </a:xfrm>
            <a:prstGeom prst="rect">
              <a:avLst/>
            </a:prstGeom>
            <a:solidFill>
              <a:srgbClr val="3CDCC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16">
                <a:defRPr/>
              </a:pPr>
              <a:r>
                <a:rPr lang="en-CA" sz="1050" b="1" kern="0" dirty="0">
                  <a:solidFill>
                    <a:srgbClr val="000000"/>
                  </a:solidFill>
                  <a:latin typeface="Arial"/>
                </a:rPr>
                <a:t>Lab Executive Team</a:t>
              </a:r>
            </a:p>
          </p:txBody>
        </p:sp>
      </p:grpSp>
      <p:sp>
        <p:nvSpPr>
          <p:cNvPr id="129" name="Rectangle 128">
            <a:extLst>
              <a:ext uri="{FF2B5EF4-FFF2-40B4-BE49-F238E27FC236}">
                <a16:creationId xmlns:a16="http://schemas.microsoft.com/office/drawing/2014/main" id="{A0748A34-9DB4-46A5-A02B-50E423B2AACF}"/>
              </a:ext>
            </a:extLst>
          </p:cNvPr>
          <p:cNvSpPr>
            <a:spLocks/>
          </p:cNvSpPr>
          <p:nvPr/>
        </p:nvSpPr>
        <p:spPr>
          <a:xfrm>
            <a:off x="266414" y="4320185"/>
            <a:ext cx="2595135" cy="2394518"/>
          </a:xfrm>
          <a:prstGeom prst="rect">
            <a:avLst/>
          </a:prstGeom>
          <a:solidFill>
            <a:srgbClr val="FFB81E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16">
              <a:defRPr/>
            </a:pPr>
            <a:endParaRPr lang="en-US" sz="16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772FF8C2-D7E3-4821-A8B0-67E847C26747}"/>
              </a:ext>
            </a:extLst>
          </p:cNvPr>
          <p:cNvSpPr txBox="1"/>
          <p:nvPr/>
        </p:nvSpPr>
        <p:spPr>
          <a:xfrm>
            <a:off x="700766" y="4432276"/>
            <a:ext cx="1726435" cy="16158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algn="ctr" defTabSz="913990">
              <a:buClr>
                <a:srgbClr val="000000"/>
              </a:buClr>
              <a:defRPr/>
            </a:pPr>
            <a:r>
              <a:rPr lang="en-US" sz="1050" b="1" kern="0" dirty="0">
                <a:solidFill>
                  <a:srgbClr val="000000"/>
                </a:solidFill>
                <a:latin typeface="Arial"/>
              </a:rPr>
              <a:t>INNOVATION ECOSYSTEM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E0D2526A-B0B7-4AA9-880F-18FD5C4225FA}"/>
              </a:ext>
            </a:extLst>
          </p:cNvPr>
          <p:cNvSpPr/>
          <p:nvPr/>
        </p:nvSpPr>
        <p:spPr>
          <a:xfrm rot="16200000">
            <a:off x="666826" y="5326151"/>
            <a:ext cx="451803" cy="355824"/>
          </a:xfrm>
          <a:prstGeom prst="rect">
            <a:avLst/>
          </a:prstGeom>
          <a:solidFill>
            <a:srgbClr val="555555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16">
              <a:defRPr/>
            </a:pPr>
            <a:r>
              <a:rPr lang="en-CA" sz="1050" b="1" kern="0" dirty="0">
                <a:solidFill>
                  <a:srgbClr val="FFFFFF"/>
                </a:solidFill>
                <a:latin typeface="Arial"/>
              </a:rPr>
              <a:t>CoE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009E6D1F-F554-4B66-91C2-1434B3C0B13F}"/>
              </a:ext>
            </a:extLst>
          </p:cNvPr>
          <p:cNvSpPr/>
          <p:nvPr/>
        </p:nvSpPr>
        <p:spPr>
          <a:xfrm>
            <a:off x="714813" y="5872356"/>
            <a:ext cx="2042545" cy="212411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16">
              <a:defRPr/>
            </a:pPr>
            <a:r>
              <a:rPr lang="en-CA" sz="1050" b="1" kern="0" dirty="0">
                <a:solidFill>
                  <a:srgbClr val="FFFFFF"/>
                </a:solidFill>
                <a:latin typeface="Arial"/>
              </a:rPr>
              <a:t>LP IRD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5D0CCECA-13CF-48EB-AA55-B7A79325760C}"/>
              </a:ext>
            </a:extLst>
          </p:cNvPr>
          <p:cNvSpPr/>
          <p:nvPr/>
        </p:nvSpPr>
        <p:spPr>
          <a:xfrm>
            <a:off x="714812" y="4751058"/>
            <a:ext cx="2042544" cy="451803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16">
              <a:defRPr/>
            </a:pPr>
            <a:r>
              <a:rPr lang="en-CA" sz="1050" b="1" kern="0" dirty="0">
                <a:solidFill>
                  <a:srgbClr val="FFFFFF"/>
                </a:solidFill>
                <a:latin typeface="Arial"/>
              </a:rPr>
              <a:t>TWG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0CE11A2B-28BD-44A6-BA3C-F4D929DE420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50993" y="5292429"/>
            <a:ext cx="1501867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marL="171434" indent="-171434" defTabSz="913990">
              <a:spcBef>
                <a:spcPct val="40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en-CA" sz="1050" kern="0" dirty="0" err="1">
                <a:solidFill>
                  <a:srgbClr val="000000"/>
                </a:solidFill>
                <a:latin typeface="Arial"/>
              </a:rPr>
              <a:t>AppDev</a:t>
            </a:r>
            <a:endParaRPr lang="en-CA" sz="1050" kern="0" dirty="0">
              <a:solidFill>
                <a:srgbClr val="000000"/>
              </a:solidFill>
              <a:latin typeface="Arial"/>
            </a:endParaRPr>
          </a:p>
          <a:p>
            <a:pPr marL="171434" indent="-171434" defTabSz="913990">
              <a:spcBef>
                <a:spcPct val="40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en-CA" sz="1050" kern="0" dirty="0">
                <a:solidFill>
                  <a:srgbClr val="000000"/>
                </a:solidFill>
                <a:latin typeface="Arial"/>
              </a:rPr>
              <a:t>Data &amp; Analytics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5B51B377-2CCE-4C3C-B307-8217E959BA34}"/>
              </a:ext>
            </a:extLst>
          </p:cNvPr>
          <p:cNvSpPr/>
          <p:nvPr/>
        </p:nvSpPr>
        <p:spPr>
          <a:xfrm rot="16200000">
            <a:off x="41635" y="5080032"/>
            <a:ext cx="943881" cy="285934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16">
              <a:defRPr/>
            </a:pPr>
            <a:r>
              <a:rPr lang="en-CA" sz="1050" b="1" kern="0" dirty="0">
                <a:solidFill>
                  <a:srgbClr val="FFFFFF"/>
                </a:solidFill>
                <a:latin typeface="Arial"/>
              </a:rPr>
              <a:t>TIS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28CB1D0E-9218-494D-BEF3-310C4B0F5858}"/>
              </a:ext>
            </a:extLst>
          </p:cNvPr>
          <p:cNvSpPr/>
          <p:nvPr/>
        </p:nvSpPr>
        <p:spPr>
          <a:xfrm rot="16200000">
            <a:off x="153300" y="6089665"/>
            <a:ext cx="737389" cy="302771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16">
              <a:defRPr/>
            </a:pPr>
            <a:r>
              <a:rPr lang="en-CA" sz="1050" b="1" kern="0" dirty="0">
                <a:solidFill>
                  <a:srgbClr val="FFFFFF"/>
                </a:solidFill>
                <a:latin typeface="Arial"/>
              </a:rPr>
              <a:t>BUs</a:t>
            </a:r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290DDB7B-E931-49D8-922B-CB6F3BB55822}"/>
              </a:ext>
            </a:extLst>
          </p:cNvPr>
          <p:cNvCxnSpPr>
            <a:cxnSpLocks/>
          </p:cNvCxnSpPr>
          <p:nvPr/>
        </p:nvCxnSpPr>
        <p:spPr>
          <a:xfrm>
            <a:off x="2572546" y="5266163"/>
            <a:ext cx="0" cy="510078"/>
          </a:xfrm>
          <a:prstGeom prst="line">
            <a:avLst/>
          </a:prstGeom>
          <a:noFill/>
          <a:ln w="25400" cap="flat" cmpd="sng" algn="ctr">
            <a:solidFill>
              <a:srgbClr val="017DBB"/>
            </a:solidFill>
            <a:prstDash val="solid"/>
          </a:ln>
          <a:effectLst/>
        </p:spPr>
      </p:cxnSp>
      <p:cxnSp>
        <p:nvCxnSpPr>
          <p:cNvPr id="138" name="Connector: Elbow 137">
            <a:extLst>
              <a:ext uri="{FF2B5EF4-FFF2-40B4-BE49-F238E27FC236}">
                <a16:creationId xmlns:a16="http://schemas.microsoft.com/office/drawing/2014/main" id="{33CC41B3-9899-478E-972E-70521887EB51}"/>
              </a:ext>
            </a:extLst>
          </p:cNvPr>
          <p:cNvCxnSpPr>
            <a:cxnSpLocks/>
            <a:stCxn id="84" idx="3"/>
          </p:cNvCxnSpPr>
          <p:nvPr/>
        </p:nvCxnSpPr>
        <p:spPr>
          <a:xfrm rot="5400000">
            <a:off x="3441811" y="3901369"/>
            <a:ext cx="766093" cy="2508618"/>
          </a:xfrm>
          <a:prstGeom prst="bentConnector2">
            <a:avLst/>
          </a:prstGeom>
          <a:noFill/>
          <a:ln w="19050" cap="flat" cmpd="sng" algn="ctr">
            <a:solidFill>
              <a:srgbClr val="017DBB"/>
            </a:solidFill>
            <a:prstDash val="solid"/>
            <a:headEnd type="triangle" w="lg" len="lg"/>
            <a:tailEnd type="none" w="lg" len="lg"/>
          </a:ln>
          <a:effectLst/>
        </p:spPr>
      </p:cxnSp>
      <p:sp>
        <p:nvSpPr>
          <p:cNvPr id="139" name="Rectangle 138">
            <a:extLst>
              <a:ext uri="{FF2B5EF4-FFF2-40B4-BE49-F238E27FC236}">
                <a16:creationId xmlns:a16="http://schemas.microsoft.com/office/drawing/2014/main" id="{FD2C9B08-6544-46CE-8E8E-EC88476A9572}"/>
              </a:ext>
            </a:extLst>
          </p:cNvPr>
          <p:cNvSpPr/>
          <p:nvPr/>
        </p:nvSpPr>
        <p:spPr>
          <a:xfrm>
            <a:off x="3163990" y="5429797"/>
            <a:ext cx="1670898" cy="200124"/>
          </a:xfrm>
          <a:prstGeom prst="rect">
            <a:avLst/>
          </a:prstGeom>
          <a:solidFill>
            <a:srgbClr val="FFFFFF"/>
          </a:solidFill>
          <a:ln w="19050" cap="flat" cmpd="sng" algn="ctr">
            <a:solidFill>
              <a:srgbClr val="017DBB"/>
            </a:solidFill>
            <a:prstDash val="solid"/>
            <a:headEnd type="triangle" w="lg" len="lg"/>
            <a:tailEnd type="triangle" w="lg" len="lg"/>
          </a:ln>
          <a:effectLst/>
        </p:spPr>
        <p:txBody>
          <a:bodyPr rtlCol="0" anchor="ctr"/>
          <a:lstStyle/>
          <a:p>
            <a:pPr algn="ctr" defTabSz="914316">
              <a:defRPr/>
            </a:pPr>
            <a:r>
              <a:rPr lang="en-CA" sz="1050" kern="0" dirty="0">
                <a:solidFill>
                  <a:srgbClr val="000000"/>
                </a:solidFill>
                <a:latin typeface="Arial"/>
              </a:rPr>
              <a:t>Consulting SME support</a:t>
            </a:r>
          </a:p>
        </p:txBody>
      </p:sp>
      <p:cxnSp>
        <p:nvCxnSpPr>
          <p:cNvPr id="140" name="Connector: Elbow 139">
            <a:extLst>
              <a:ext uri="{FF2B5EF4-FFF2-40B4-BE49-F238E27FC236}">
                <a16:creationId xmlns:a16="http://schemas.microsoft.com/office/drawing/2014/main" id="{6EFC1DF2-0473-4FAC-8D01-D8233E30C53B}"/>
              </a:ext>
            </a:extLst>
          </p:cNvPr>
          <p:cNvCxnSpPr>
            <a:cxnSpLocks/>
            <a:stCxn id="84" idx="2"/>
            <a:endCxn id="133" idx="3"/>
          </p:cNvCxnSpPr>
          <p:nvPr/>
        </p:nvCxnSpPr>
        <p:spPr>
          <a:xfrm rot="10800000" flipV="1">
            <a:off x="2757357" y="4147186"/>
            <a:ext cx="1949081" cy="829773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017DBB"/>
            </a:solidFill>
            <a:prstDash val="solid"/>
            <a:headEnd type="triangle" w="lg" len="lg"/>
            <a:tailEnd type="triangle" w="lg" len="lg"/>
          </a:ln>
          <a:effectLst/>
        </p:spPr>
      </p:cxnSp>
      <p:sp>
        <p:nvSpPr>
          <p:cNvPr id="141" name="Rectangle 140">
            <a:extLst>
              <a:ext uri="{FF2B5EF4-FFF2-40B4-BE49-F238E27FC236}">
                <a16:creationId xmlns:a16="http://schemas.microsoft.com/office/drawing/2014/main" id="{9909140E-E91B-41D3-A979-E7A6857DE8DB}"/>
              </a:ext>
            </a:extLst>
          </p:cNvPr>
          <p:cNvSpPr/>
          <p:nvPr/>
        </p:nvSpPr>
        <p:spPr>
          <a:xfrm>
            <a:off x="3437393" y="3949673"/>
            <a:ext cx="930793" cy="322303"/>
          </a:xfrm>
          <a:prstGeom prst="rect">
            <a:avLst/>
          </a:prstGeom>
          <a:solidFill>
            <a:srgbClr val="FFFFFF"/>
          </a:solidFill>
          <a:ln w="19050" cap="flat" cmpd="sng" algn="ctr">
            <a:solidFill>
              <a:srgbClr val="017DBB"/>
            </a:solidFill>
            <a:prstDash val="solid"/>
            <a:headEnd type="triangle" w="lg" len="lg"/>
            <a:tailEnd type="triangle" w="lg" len="lg"/>
          </a:ln>
          <a:effectLst/>
        </p:spPr>
        <p:txBody>
          <a:bodyPr rtlCol="0" anchor="ctr"/>
          <a:lstStyle/>
          <a:p>
            <a:pPr algn="ctr" defTabSz="914316">
              <a:defRPr/>
            </a:pPr>
            <a:r>
              <a:rPr lang="en-CA" sz="1050" kern="0" dirty="0">
                <a:solidFill>
                  <a:srgbClr val="000000"/>
                </a:solidFill>
                <a:latin typeface="Arial"/>
              </a:rPr>
              <a:t>Formal tech standards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7C3DF3FB-4139-44A5-9E05-E9FEA153C18E}"/>
              </a:ext>
            </a:extLst>
          </p:cNvPr>
          <p:cNvSpPr/>
          <p:nvPr/>
        </p:nvSpPr>
        <p:spPr>
          <a:xfrm>
            <a:off x="3163990" y="4805475"/>
            <a:ext cx="1269375" cy="322303"/>
          </a:xfrm>
          <a:prstGeom prst="rect">
            <a:avLst/>
          </a:prstGeom>
          <a:solidFill>
            <a:srgbClr val="FFFFFF"/>
          </a:solidFill>
          <a:ln w="19050" cap="flat" cmpd="sng" algn="ctr">
            <a:solidFill>
              <a:srgbClr val="017DBB"/>
            </a:solidFill>
            <a:prstDash val="solid"/>
            <a:headEnd type="triangle" w="lg" len="lg"/>
            <a:tailEnd type="triangle" w="lg" len="lg"/>
          </a:ln>
          <a:effectLst/>
        </p:spPr>
        <p:txBody>
          <a:bodyPr rtlCol="0" anchor="ctr"/>
          <a:lstStyle/>
          <a:p>
            <a:pPr algn="ctr" defTabSz="914316">
              <a:defRPr/>
            </a:pPr>
            <a:r>
              <a:rPr lang="en-CA" sz="1050" kern="0" dirty="0">
                <a:solidFill>
                  <a:srgbClr val="000000"/>
                </a:solidFill>
                <a:latin typeface="Arial"/>
              </a:rPr>
              <a:t>Standards recommendations</a:t>
            </a:r>
          </a:p>
        </p:txBody>
      </p:sp>
      <p:pic>
        <p:nvPicPr>
          <p:cNvPr id="143" name="Picture 142">
            <a:extLst>
              <a:ext uri="{FF2B5EF4-FFF2-40B4-BE49-F238E27FC236}">
                <a16:creationId xmlns:a16="http://schemas.microsoft.com/office/drawing/2014/main" id="{80E09621-BD39-4546-B970-F2FB8632938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0372" t="6185" r="11198" b="5241"/>
          <a:stretch/>
        </p:blipFill>
        <p:spPr>
          <a:xfrm>
            <a:off x="4944030" y="3667324"/>
            <a:ext cx="1939581" cy="875573"/>
          </a:xfrm>
          <a:prstGeom prst="rect">
            <a:avLst/>
          </a:prstGeom>
        </p:spPr>
      </p:pic>
      <p:sp>
        <p:nvSpPr>
          <p:cNvPr id="144" name="Rectangle 143">
            <a:extLst>
              <a:ext uri="{FF2B5EF4-FFF2-40B4-BE49-F238E27FC236}">
                <a16:creationId xmlns:a16="http://schemas.microsoft.com/office/drawing/2014/main" id="{5A48F1D5-25F8-4454-91C0-7043A20C8D6C}"/>
              </a:ext>
            </a:extLst>
          </p:cNvPr>
          <p:cNvSpPr/>
          <p:nvPr/>
        </p:nvSpPr>
        <p:spPr>
          <a:xfrm>
            <a:off x="705682" y="6136921"/>
            <a:ext cx="2042545" cy="212411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16">
              <a:defRPr/>
            </a:pPr>
            <a:r>
              <a:rPr lang="en-CA" sz="1050" b="1" kern="0" dirty="0">
                <a:solidFill>
                  <a:srgbClr val="FFFFFF"/>
                </a:solidFill>
                <a:latin typeface="Arial"/>
              </a:rPr>
              <a:t>GTM Innovation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FF089E37-3C69-4FEF-9B15-8C09E2B7A9CA}"/>
              </a:ext>
            </a:extLst>
          </p:cNvPr>
          <p:cNvSpPr/>
          <p:nvPr/>
        </p:nvSpPr>
        <p:spPr>
          <a:xfrm>
            <a:off x="1777626" y="2128274"/>
            <a:ext cx="1012805" cy="676066"/>
          </a:xfrm>
          <a:prstGeom prst="rect">
            <a:avLst/>
          </a:prstGeom>
          <a:solidFill>
            <a:srgbClr val="555555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16">
              <a:defRPr/>
            </a:pPr>
            <a:r>
              <a:rPr lang="en-CA" sz="1050" b="1" kern="0" dirty="0">
                <a:solidFill>
                  <a:srgbClr val="FFFFFF"/>
                </a:solidFill>
                <a:latin typeface="Arial"/>
              </a:rPr>
              <a:t>Technology</a:t>
            </a:r>
            <a:br>
              <a:rPr lang="en-CA" sz="1050" b="1" kern="0" dirty="0">
                <a:solidFill>
                  <a:srgbClr val="FFFFFF"/>
                </a:solidFill>
                <a:latin typeface="Arial"/>
              </a:rPr>
            </a:br>
            <a:r>
              <a:rPr lang="en-CA" sz="1050" b="1" kern="0" dirty="0">
                <a:solidFill>
                  <a:srgbClr val="FFFFFF"/>
                </a:solidFill>
                <a:latin typeface="Arial"/>
              </a:rPr>
              <a:t> Advisory Committee</a:t>
            </a:r>
          </a:p>
        </p:txBody>
      </p:sp>
      <p:sp>
        <p:nvSpPr>
          <p:cNvPr id="73" name="Arrow: Circular 72">
            <a:extLst>
              <a:ext uri="{FF2B5EF4-FFF2-40B4-BE49-F238E27FC236}">
                <a16:creationId xmlns:a16="http://schemas.microsoft.com/office/drawing/2014/main" id="{B5CDC017-502E-4A0E-BF54-7D30DBEDF057}"/>
              </a:ext>
            </a:extLst>
          </p:cNvPr>
          <p:cNvSpPr/>
          <p:nvPr/>
        </p:nvSpPr>
        <p:spPr>
          <a:xfrm>
            <a:off x="3247083" y="4387786"/>
            <a:ext cx="4922801" cy="4480907"/>
          </a:xfrm>
          <a:prstGeom prst="circularArrow">
            <a:avLst>
              <a:gd name="adj1" fmla="val 4758"/>
              <a:gd name="adj2" fmla="val 265737"/>
              <a:gd name="adj3" fmla="val 20493731"/>
              <a:gd name="adj4" fmla="val 18229227"/>
              <a:gd name="adj5" fmla="val 5536"/>
            </a:avLst>
          </a:prstGeom>
          <a:solidFill>
            <a:srgbClr val="017DB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2B324A34-6F3D-452D-BAD5-C76893190802}"/>
              </a:ext>
            </a:extLst>
          </p:cNvPr>
          <p:cNvSpPr/>
          <p:nvPr/>
        </p:nvSpPr>
        <p:spPr>
          <a:xfrm>
            <a:off x="6768522" y="5113126"/>
            <a:ext cx="1401362" cy="409013"/>
          </a:xfrm>
          <a:prstGeom prst="rect">
            <a:avLst/>
          </a:prstGeom>
          <a:solidFill>
            <a:srgbClr val="FFFFFF"/>
          </a:solidFill>
          <a:ln w="19050" cap="flat" cmpd="sng" algn="ctr">
            <a:solidFill>
              <a:srgbClr val="017DBB"/>
            </a:solidFill>
            <a:prstDash val="solid"/>
            <a:headEnd type="triangle" w="lg" len="lg"/>
            <a:tailEnd type="triangle" w="lg" len="lg"/>
          </a:ln>
          <a:effectLst/>
        </p:spPr>
        <p:txBody>
          <a:bodyPr rtlCol="0" anchor="ctr"/>
          <a:lstStyle/>
          <a:p>
            <a:pPr algn="ctr" defTabSz="914316">
              <a:defRPr/>
            </a:pPr>
            <a:r>
              <a:rPr lang="en-CA" sz="1050" kern="0" dirty="0">
                <a:solidFill>
                  <a:srgbClr val="000000"/>
                </a:solidFill>
                <a:latin typeface="Arial"/>
              </a:rPr>
              <a:t>High-impact, innovative products</a:t>
            </a:r>
          </a:p>
        </p:txBody>
      </p:sp>
      <p:sp>
        <p:nvSpPr>
          <p:cNvPr id="78" name="Title 1">
            <a:extLst>
              <a:ext uri="{FF2B5EF4-FFF2-40B4-BE49-F238E27FC236}">
                <a16:creationId xmlns:a16="http://schemas.microsoft.com/office/drawing/2014/main" id="{578480EA-2952-4969-A35C-FB9B872EA0F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95593" y="513352"/>
            <a:ext cx="9886427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tabLst/>
            </a:pPr>
            <a:r>
              <a:rPr lang="en-US" sz="2600" dirty="0"/>
              <a:t>The Lab is part of an already-existing Enbridge ecosystem and integrates with other enterprise groups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328C8CD-650D-4E8F-9C83-86A1E1614DAB}"/>
              </a:ext>
            </a:extLst>
          </p:cNvPr>
          <p:cNvSpPr/>
          <p:nvPr/>
        </p:nvSpPr>
        <p:spPr>
          <a:xfrm>
            <a:off x="708894" y="6401487"/>
            <a:ext cx="2042545" cy="212411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16">
              <a:defRPr/>
            </a:pPr>
            <a:r>
              <a:rPr lang="en-CA" sz="1050" b="1" kern="0" dirty="0">
                <a:solidFill>
                  <a:srgbClr val="FFFFFF"/>
                </a:solidFill>
                <a:latin typeface="Arial"/>
              </a:rPr>
              <a:t>EGI Innovation</a:t>
            </a:r>
          </a:p>
        </p:txBody>
      </p:sp>
    </p:spTree>
    <p:extLst>
      <p:ext uri="{BB962C8B-B14F-4D97-AF65-F5344CB8AC3E}">
        <p14:creationId xmlns:p14="http://schemas.microsoft.com/office/powerpoint/2010/main" val="17134757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62BA34A-BBC4-40C4-ACB5-52873EB92D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1674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044" name="think-cell Slide" r:id="rId5" imgW="631" imgH="631" progId="TCLayout.ActiveDocument.1">
                  <p:embed/>
                </p:oleObj>
              </mc:Choice>
              <mc:Fallback>
                <p:oleObj name="think-cell Slide" r:id="rId5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656BF2F-EB02-4343-99BE-B7AD546BEF6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0C8264-0DE5-4E8A-B2CD-FDC5B6AE4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ssary of Lab terms</a:t>
            </a:r>
          </a:p>
        </p:txBody>
      </p:sp>
    </p:spTree>
    <p:extLst>
      <p:ext uri="{BB962C8B-B14F-4D97-AF65-F5344CB8AC3E}">
        <p14:creationId xmlns:p14="http://schemas.microsoft.com/office/powerpoint/2010/main" val="12930149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564DA15-9137-4CF0-BFA1-974C0D4FE6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5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81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C17F224-4D2F-4CE5-9D52-DE994CAF2D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 Terms and Definitions (1/5)</a:t>
            </a:r>
          </a:p>
        </p:txBody>
      </p:sp>
      <p:graphicFrame>
        <p:nvGraphicFramePr>
          <p:cNvPr id="4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5077707"/>
              </p:ext>
            </p:extLst>
          </p:nvPr>
        </p:nvGraphicFramePr>
        <p:xfrm>
          <a:off x="419108" y="1501924"/>
          <a:ext cx="11366492" cy="50385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93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488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082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24730">
                <a:tc>
                  <a:txBody>
                    <a:bodyPr/>
                    <a:lstStyle/>
                    <a:p>
                      <a:endParaRPr lang="en-US" sz="1200" dirty="0">
                        <a:latin typeface="+mn-lt"/>
                      </a:endParaRPr>
                    </a:p>
                  </a:txBody>
                  <a:tcPr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+mn-lt"/>
                        </a:rPr>
                        <a:t>Te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+mn-lt"/>
                        </a:rPr>
                        <a:t>Description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marR="0" algn="l" defTabSz="1243941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ceptance criteri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quirements that have to be met so the feature can retain its business value in the market and for the story to be considered complete; also known as “conditions of satisfaction”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marR="0" algn="l" defTabSz="1243941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ceptance testing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alidation activity conducted by the product owner to determine whether what has been built satisfies the acceptance criteria; typically included in the definition of done for the tea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marR="0" lvl="0" indent="0" algn="l" defTabSz="1243941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gile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t of methods and practices where solutions evolve through collaboration between self-organizing, cross-functional teams; initially developed as an approach to software delivery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marR="0" lvl="0" indent="0" algn="l" defTabSz="1243941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gile tool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olset to facilitate Agile practices, drive discipline, and create Agile habits across the areas of continuous delivery, rapid prototyping, and project &amp; backlog managemen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marR="0" lvl="0" indent="0" algn="l" defTabSz="1243941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acklog grooming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ime and process for the team to look ahead and synchronize on the backlog (e.g., review stories, estimate, update / refine acceptance criteria, pre-plan for the next sprint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4730">
                <a:tc>
                  <a:txBody>
                    <a:bodyPr/>
                    <a:lstStyle/>
                    <a:p>
                      <a:pPr marL="0" marR="0" lvl="0" indent="0" algn="l" defTabSz="1243941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urn-down char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isual tool for measuring and displaying progress; a line chart representing remaining work over tim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marR="0" lvl="0" indent="0" algn="l" defTabSz="1243941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urn-up char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formational chart showing functionality completed over time, with progress trending up as stories are completed and value is accumulated; valuable to track at a release level; does not show work-in-progres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marR="0" lvl="0" indent="0" algn="l" defTabSz="1243941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pacity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asure of how much work can be completed with a given sprint by estimating the number of available, productive working hours for each team member; takes into account meetings, vacations, training etc. and is leveraged during sprint planning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23639">
                <a:tc>
                  <a:txBody>
                    <a:bodyPr/>
                    <a:lstStyle/>
                    <a:p>
                      <a:pPr marL="0" marR="0" lvl="0" indent="0" algn="l" defTabSz="1243941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inuous integration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3941" rtl="0" eaLnBrk="1" fontAlgn="b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 engineering practice used in software development to automate the build process and improve the process of software delivery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32998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92829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6&quot;&gt;&lt;elem m_fUsage=&quot;1.86339690000000013370E+00&quot;&gt;&lt;m_msothmcolidx val=&quot;0&quot;/&gt;&lt;m_rgb r=&quot;66&quot; g=&quot;66&quot; b=&quot;66&quot;/&gt;&lt;m_nBrightness val=&quot;0&quot;/&gt;&lt;/elem&gt;&lt;elem m_fUsage=&quot;1.00000000000000000000E+00&quot;&gt;&lt;m_msothmcolidx val=&quot;0&quot;/&gt;&lt;m_rgb r=&quot;83&quot; g=&quot;8F&quot; b=&quot;B4&quot;/&gt;&lt;m_nBrightness val=&quot;0&quot;/&gt;&lt;/elem&gt;&lt;elem m_fUsage=&quot;9.00000000000000022204E-01&quot;&gt;&lt;m_msothmcolidx val=&quot;0&quot;/&gt;&lt;m_rgb r=&quot;1A&quot; g=&quot;B1&quot; b=&quot;E4&quot;/&gt;&lt;m_nBrightness val=&quot;0&quot;/&gt;&lt;/elem&gt;&lt;elem m_fUsage=&quot;8.10000000000000053291E-01&quot;&gt;&lt;m_msothmcolidx val=&quot;0&quot;/&gt;&lt;m_rgb r=&quot;F2&quot; g=&quot;7F&quot; b=&quot;00&quot;/&gt;&lt;m_nBrightness val=&quot;0&quot;/&gt;&lt;/elem&gt;&lt;elem m_fUsage=&quot;5.90490000000000181402E-01&quot;&gt;&lt;m_msothmcolidx val=&quot;0&quot;/&gt;&lt;m_rgb r=&quot;CD&quot; g=&quot;20&quot; b=&quot;2C&quot;/&gt;&lt;m_nBrightness val=&quot;0&quot;/&gt;&lt;/elem&gt;&lt;elem m_fUsage=&quot;5.31441000000000163261E-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Accent1ColorBoldText"/>
  <p:tag name="PREVIOUSNAME" val="C:\Users\Andrew Just\Box Sync\Enbridge Tech + Innovation Labs\1. Design of Tech + Innovation Labs\2. Digital Hub design playbook\20190201 Digital Hub design playbook - v39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skRTHHR7umpCzBVbFTE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KGJ5UESWibKHdWPbMpL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LaTvhpReWL0UvH1O0.L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dNgfA2SQiXlXKuJygpe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sdrrr.SLaIi_zeO8QGg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bAtMAvRKefruz5Cz_99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.2"/>
  <p:tag name="2LEVEL" val="0.6"/>
  <p:tag name="3LEVEL" val="0.3"/>
  <p:tag name="4LEVEL" val="0.15"/>
  <p:tag name="5LEVEL" val="0.08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.2"/>
  <p:tag name="2LEVEL" val="0.6"/>
  <p:tag name="3LEVEL" val="0.3"/>
  <p:tag name="4LEVEL" val="0.15"/>
  <p:tag name="5LEVEL" val="0.08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M_zqjTRvCLZVJPv0SDJ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TTso2BSCqrau_xXzhh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qTTKaZT..ktd41YajU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"/>
  <p:tag name="2LEVEL" val="0.2"/>
  <p:tag name="3LEVEL" val="0.1"/>
  <p:tag name="4LEVEL" val="0.05"/>
  <p:tag name="5LEVEL" val="0.03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AHka8mK4IrVPuD4WmpC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I14x9CQymJOztjddwIy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3MoaDcRfClgba55P2tV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_vgNQQRoub3sAYJEj4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4BGdSCRjCJKYo.O9uRX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CI_fImQNGLyVHSyTst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heme/theme1.xml><?xml version="1.0" encoding="utf-8"?>
<a:theme xmlns:a="http://schemas.openxmlformats.org/drawingml/2006/main" name="NGQ004_CF">
  <a:themeElements>
    <a:clrScheme name="Custom">
      <a:dk1>
        <a:srgbClr val="000000"/>
      </a:dk1>
      <a:lt1>
        <a:srgbClr val="FFFFFF"/>
      </a:lt1>
      <a:dk2>
        <a:srgbClr val="000000"/>
      </a:dk2>
      <a:lt2>
        <a:srgbClr val="D0D0D0"/>
      </a:lt2>
      <a:accent1>
        <a:srgbClr val="FFB81E"/>
      </a:accent1>
      <a:accent2>
        <a:srgbClr val="555555"/>
      </a:accent2>
      <a:accent3>
        <a:srgbClr val="95999C"/>
      </a:accent3>
      <a:accent4>
        <a:srgbClr val="017DBB"/>
      </a:accent4>
      <a:accent5>
        <a:srgbClr val="3CDCC0"/>
      </a:accent5>
      <a:accent6>
        <a:srgbClr val="64CE36"/>
      </a:accent6>
      <a:hlink>
        <a:srgbClr val="95999C"/>
      </a:hlink>
      <a:folHlink>
        <a:srgbClr val="017DBB"/>
      </a:folHlink>
    </a:clrScheme>
    <a:fontScheme name="Custom 14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b="1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7F7F7F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D0D0D0"/>
        </a:lt2>
        <a:accent1>
          <a:srgbClr val="FFB81E"/>
        </a:accent1>
        <a:accent2>
          <a:srgbClr val="555555"/>
        </a:accent2>
        <a:accent3>
          <a:srgbClr val="95999C"/>
        </a:accent3>
        <a:accent4>
          <a:srgbClr val="017DBB"/>
        </a:accent4>
        <a:accent5>
          <a:srgbClr val="3CDCC0"/>
        </a:accent5>
        <a:accent6>
          <a:srgbClr val="64CE36"/>
        </a:accent6>
        <a:hlink>
          <a:srgbClr val="95999C"/>
        </a:hlink>
        <a:folHlink>
          <a:srgbClr val="017D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GQ004_CF.potx" id="{411D41B8-F39A-4615-9B12-AD583E85102F}" vid="{00DC91BC-1071-47DA-BF01-9DC5CD7FA05F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haredContentType xmlns="Microsoft.SharePoint.Taxonomy.ContentTypeSync" SourceId="14ab40f3-767a-43a9-8b62-265d64c54f3b" ContentTypeId="0x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B3ACD8B69292544BEB327398DD573AD" ma:contentTypeVersion="0" ma:contentTypeDescription="Create a new document." ma:contentTypeScope="" ma:versionID="4e5cb3191656c31de60a1ab25caca8a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0f5960cb5d5bc59f81cb04112adb32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1F25E70-E981-47BF-8F9F-A34A8ABF4341}"/>
</file>

<file path=customXml/itemProps2.xml><?xml version="1.0" encoding="utf-8"?>
<ds:datastoreItem xmlns:ds="http://schemas.openxmlformats.org/officeDocument/2006/customXml" ds:itemID="{36FE6078-580E-485D-AD6C-6BDFE4F305A5}"/>
</file>

<file path=customXml/itemProps3.xml><?xml version="1.0" encoding="utf-8"?>
<ds:datastoreItem xmlns:ds="http://schemas.openxmlformats.org/officeDocument/2006/customXml" ds:itemID="{6A253EC5-8F98-42A4-B65C-412B54FEEBA6}"/>
</file>

<file path=customXml/itemProps4.xml><?xml version="1.0" encoding="utf-8"?>
<ds:datastoreItem xmlns:ds="http://schemas.openxmlformats.org/officeDocument/2006/customXml" ds:itemID="{5A53A43C-6295-47D0-98CF-1447FCFB3BA1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77</Words>
  <Application>Microsoft Office PowerPoint</Application>
  <PresentationFormat>Widescreen</PresentationFormat>
  <Paragraphs>268</Paragraphs>
  <Slides>1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Gulim</vt:lpstr>
      <vt:lpstr>黑体</vt:lpstr>
      <vt:lpstr>Arial</vt:lpstr>
      <vt:lpstr>Arial Black</vt:lpstr>
      <vt:lpstr>Arial Unicode MS</vt:lpstr>
      <vt:lpstr>Calibri</vt:lpstr>
      <vt:lpstr>Georgia</vt:lpstr>
      <vt:lpstr>Verdana</vt:lpstr>
      <vt:lpstr>Wingdings</vt:lpstr>
      <vt:lpstr>NGQ004_CF</vt:lpstr>
      <vt:lpstr>think-cell Slide</vt:lpstr>
      <vt:lpstr>T+IL in a nutshell</vt:lpstr>
      <vt:lpstr>Playbook context – T+IL in a nutshell</vt:lpstr>
      <vt:lpstr>The Technology + Innovation Lab set out to drive  innovative impact in an agile and engaging environment</vt:lpstr>
      <vt:lpstr>This aspiration led to a set of guiding principles that enable the Lab to achieve its impact and culture goals</vt:lpstr>
      <vt:lpstr>The Lab applies these guiding principles in delivering innovative and impactful advanced-technology products through agile ways of working</vt:lpstr>
      <vt:lpstr>The Lab will take high-impact ideas and build, scale, and sustain products to bring them to life </vt:lpstr>
      <vt:lpstr>The Lab is part of an already-existing Enbridge ecosystem and integrates with other enterprise groups</vt:lpstr>
      <vt:lpstr>Glossary of Lab terms</vt:lpstr>
      <vt:lpstr>Lab Terms and Definitions (1/5)</vt:lpstr>
      <vt:lpstr>Lab Terms and Definitions (2/5)</vt:lpstr>
      <vt:lpstr>Lab Terms and Definitions (3/5)</vt:lpstr>
      <vt:lpstr>Lab Terms and Definitions (4/5)</vt:lpstr>
      <vt:lpstr>Lab Terms and Definitions (5/5)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8-12-19T11:52:54Z</dcterms:created>
  <dcterms:modified xsi:type="dcterms:W3CDTF">2019-06-11T20:10:04Z</dcterms:modified>
  <cp:category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3ACD8B69292544BEB327398DD573AD</vt:lpwstr>
  </property>
</Properties>
</file>